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0" r:id="rId3"/>
    <p:sldId id="261" r:id="rId4"/>
    <p:sldId id="258" r:id="rId5"/>
    <p:sldId id="259" r:id="rId6"/>
    <p:sldId id="263" r:id="rId7"/>
    <p:sldId id="262" r:id="rId8"/>
    <p:sldId id="269" r:id="rId9"/>
    <p:sldId id="268" r:id="rId10"/>
    <p:sldId id="267" r:id="rId11"/>
    <p:sldId id="270" r:id="rId12"/>
    <p:sldId id="266" r:id="rId13"/>
    <p:sldId id="264" r:id="rId14"/>
    <p:sldId id="265" r:id="rId15"/>
    <p:sldId id="271" r:id="rId16"/>
    <p:sldId id="272" r:id="rId17"/>
    <p:sldId id="273" r:id="rId18"/>
    <p:sldId id="257" r:id="rId19"/>
  </p:sldIdLst>
  <p:sldSz cx="12192000" cy="6858000"/>
  <p:notesSz cx="6858000" cy="9144000"/>
  <p:custDataLst>
    <p:tags r:id="rId2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34F"/>
    <a:srgbClr val="CD357C"/>
    <a:srgbClr val="FF71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0" autoAdjust="0"/>
    <p:restoredTop sz="94660"/>
  </p:normalViewPr>
  <p:slideViewPr>
    <p:cSldViewPr snapToGrid="0">
      <p:cViewPr>
        <p:scale>
          <a:sx n="110" d="100"/>
          <a:sy n="110" d="100"/>
        </p:scale>
        <p:origin x="84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rnandes Junior" userId="b8c2b798-1513-465e-8806-efbca9869d77" providerId="ADAL" clId="{20EB488C-D8EF-48D8-81BF-4190FA184221}"/>
    <pc:docChg chg="custSel modSld">
      <pc:chgData name="Hernandes Junior" userId="b8c2b798-1513-465e-8806-efbca9869d77" providerId="ADAL" clId="{20EB488C-D8EF-48D8-81BF-4190FA184221}" dt="2022-04-16T20:46:05.590" v="109" actId="20577"/>
      <pc:docMkLst>
        <pc:docMk/>
      </pc:docMkLst>
      <pc:sldChg chg="modSp mod">
        <pc:chgData name="Hernandes Junior" userId="b8c2b798-1513-465e-8806-efbca9869d77" providerId="ADAL" clId="{20EB488C-D8EF-48D8-81BF-4190FA184221}" dt="2022-04-16T20:46:05.590" v="109" actId="20577"/>
        <pc:sldMkLst>
          <pc:docMk/>
          <pc:sldMk cId="1841191749" sldId="256"/>
        </pc:sldMkLst>
        <pc:spChg chg="mod">
          <ac:chgData name="Hernandes Junior" userId="b8c2b798-1513-465e-8806-efbca9869d77" providerId="ADAL" clId="{20EB488C-D8EF-48D8-81BF-4190FA184221}" dt="2022-04-16T20:46:05.590" v="109" actId="20577"/>
          <ac:spMkLst>
            <pc:docMk/>
            <pc:sldMk cId="1841191749" sldId="256"/>
            <ac:spMk id="6" creationId="{65DACE93-691F-40EA-8E88-1B9FBAE9AE4E}"/>
          </ac:spMkLst>
        </pc:spChg>
      </pc:sldChg>
      <pc:sldChg chg="modSp mod">
        <pc:chgData name="Hernandes Junior" userId="b8c2b798-1513-465e-8806-efbca9869d77" providerId="ADAL" clId="{20EB488C-D8EF-48D8-81BF-4190FA184221}" dt="2022-04-16T19:18:41.648" v="93" actId="20577"/>
        <pc:sldMkLst>
          <pc:docMk/>
          <pc:sldMk cId="277781375" sldId="260"/>
        </pc:sldMkLst>
        <pc:spChg chg="mod">
          <ac:chgData name="Hernandes Junior" userId="b8c2b798-1513-465e-8806-efbca9869d77" providerId="ADAL" clId="{20EB488C-D8EF-48D8-81BF-4190FA184221}" dt="2022-04-16T19:18:41.648" v="93" actId="20577"/>
          <ac:spMkLst>
            <pc:docMk/>
            <pc:sldMk cId="277781375" sldId="260"/>
            <ac:spMk id="49" creationId="{D0E4EAE4-710A-469F-BBE2-69817E68D36D}"/>
          </ac:spMkLst>
        </pc:spChg>
      </pc:sldChg>
      <pc:sldChg chg="modSp mod">
        <pc:chgData name="Hernandes Junior" userId="b8c2b798-1513-465e-8806-efbca9869d77" providerId="ADAL" clId="{20EB488C-D8EF-48D8-81BF-4190FA184221}" dt="2022-04-16T18:35:13.815" v="17" actId="20577"/>
        <pc:sldMkLst>
          <pc:docMk/>
          <pc:sldMk cId="2342383221" sldId="265"/>
        </pc:sldMkLst>
        <pc:spChg chg="mod">
          <ac:chgData name="Hernandes Junior" userId="b8c2b798-1513-465e-8806-efbca9869d77" providerId="ADAL" clId="{20EB488C-D8EF-48D8-81BF-4190FA184221}" dt="2022-04-16T18:35:13.815" v="17" actId="20577"/>
          <ac:spMkLst>
            <pc:docMk/>
            <pc:sldMk cId="2342383221" sldId="265"/>
            <ac:spMk id="30" creationId="{21539A54-A955-4111-8D55-892A752CBEB4}"/>
          </ac:spMkLst>
        </pc:spChg>
      </pc:sldChg>
      <pc:sldChg chg="delSp mod">
        <pc:chgData name="Hernandes Junior" userId="b8c2b798-1513-465e-8806-efbca9869d77" providerId="ADAL" clId="{20EB488C-D8EF-48D8-81BF-4190FA184221}" dt="2022-04-16T18:36:18.599" v="19" actId="478"/>
        <pc:sldMkLst>
          <pc:docMk/>
          <pc:sldMk cId="3504001944" sldId="266"/>
        </pc:sldMkLst>
        <pc:spChg chg="del">
          <ac:chgData name="Hernandes Junior" userId="b8c2b798-1513-465e-8806-efbca9869d77" providerId="ADAL" clId="{20EB488C-D8EF-48D8-81BF-4190FA184221}" dt="2022-04-16T18:36:18.599" v="19" actId="478"/>
          <ac:spMkLst>
            <pc:docMk/>
            <pc:sldMk cId="3504001944" sldId="266"/>
            <ac:spMk id="24" creationId="{7010BD85-956D-44E7-96DD-B741693CEFF8}"/>
          </ac:spMkLst>
        </pc:spChg>
      </pc:sldChg>
      <pc:sldChg chg="delSp mod">
        <pc:chgData name="Hernandes Junior" userId="b8c2b798-1513-465e-8806-efbca9869d77" providerId="ADAL" clId="{20EB488C-D8EF-48D8-81BF-4190FA184221}" dt="2022-04-16T18:36:12.992" v="18" actId="478"/>
        <pc:sldMkLst>
          <pc:docMk/>
          <pc:sldMk cId="3739474229" sldId="267"/>
        </pc:sldMkLst>
        <pc:spChg chg="del">
          <ac:chgData name="Hernandes Junior" userId="b8c2b798-1513-465e-8806-efbca9869d77" providerId="ADAL" clId="{20EB488C-D8EF-48D8-81BF-4190FA184221}" dt="2022-04-16T18:36:12.992" v="18" actId="478"/>
          <ac:spMkLst>
            <pc:docMk/>
            <pc:sldMk cId="3739474229" sldId="267"/>
            <ac:spMk id="24" creationId="{7010BD85-956D-44E7-96DD-B741693CEFF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465D03-0A35-4B5F-B14C-8A26982D2B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6AE144D-7D05-4A8B-8A0C-A185DB8B7A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C9E1A81-F3C3-4F4C-80E4-4925981CC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23078F-B03E-46EF-A1C9-E8D4612F7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7F89FE0-CAA7-4BCF-B619-05E2FDA22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944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E20F9A-86F7-44D3-99C5-041A58DDD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A2BFBE5-C749-4288-A451-43ACAA7599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B0CFB5C-749C-416D-84AB-9F4B729AF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780DA9F-CB03-4D83-AE51-1874E0121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73B6916-A210-4F3E-9244-CC5F927D2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5354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844B2F9-5E93-4E8B-8DEA-BA376B5932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749A642-F9BC-4D99-974C-7AA078F94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3E62F4-AFBA-4640-816B-68D1E1E8D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84639B-5956-41E9-8E52-363AC0D1D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8929C70-63DA-4065-BAAB-D7F19C284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5715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A08F31-D010-4E15-82A1-A9CDDF31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0144F05-8DE0-4CBC-A205-49F82514E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EE23B5C-78CA-4C2A-88CF-8E602E35B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EEF2555-5DB4-4D93-91D9-EEEF0FA4A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D758881-D5DC-4317-9734-F1FB2E3F1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1656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27B8D0-78AC-47C6-A17A-46E1C9013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0160E4C-72B9-4DF6-8AF4-D6454FF85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AB88F9-83E1-45E7-85E8-06696EF60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4CFDDA-6EA0-4F1D-9525-45B357D18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CECEDA-0E15-45D1-8171-0F467E961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9638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6991DAC-D2D7-4DB6-9829-230903ECD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21499BB-235C-437E-A8CB-F3FD11014D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037814A-182E-4448-B450-7C7C5E316F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6D7F7CA-5CAD-4D9E-9407-BD4AE5F97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F73A62F-7BD7-4A05-BFB2-AAD978456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AB9D70-D211-4012-ABD0-1C2C956A8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547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0E16A-C975-4757-81BB-5EDF39860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9140209-2090-4902-9B13-2DA1B382A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96F4F10-1677-4D65-84AF-F1F3AC0189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F380497-036A-49EE-AD83-42536068D5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3E71931-A15D-4386-8266-C1AE6E39EA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4C68D2B1-61E8-4BB9-99E1-97BD8D543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AD7A3E4-6B12-459B-B12E-C6F8B09F7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D1CA92B-DD1F-46A1-BA18-F9DD9D1C1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0576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CDD98-CBB9-4E8E-80F3-9E710DFEB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1B7EB1-CA48-4083-B58D-682D28663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01A4A20-4EEE-46CC-8186-1A6A8F085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7DF7D86-54AC-4B8C-8222-2784EE30A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1034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CF49FA07-F32A-42C3-9FC7-81410C1DF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B18B761-3873-40CD-BB8D-53DE7AD57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08F4371-1703-4A3C-A497-849FEE9A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8158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39AB43C-DD0C-44A4-9E42-90879328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CA90FD4-778A-493D-9DC8-5EA406474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C2C864-AECA-46FD-AB91-029C29AC43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A8D2213-FB6B-4594-A44C-22CB0FFA2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02E61F7-596E-44A9-B398-576C1EF65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D4DC3DF-A5E4-4046-8AE3-64C30B87F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4860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7EA444-9F7E-438B-BFD6-391528333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76EA0FF-CA56-4901-97CB-A7C7FF7934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61FFE2D-2CAE-42BB-8364-54E655E8B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83A5FF3-865E-4FE5-9E5E-87E1414A0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60311E8-7A17-4C28-83C6-63E4A7D14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5F94C1E-5E5F-4039-9932-73A1EED74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935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A1BADF9-62E7-426B-9439-F7F76AC53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6797F23-E8D8-438C-A66D-A1E102A5DB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7244F9-A2A5-4124-9AB9-B6A20F8C3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CB16B92-B35A-488C-99BC-BF32FAEFB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8EACA44-D56A-4C77-B697-777EE756A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1380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7.xml"/><Relationship Id="rId7" Type="http://schemas.openxmlformats.org/officeDocument/2006/relationships/image" Target="../media/image19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8.emf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8.xml"/><Relationship Id="rId9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4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7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1.xml"/><Relationship Id="rId7" Type="http://schemas.openxmlformats.org/officeDocument/2006/relationships/image" Target="../media/image13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2.emf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2.xml"/><Relationship Id="rId9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70CD7037-F98B-48C8-A4F6-60A0432CB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3">
            <a:extLst>
              <a:ext uri="{FF2B5EF4-FFF2-40B4-BE49-F238E27FC236}">
                <a16:creationId xmlns:a16="http://schemas.microsoft.com/office/drawing/2014/main" id="{65DACE93-691F-40EA-8E88-1B9FBAE9AE4E}"/>
              </a:ext>
            </a:extLst>
          </p:cNvPr>
          <p:cNvSpPr txBox="1">
            <a:spLocks/>
          </p:cNvSpPr>
          <p:nvPr/>
        </p:nvSpPr>
        <p:spPr>
          <a:xfrm>
            <a:off x="1247952" y="1909763"/>
            <a:ext cx="9782954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NÁLISE EXPLORATÓRIA DE DADOS - VENDAS</a:t>
            </a:r>
          </a:p>
        </p:txBody>
      </p:sp>
      <p:sp>
        <p:nvSpPr>
          <p:cNvPr id="7" name="Subtítulo 4">
            <a:extLst>
              <a:ext uri="{FF2B5EF4-FFF2-40B4-BE49-F238E27FC236}">
                <a16:creationId xmlns:a16="http://schemas.microsoft.com/office/drawing/2014/main" id="{D2C998BC-A3F7-4EF2-AD79-003DEB7DFE55}"/>
              </a:ext>
            </a:extLst>
          </p:cNvPr>
          <p:cNvSpPr txBox="1">
            <a:spLocks/>
          </p:cNvSpPr>
          <p:nvPr/>
        </p:nvSpPr>
        <p:spPr>
          <a:xfrm>
            <a:off x="1270955" y="2223297"/>
            <a:ext cx="4773284" cy="55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E TÉCNICO | ENG DADOS QUALIDADE</a:t>
            </a:r>
          </a:p>
        </p:txBody>
      </p:sp>
      <p:sp>
        <p:nvSpPr>
          <p:cNvPr id="8" name="Subtítulo 4">
            <a:extLst>
              <a:ext uri="{FF2B5EF4-FFF2-40B4-BE49-F238E27FC236}">
                <a16:creationId xmlns:a16="http://schemas.microsoft.com/office/drawing/2014/main" id="{4E0B59BF-EEAC-4D3D-BD6F-BD6CB1EE7A32}"/>
              </a:ext>
            </a:extLst>
          </p:cNvPr>
          <p:cNvSpPr txBox="1">
            <a:spLocks/>
          </p:cNvSpPr>
          <p:nvPr/>
        </p:nvSpPr>
        <p:spPr bwMode="auto">
          <a:xfrm>
            <a:off x="1287104" y="4269277"/>
            <a:ext cx="4555852" cy="5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 Matias Junior</a:t>
            </a:r>
          </a:p>
        </p:txBody>
      </p:sp>
      <p:sp>
        <p:nvSpPr>
          <p:cNvPr id="11" name="Subtítulo 4">
            <a:extLst>
              <a:ext uri="{FF2B5EF4-FFF2-40B4-BE49-F238E27FC236}">
                <a16:creationId xmlns:a16="http://schemas.microsoft.com/office/drawing/2014/main" id="{A06B5960-C022-4CF9-B14D-2F775AD3EC57}"/>
              </a:ext>
            </a:extLst>
          </p:cNvPr>
          <p:cNvSpPr txBox="1">
            <a:spLocks/>
          </p:cNvSpPr>
          <p:nvPr/>
        </p:nvSpPr>
        <p:spPr bwMode="auto">
          <a:xfrm>
            <a:off x="172527" y="5900149"/>
            <a:ext cx="3971025" cy="5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5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gt;&gt;&gt;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8F1744E-DB5C-4E67-914A-5EC29E09313B}"/>
              </a:ext>
            </a:extLst>
          </p:cNvPr>
          <p:cNvSpPr/>
          <p:nvPr/>
        </p:nvSpPr>
        <p:spPr>
          <a:xfrm>
            <a:off x="-1130060" y="-793631"/>
            <a:ext cx="2260120" cy="220836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B394CA7-02D0-4492-AF98-F3A507CB46AD}"/>
              </a:ext>
            </a:extLst>
          </p:cNvPr>
          <p:cNvSpPr/>
          <p:nvPr/>
        </p:nvSpPr>
        <p:spPr>
          <a:xfrm>
            <a:off x="11473132" y="362308"/>
            <a:ext cx="718868" cy="51473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717EFAD-980F-4282-88A4-292D79C4A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8751" y="6107489"/>
            <a:ext cx="528781" cy="52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1191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ângulo 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EsKN5978clrjKBJ8fU227QFBeaKkWQpovL79iARfL8Xfd4HOgCyIG+Pm6MLm8q1nYEO0VEGrTKrE3NkCMpBwEBTVraZB/dyxd6fiEiajk2nFFAKa9zuXTxAZgudWcQA6m1jQEfVnQXOu4fbZuHz1+G8mr2v77UMLYnQwR1azRkyjNW0eOZzwemuL9ecGloJEdMIFdAJxozV5a3yZrVZHDa8wrOi4h0DRphvJKdzXzIJks95ush0sWdPJUppIJX/gjctLg1WJu2PvB51pkssnvRqyyOGBNF8lBISUEJH6Kj14g8RCIm+eGYvYHky8NSy0xoIEKYFZCtdBUV6fvmMGOIXpkoRE2TRwv/TD6lyiLbCgn9QXdpv7nk29pBGDllBI+dPbFcwADUHuiRKLi6vsCnV2sVj3Vfqemsm/D4bPn3ySKgK2+FnKiawEHLObmFVcrxXzb2lNkaPguL7LJakCY8Yp4ZP+InnSKGRrFKDmu6rh34UV/XVIhmTeuhjlW0q4Br05vVPzKOWDywVxyKvbBprWOv1VEstk1XYr5gNyq1el4Dnx/NpO2kCdsfbNcB0wSgF+kemvBaedkPhc6cy+uSI5yuTW0tW10xqGcF6vx7Mht5V3nc0aURshK1b0Nd20BdQfX9uGkCENYS488ZwXbIGkmOakDbUAhAWj7rEJRVwv0YklnK0czgJjsZTv5LUxJT+0NgVUxiR2s0IdOYtJQyDtHKPXC1+dyAjW8DAM6W3BWqNt/8Ri5go+P9mFjQEKiRuTVShm1Gew78ZVzEJlNYpeBoqivEvr4jPVZe0YLzulZj6f7IYSjl7WQhGewwt/sqaX/MuEBKulWNvs3FDzyKKKsnNItdQ8oLDk3FrQUyTf6S0Bmz+lvWAng6mZzQiLZfYBPmpKmTc1SECUAUe4mywyv2VIdq0RkpbtQ1yEkrMGesSxxrhxYfG8dGk+lGkAosKzhJmymAnpokBP88zmVr1+8LFOPAptayHnr83M6P81iHySOBy+MVyRqRAqxu8KYmVLmcUkXHz3UUOUEEq4kWJ6Pg4f7JFw0rcoTv2AlfMti7bKYCVQq/pRKZijD8lUYCyffvDW51TdyxcPV2LLQdT66VJI8BeQBjTdrljK0G3yrVB4D0Emf9YKHChuOpHP1aYm75iqKaAgWzqbWan+KqM0d1lWtme3u0Pfmxyd92N7MMPejdlSOEOIbpweEHDsMVFFvzlu5ktaZP0bTRRlNiMwmv8H0guOAeiE6fBlYeAV/EuTyoJHdJSFOer87rgwxclpdbrLujCUR77yHJVpmXWsMraaRkjoOZAABFM4NEFiswfDtm9jyNBHM3kRRaJRE/LoIGkgmWsIzIclqeCo9l5hW+pK5l7w9QedCssFmWBIUgbMlpF+gwBq/qUPvZdIs3Y1MP2cC+NyuaRo3Ao1djrIcHDvrMvejoY9qT2VOnvpAT5emgHsjqU0K/+uiDWNa1Ige9dpTS795iozWUGNzWMWbB4qAMQJEl7nzinZgZX3bZU23bq4TCvHygtGCpAwmbWrC+jMNNXVOMpM3ObiR1qN7xc7VzzyDwlBW/3+49sqUxSygyyKGZ9o055jCBkzH63ybEATUL3EZuz8YhuwbBgtKC1mP6b6oziegp+dqvh4n4aIgAdTJo2i0Z3jbojoEux3lUhzhWh3pgKMdfL7qdK3KFH7UFYMPcYupqgleipP1gWvOWmoZSAQJsCXr+gCsss/Uff5fwXV+JOBEW1cJYfQ8I74OUZ25AXYgYDzoQdbcvBAkHFC8w+S/WX0WkbRYbe8eEIZqsoK4DH8VuLHRRtzs80v5vW1RxCTymbKdWz8MgI2hHrC6/zRB2SgaWPMuyynEJ/1aNcz1z+Qjy+WmDa2xXBNjs1HtVnFpV0YSuaZtxt/dzcriNqFCFUGfJzGzScKyuefdJaw6ZzPMiqxc9VuVfoFLSCeAxA74iiKhcjaIoAV6pIIMl55epz8MMiomwehmSlUd9TQ7urXpWqI/8odsW8O3DMM4XLlO+Rl2MhmbFasPOYa8912mN6WC8SyUT0cMfrrBZEfQlvcfrE72GFdUuqei8fxCp7hl+G64ANlq0rBuNjH1cRULAAUztMI3WM0+Ar9kEizJaW8opOnMD+2SrcrGsTK4OIwhxqXZC2zMuza6hj1L55abeRi9gZMwNJRP1lQI7fyi1+eJ9tHGuVja9goy4VEgwsYJWQeoZm0SNScULumqZCHBHxepSw5VJHclTJQ5w4AQlvng5NL4E9eMKn3N2oqljBc3J2a3Ro2idBOk/rAXs/kxcIOryjkm2Ukmkw+bK/uLBHSnWYlIGN1sx4B5Bxxin0kZMXdgTCO/xB/jg9muIS+FLdtnaYPek6UhIF3GhDyWHbQpDKXkaLEXxPGyL8oljnoEeRTY4s1AtB9ESS8QFyBEOhEQKv5WKE5FrHpv+Pq8vRHSXdUW+/hONhuoPfsTfUyzzkaOtjBJ+UdgnAs6Icber5cyUqL8rI8x7q9TA6ZeschZ19VqtIVkVzPu1a7AMWlyNUoRpfGc9aL+QYeVd7nEkKtUPF8ceAmZZ6AXclxJdBMWjrMjBqyrVg+OvRwfDaf2tYSU8GrRXiLkIBU67v2vRvTU2oqYPaXukcoHLskkFVvWIV0LF+uwYdFyeG7Mk5smD7FiHkQe12x5XzzysBTSPv4fbt6vEAMAQWNurZeTqARBxA73Llaj/95fG8fjRh4rfaHs/2P5BR7qPkbeCpSu3c16QdGyvu9ajFDM18kmvqV5G/j/rNoguP75VkuToQ3YTI5jgFlJXhbqtcnzLyPoqZrpeC9Y8x4GUWo6JvlXvSaXO7aTP2PFvx0XmyElwxqDX8ImVOQbAlLip9/rVc/0MjYOAbOCBqDsiCm5GaDgAazjR9SE9sSr7loM63+pJEi4DkszOBF9CsGIC9keCRIF6zCeFCkPzJ7+pVBy4oAfu4utZqSlYk6A/zcFyJZzGsgu241Zjq9fwP6xZCK13VmjdOVwteaN2CoYCaRYHwyBFsY25Tq4c3onpu9o5mKXdne3RspfngQbDBqW4zyqx0NW95f5yZ1gciGWJ6/HTwPop8hQP4QQHvRjA5zOMtwMecowdM1bYAV6pRJ/ppY7haL2rI6CdJ/bxFZvfiVKg1nfCADyVmx+YtMlQj3ufVexqG3gFR06OE3IjorbBBB8HYojYLYKaAZyYHVMALqPSCsuw0/XRuHk9fPTvaDNQfdL4KCNLQLvGsjaeGHX3EKFrJXh2PiFXLeqokJFRG7jVR4aG1lziTSIOGotJirMlRPIjdQpEaTXfTPxV+EoiTxACv1oybMx4HjjqlWb+ccHZhvVhr5tx+594LVWjQKr7Gb/k/X3JeusDCBUavwPJmVRM4R2RPhw5tZVtOTtmEVIoRhhkFQjzQxsQuF7mb00M4qiAJtWyqOJbwtNmBp26yt4ft3D7aZMuCqsnX8N0lX6eNZJZaStSaAlo9B7nPnItT6Uo3iBcfcNQAfg+KLcZZr2K40NqOhWfUaAIq63jTpOa+bFJgTTwH8KdQTRUccNn9fiNAxtQ8iEb9Hz/319YObWTdUTpCfjg/nuk0ZjGlIE2BLiKt9Yx++pgy9VlKiYhb6CVkeHmfu3bC5uTlVYPk3kLlUK4RADUzwp+5n5aXbntVAxdGsz92N3kIUa5XpjPTdQnu9QJa+VrOaKzf0KHxPU+KLZb+g6CB9vJiCj8pKkQcUaULucYib3xnd7B877/YkG2bRe/jc415ATGouGZMkZJXDdTy63Tkgs/GZ4PQfUhNckyUwT+U+RIFXenzsSWlu0fctIhsmDrgClipP7LoGto3qvMImmbmvgmB98BxaxrSOGtY6fRZRMA3pd8zYNtzlQd7+eKTZXqxtvgA1G2Y0vw2E1J6nU7p3+sompHPrlUm8ulMsqOFWR040a2Q3K55VLBv6g7Hvl3f629wU0N32mXac0JxVaYCczUTEkTDgI079GaxfzsRC+zvnq9TWaKUfiXJT31wtRblgFmbK9m/4SyCBKNM0aPFuxD222SGGgRAAgAXyUAB0t8fEhy4tgtoLIoa6JY3zrQYjZPJz6AxOJ9gOeFUiJGUZ9UPshup7y01oP0HpSFc+ppKceXAYPVfnOJz4tKbMowvSsypUQhEESMSDX/Wj96qvRO4ZtXuN7k18jHFam5A7d8QpE2KKoCftnXwmbf5qrU62H9LKVM1VygVVDQkXnIhQLr5NoAM9fHGF/P/TX/TPhbFN/vqM5fD9XLO8a6ptQE+iJAiE8BR16wyjV12ivrdqt+F1VdLVUxhpCJ39KC3KKBvQuJvXCGrPBtUzHIi9T4y6zzJp8zb1kDhb0UkRiu1qofVs1OguNXqZV7IeVWOu0d8z0bGToRaFaJ9L0NjiCwCMCmb1PzaxOcfU2vz/TSAwnQeup9V4YGEu0gwk6YCE2SsF7qZbgRxF57KXz+vC3dfPa+eNU+MlhX07yD/CYyQdkEMihFLSIf4xaUbSwt7U7MJNXJEkzbXnp5GzHbjYb2Vpe2E7MO6ZXNB8opK9Ioy+iZb/galsN5mtCiea4KT5Mq1vZoDsiu0tIxFTvuSiabHrCnDB45rK6hknWSdqHKePeXcrAVd4awDAIIRl4GKey8qc7/PcE5NHsM8VWnD4JrkrfUG/3ThHbQWPWiOdMW7/gUgDojdtQc80BKEKfGhTT6vX5rjftVZnc8wqSeEZtXsYoN0C+Xyj4+dC7/BTPGfIlMES9/zzlReMoOAVjOfeEgmynvLq91+xHTXWRqevzvNo8NAQceSW6udB1YkZiE2pgi8swdO1c5MhJVxz4sHagLixKlIBX3coYPdXIy5pYRk1pO4KQDRZL8Bi2Vt4RCL3MfOurg10wvUtXA9bzKEAnnyLfbfS0HxtZI2Yyq/AgB+jpYI09Mtu1asVxFhWvqLUAeVYuDFYFypphiKL/lwPVjPXk7dB/4fSR7WzWpCVl6weobtE9uFEWgoX2lC/11QAZIjx85YvFw3AafO5dTSCs57Lm2Bf+LtmrCOlvS4k52Oc3TkfrSYDxajHWF/zoCcGLcf0mPs+NjtXhj17DVBWhVOlQmQHmldrwr13ptlGLTHVItotCi4HaT8BDPc+QI7x6enw4mwtRVdOeZqFpLK6MF89+nWpA19RVf0rrOImunyvm8akzhtpibg0+5GZzYWWTY1qQkNZWhrKRXrXLrSsjsUV2hpT4Vq7yGMbKOth5BVMpJo0XaqE/jCpokcF1QMZaD/Iymw9rpbDDjd+smjwgnWh8bDifj+DR33JKi+G70KTUPRWzGBMTc6rjhStUM9thnOpxEo1U+GQ7ofkBniRnVcDZ+qZV51vHb7c75xQkkOZ5EMeiBfnNNCoNGaFRWrDe38/oguV5q2CmqD0Az+GJSC1U79snNzTHIF/YM0Ciq7Ki7s6Pwig34pgwRPhThvu8CABQan27eiFWvelY48hvSxN/zoupNGsce9Vc3e80007gYpB96V3r3iMWAPyw/xJB5LmG7vZTegGEoCsFCEl04YstotNjY2JQOKQLb5K50lq/qDSEU8uwf75hruIp1QzBQi7MAsdAVW1MFKImRKSxwr9TEJM+GwiqpUJ//HZbvQom14tns/lk/ZyJa2N6CIU222vrLUydJFgUPwaXB2zLCKRKLXeIC6BWXQjiNXSQmGKz6maoP8P8niv0SltjZOZFdr93J4BfjRmezOr/RiJJVHPIHUF37wgu6biVXzgPQQIoRWlUHO4bl3GmB8sfY2g3FjjICJKiyV36U/jMhVdMCH1OTrPNVFIQvLwYOLlOAtv40hwj/EH3URbs3B3WRUa1HZ7jgt3Y9uRxLU2QTYQUSaROUeyAfk/yvJEQaMF4ZO7JHeUs9uqHKOvFzCy68TR4JP+EPnv7tZuZBwnXYshvykYuEPL45JeJsI0twkxXorEd+mkbevA/tr2j7XzSqb2V29WxDVIPmn5V1zRAD89R+f3PL3Z3jEqcaIMj8Rm4eDAlv8y0rXht2CFWtyRd9LYLovFvMYCKB8HAGoeDh3ShcNqF0O7x3hN5q6Sl2TLh+Df3RhJ7w2D4aEQDzmfFk8Lb5iQASppQP4W1feMOXE0Lms0v4S+E1maEqIeIH8skpVEmauGFgdVHXC3Yh+BZU/nhmgipkpQ3uLksrRFtXxt28LN1dWATuUe/W+1QqfPJebqIfMJD5wLoWlK1VZwdThpXFs3S0KjZYugfwHuT4IA6wk2mawFR3VnrV9Wjd+T+jeqZYMVc4UfWFz/xM//oWSzYBdP7sZ7Zr7pfo5+ATTNjGNgdVVBfEGAUIGoqrNqR5Pens79T8e5MzHDQbqppmmwbkMxA1ZOJUF3HnO/cLaw4JnhphLVaJjaWgOlp7zNDT1kR4C9SVZhKwQjqflnbSgnWIbOiqcTK4q72yNZIDw1o8iSnKwmC7XXThg4Bm/PZNImpRtX8PX5LKLbFVsmZ1oR8XKzht2bCZj7IIQo5Rypyr/HdwwzZO2ezHrBePVKUSlIxrJ4UuIrDAk8PFAr/lyjEeOuGMnUjGmgHjZvmhYmKzpxvt6Xfc7ny77tR5CW12n4sl1VCZ6hBRRZSiyIuvIu5FV5C3+Ji7dZBUlhlRIad5BnAJlnCwUlw1DzAAclzK6OrPMehR+sCYGJc9lfyLDfHLPiREJFf+2MFp7Bi50plCfxMehEthsPQz4t1q/bPwbndJULURt0wRsfsFgkYZciYyUYvSxpuhjKBuUhVLzotZUdcIXmHM9p3Q3eNQIRikpUsPVP7f6nMAXvAhYBrXTaMqhO8gJsJ9kGObm7Ag3sdTX/WgofENa2f5AaSA8t6KCLDdr22et0pn0xoOV6GvtROMfPSn8QvhgwR8ZKmV6ccFrd3DeCbXqL9o0fYcR3EtfiFe925AuMjSGz5q7zV2iHr+f0XCaCBYQ6QkfBj830Ef3iSVK54CNwLXd++DIRDRIV78H+wlHZzy/zSPUY8+rZ6Lc0/9pbOQnRoKWUjBvNGCJIdbkSXODoYurijyOHOKTLlJO3A1j1sk5Aq8NOijtBNfgtqPYDf2I60KzSgLu3cn6Jf6DZFdBrc50tvCAePbdgguN2N3s7r/NFdjuWW1jxTyr9GnZnzBfcbcyNS4zQIs+i91xAebWcDRcYXgZW3jhdJ9xRmOlM7fQBDJuSUPCMvob51S8yvEnZMouLPkfG0yQQFyvtBx60wFmIIG5TcuvYvzWFV0HiK1c85n69KLlJX8jFgpwdm6VSxX90V5tlDWz59q2IpKkQeBtpJGqXvtcySTgPtI8wzpVTa/gTL6qHfXmm2jd5MtGErH+a0w0m6T3GAcGmvQ5ZLWgdMxsFy3YjXaJXo7cbIjrdbA0mkYJJOV2Kqs0FQI7Zdi+xe6HCaAnCsEVENoC6r20EqTj7Pcd68dolSRk+R0m5YeP5ag2Eqpu0vKzZK25QIl2SQZaQhkBNmjwAqtlra8rseSN+G6UDPLBBN7vB4nnyo9vGTqC3t7kIVuc7bleg3xm7ONbN/uS4Adkfi9qI4qIJasmbk1Y8I1dqv3UlOybrjzjtgf57h0++XpgaI3KGCK2OSP8pazQrzWWt1Im9kEi2fPj/f/whsYRITHW3TTT0eqKAA5vlq2xOtvzh3JGqS5JPMfv19Gi5YSpM+43qhYsi6jq1euwJN31z0XD0nxN8LMfHuKEjUK4EsfPuaNI1KQ9dIzG4rhUnutu/3BkGbyoewOsSegNQO2IK+dUKX0OZbC4Sctw5UZY3eUrXHF7r1xALeOVn8D8vmOTRAF16TT7gK16YbT+jxi0PFXRvvqr5Kj+pJTjVBubte0k+bkOFO7MNl89PkxBNcJPvFvDHYHnr/453boHsfAZ8fEKC6CQurazIxoPlZD2xYJ1a2+l43LK94V4Hegioh0F/peeLgo3mOy1aeXLNe6bod2Ofl/abZtLPQOijv8CUUheL+fUN5HpJTvqnguUOE6ttDef4L/h72HH1GgojXm3meTaGGls8HDLP4j0EZ3EuLNzWsj8g3sR9lttmXICcfEpj5pN+aB2rFNsk26EcmqELBfL5Wm7EHVSAbO51hVD2Tc53MJBAgfjEBzk+2wFcMG3siNWFg60b9psyJIZLLoXeRXchHh5gZ6xPSi3d3kL+dTpSbLPmmTpJsg3DstLtKW55Ju1nYKxnwX/MPPaGzfMQbM0hBXA7ZiaNhKBlwHp6X7o9DRpcPiQJHTHQYdnenT5fQdmNyE26KXpk5E4mTtVzTKdLwGNIVqQxt4DYp7zw6hci2K/0HF8d/2/Z3YjwBozaRCzLfCMI3Z8G0oACSNA1n+9sk+59zmYe7kgljJVuJNfrxd2GNoCw51FeYJUG+NjC8RSIdEBMcF9vt3djQ8iIt2Z8yKXogVfhCytRNE+792GcXlZOej9J+DuQ7hi6otQ2ExyQBiljS91ZXCUn/JFjPiOmdRUUyVetEF9aiBLj45Z/1CjNq2PqAeC80xzBfNtzhSkKTd1m+2UuO44GebmbziHk6qEEHOtGP1OvLWtmzgLZNK1fp3iU0n7FwP8rLqmvRKUOvdDzHT1kAtOQlKnrpbuXxVCJ8EmH5VmNIEoLMbZrc+YO0Y0cXC3qYnY/x2DkxYulZyZI3j37aZViSf5wR9IqfXT3EONHqNAtKCJqywFO8JG4W83gqJFr0hOdQDNtm5vFI7U44eUOXkFfIgX2+xZGYIWc0uXG9KAQJKTbZewjuj4tt2mOdmwrIpu4NEo1kYKzaijhcrmsN8UOJAErshS55gAe+DyRqpaMmVPNaT+Ydqnx19l4H8+AQHeoigwLHDvBOTT+PxbBgp+u/OzYoZWZ0ndT5IZ94iMj68ZQxlZBbkmAMP3PFqtlRJ/uzWmyT/HNTYzwkaMbXkCtP+UPGttePG+DU55p6blpusA1htZtk5t7wjPZaaz2j6uYBK7V+axKgdGn2zdpjh5iwlp3NDpph809b0FCpTDkBVhu6HN0QkoBObe011COrJrz3KsVPVZJhAzHGPbQ32tGeN1VJQM4s2bbHuxhY1/URV0GycuR7Bj82wKb7kgmTQy/RsZ+mGUwpIb2DfT5H4rskf7aJ5yrIXAzzsLSxfmsoN+YhC/1EsU2mRmVeoevJmjyg7IvlN/st/VrhD06cj+yiWNjJZVPjAC2Z+lS167rb1bbBnTPW6YjnNTLD9tzTGg5Ak1XxlmZN3zfHh4qByl0lIC0qIvWPC/DmK0uYgjr24CotM/LpmJZpe/nYQz2beltsQGPgbMJ/WNdLMpbN/XlXTSKub4FkS4r8p5Q1Hj+cHvIf+vrTME7bzhqS9G4oRVAN/qzBLe0Aub7QND7vAFSmm3h9/fsQlb5Y9gGhwyry6zV2KzDsP++hnIdb7jugRulyRM9dyH+RyfDdjho5jx4yPwkbxnO7jIUiEMMi9jO3dErUmjW9BwQ+/VwXzL5DDTWbPfKpP9i1XFEtlQ8Gzfq1acoY+4qlHVgFTZRPMnO+ZIdUYPfHGuM22P73Opml4P/hXqgpipm55tr1oUUsGSFqHYnuGorwhuK5MQ0Vjip5IPWFWts3bfjLsumAoBkrJoa8P826HdViNQcw1x4tOKXFwcpywXLC5uOuUcpqKQ6kzmzTAw1EBPUm/aUUIaJHXND8iRzQL7x0Blo2lGzOcbVhgnZbAIvnBXiFHd5sZHw8+DOhIdWf/nMJkAwTMhrzniXAns3QVKUGxM7NdPXoDnfjFrptJFf/FBGaB/w3HBQ5irOrOHsTn4ER6CTsa+uVCOLJu1OHdqsfN7EsQMu8ap7CCiUzPKArlR+mEhqp3cTNHu8CkfNBflM/FLaqZwRB+pW401U2Vl14WYI08pR+ZIQceUupISf5bQONi1hINcGuh4jpfTY2bd1IConTq2GrIhdIUi8ofXm2bbM85K+KFRdzICT2hTiRijgU1g3YxYeBxbY9JiXgLfbVNxKHkXkQKvjgRzXFrwjU7oECzloHnpWE7VcVyXkxx9maaZIY5KjmQQWQUv3450DvpD2KmqsEpI02D+OynlP+B/TZzwjyaP6Arc848eBwAZdbOp81HHb//YaK+Nz0Q9TLud5eYW1Y+hnw/RheV7V4vzxPD7hjwRUKAbkgGhMUKjy7enGsM716JNVDMaqwebDGhzUeZ+eGyU5ChUkT3hsKWvdnOMPZ+gwBpO8Y9jGSHN6/7teRB4rIOaZlUz0SyTMSCWJpYJvXcKFXuo5lz9fgYcXOK5D2RT0TQXgvoJULmXtIkhbQ3UGqWOD41kswRXxCZGAgFnb4M7bdE+sx3EGVRh+gMZB5mkzdgFD6bztIAgmN/hXaYs9Hr4MpmgEKlaT98KibglOur4+nAutG4cojBEKjOuDEnaR2ayT/hPl3wWZwKfJqN94s6+BkQPR8zHTdMPDl/7Rhgtld4+znvwtLbtiMNfhROqTNnxeIueBar6bGLUxHAMwLFQNneTjBsWOp07BhHXGPXVl74RhJQ/E7qd5So0Cwss8OJp8TCb1xVsG96j6qRQ8jkZ4CMDdyj4MCI82UqXgv7tA0NBUufyYxMHAAe85F0wScFnXijxubQY5M91ixrn1WjVpIUrS2dlGMS2AF2r+wRcikMzekWqS/VjdIQ8Mrj+dro3i4RbtHHMfQeaC+ksfWvNEGq3HFP4LFuK7htQucpO9+ApowC5mq6pnQeFy/MNHUaeTTB4VuJEaJg5I0ivcHphrwQEBKEPYoCpJG9TjqxGN8hPw1T+MBmlVqtMdc0NKK+3ofG94b7ALskfkZYZJYFqgfaIy6TldHs+i5b/EI2uU9vagwUuETzLaO1Q4q/HTzQae6nLR2uKrEIw2JaRgZzjEhg+xW9yuIWCk4uD3z8fHvjzEm67pRhLvUCLoc4AmcTgZetoZ+XSkKdVki29k0aUtnI484KkYR32eB8E+sQgAeFG2Ygpn7nvjXReeeTsBD1VWanslnPeFUYe/mTgkGgRplJPLovV2nP3QluBkpmr/tJQ6f+RROwGoLAj8/zWNsOjFEC7lQVo0Hbth+6aL7ibUnOPfaH6ipKCpNIIfAksQ692KUCsmMW+N6bMcHlXgte99U8ZlCuaW108eZAfGqdysQ/1X2wYTpCKDqNujB0BDoJLQ9EyfJtz/1YiP7B8KJjqaW9wtlnRISytz5xGh954ekzgyr7GwXH7Q6nUxaKBNIAuspQelSKJ/vWJ4CcjeKPXdtrMwh959HpKXu/WhfAd2bNKtYOc7r/DixOr0fmlFBg8t4dMH9fhNU9Rq0K2EaWm9VSVnlsHwUkb3w2UmnYEIw+obbYrqKZfEahjDgovZDpPSPfw8yoDC3hVlvMu+LYLIepQNmeuircr6Iso+Cv1cLsWdgSjyEVFISf0xdR/OEFFMCam065vOVKTGqKTMgOaFXgCPGpFeOvTBI3zy8/jMOvT9XGCRua+HVZuXhxVvVTtuY41+zwW4inXZfgaf5FK0fsaZ55iOxkStTdDf7SQwZAW61XuORoTYBvD2sg1967FcFyhu0OFTZxSDzW7cRCNLeJcH3UAyw32z3ycpT/2GGg3CWBXTIsXABcspnZJ7bf3/rr9lv/oBrMxlLl2aScZgGAK78YHsxv+h+R8e6r7yrOU5PMxBOnVtdPUEJjz6mE2fuOwFhv83zXlGP0EydAnYKQKOyYC6bk+L6N7lAx6Y6+bkNg6MWvxEuvCHm21eztCwVs07FLenSkFkeChB/XQwwUzwsOOt/zhdDQ8NkUmtFrh+CswBDzIuchtmGZEmftpZ2YUgczGj6XUXRxjWD0cB8YrF8xPcoY6A41+qVmC9wZaUDRdcnCjur3/KFAXZoadfSGoK2dzA2U+0PVbQMVNzaVIPA2/DjFaAp5E0SSl7juxDX9X8dAnW1XvdjtvmO/POJ9CTgba0iB9YnOrdnVQbpxBUfPJxQUjffA4574O0Pqag0VM/FrVXPOO95cqF9Eu+FIrDsWrBM67EntZqh4jVfbagBv7uOp92wTrw7+zujLNT+eJqvqFoyueqYymOvZKJh+vMEdzn+g/DrinthzyGcfuOJfG8FzAPTe3jq/E9JO/Kwd/N51cwgxaoIr4P/mKxIymtFXAkyfpA5lIqTmFf36mPH6EYG2SlGQNUP+R5IsPCDnOKGp96i+uwYZIuHkCAK5Qz5YHakR19gJcrviGCxkd+XuU714sNVARrYWIJG1hxdB8jc+aoyMO+y77l1t88GrN2sSsarRcEjX16FBxUnzJXmMmG99UsBQ+jpIOWuwrNS3jnOndbucDXqL7nTHGh1Ti3gSq2YpADH/vPtc5820RVvvHs5u5J4yWy/YoaQXnzGdc1gMWOF91nEBCsB9MOa/KSB8qhSwb1z765Zdf8jQ7fKwuQ3AHjLZjgzlpihxENavj3t6iiYG3Ojao1F/njwEDUru/Sgmv9rtiVlKsZVS0a+Pqc9fcpYlb5aIQpNLi13lJUNUkjjZaQjJxPEyL7Mpgx7PxFLikRLHN/Xv41Nuc1qfxN4AmjJf8M8dIMQYfM1kcVTArFTmmlrg9p3ay3GGel5qKQ84sn7OemN2iYM/i17EHugIYcF0gCxqH0jgmHlOlpp6PA2fX32HG1/2wh8erkTiWd3kfoehxTuI5++T8h6tC3KHfXV/sY3AEXuhpQIWmGABIvs3QYkeEyqZhQ/XecemmEgknyDsONA5OERacCQe6Xn/PUdZAdnXgG179aYrIRmKSLiZrHqtGhakjXqai/aAZKvbAoR0yCzaW03ddAotoSTj9lEMeAaDSvxQVGawFNLSXbws14xMCTv+NY6PhLubxrnHwBu96nIJ/3YF/KmvgM1Tpzpoa1t63ROcAm0bUWxv2qRRWuY2MUgQDvOBF5ONvslfoPdilRr8EzUScMxFTjjGqqzs5my4oeO8z7OLtyyRsHt6p/CHVm6sIIi55dadNMEE4dO5B2BnHbRrNUKGMMf29+v4Yae+67oqMGbWxouX09vras6pEbGZsLBp01Z/YWuGYIZsk1BTCClT6WE9fmGj+XmEfrgCN5gI6rZ8/qQVQ0cHcw2mLJs9bM8Pm67q9Xyc8iAS5nteauRonuC2k9X+xKSwsI0j/smb0jIhEN7wGs289xg5kBHCTsK0ws2SEoHwoygjfcYdOqV/LYQOk5PZIpA6Z4VKwI5ICmLJHP0blwVVL9H5HJpOEJLxQS3UiqwTVLZsE+FhdpQdrWn7LSkjDexyKnOtPM3yRwD0l26BTn9Q0IjTP3uUyscb7rtE+6dWPyAhcqoJWq1CbVhyci62tIOurTbPtO57AqrC7v1CuzE0U+KZyyAHWGTsWFWFGIfF1atL2to+hFeOHppqKiXoZUwo6c8FVlj/iduSie2N+1UCLAsvg+u/qk+z5BfpNcwQNiPflr9tKvQZdCEPT04yFEK/EkybMrPeXSP6EED/vqp/G4Pys5OcHSe250KwVJJUirKm9Ai/vetJC6h9JgxiAWbXo0j1zFgek4ksmZIJYKQ5fZhVs9EzxmFGjeQocLaxshNWUoe7b26AjRotvTe5VQ81saY18Pt67lEwV+MJ+PUXpmphbVhJktv9bBbagxBAvsiLxGcL4tzBHGAeOo4Bmf0qLHXEqm62MDNUrA2J2FZochdBn6do/gfEdIIki576FNtJhnR8+o1oyF+9JvrVxv2O7kIu+BbL6brgtxeg2ukhOjfaPwn7RS5TamXvHFO/0ZAuDYUzZf/HA7nEw5ATx6+U1KDWNEzEKvpmKxIkgJsB81DCWA/HigECEZJMueTnbnPFDSjYoFMZINLQ5EcaoPgAopTkgS7ug+3F8Sssha8G9YIwTJImAanznfXerW4mHK1MKUjvKmuHsAFCC6D1/8inGXO4dDLdrg2+ykVWhN6koJpbI8IbCq9MjKH4IDUX1Wneo65Qv+MCCbTahCKrmNBg8uIPswEaDv/G7QuwtT6K8ax58eiQOLix0hnbg7Bl1AaRp1zz1/jbGYJWSoViVoJaA36I8tCesEJuKYwGzD25cr033FxQ84iyeIMAWruq952zWJDlY5S9rSajlCa6nXoNQz0aSQxWVhZ/0PCeCk+40Z13OArE1m9/QSkhkoEPdZNns/47V8aoXWTB3Kb8sa8nORtSkEFM0VPb9gS46dBcmmmprHxwsg7nvJ1t8U79WYke09ebIqnmWwlQOfgUiLYsv0s9lOk7toP3t/460OHo1C6th+apBkSMlpXI+oVyqQ38OK8OrzIIr5n723wUpdqFwkAiqgVp39EUf3koIuCtY5Hm7E/0PKeHxFhArgGVy9gy8e0e9UY/MT31lrkMsbzJHGMbD1EI92+eB+SBTI9Xvk/esdjFjMdBUrcayROGv3pWhW4oVUxXNJLQMSGFMwlZaDpdyOl0P3lYQmCbOPkFhQ2DIVjY8XrwXR8j6c5ctHu9yJHEjbjOct6sG3UEFg+6czfL6OXbyHnDTsGg56iEs/GhtiFyvgUvaI0OrftQ9EjZVCmYyDLr503ZH5Et4rvUusIQIkhdAqCt8QtLFwzj7xxJLdr+fSPpB9ZjDp0j7eQbx95KB5nMnoGufDxMvTLuYOWPoHEk4ElzkGdy4WvzoSh7EbqKD9mUMrq+NOd8AameLGy6r+dy6ioenbZOcyYDJuQmFPrUdR7MbBD4BzePTIFwGv5xhdzrW5iM8hcgIjqMWfaI6ytuUPwaJVYv5OM4C/PE8P8gqjjc4s/0sLCnJqjNhAsMpMDJf1fNxq5wr2cRF7xd/1Zox6oBvCBCdyl5nAhN+pUJ7B1q/JpICOOo2uNiqdq689I8B2XYBxT4h2boHe1BJav/bzVOJ+azxzvYD0psKKmrkVvZQTKDAvUvMIg6kLgz3ggukEq42mmXnwJIyWuK3CmxpY1nSELV3rRpkfKcc/Vqnu6195+URJvCT4mT0Yx57O/QMPUfHUt6tmj6SNcmd8lElKX1Tvzvq6T7oX1LG+3yaql/ipuhTK496//yU8dwHX0cLF6d9OMjjbvxwj0Tn8WSNyEkL9pEO4ZLsxTVWjpXntHYWSfSvpByYM5nK6t1oVz6HEoRmJxeGOzyip0yDjEFAk41Jo+D5pmAWzj2dLr9Wn5FHpM2SXj8r5mFs9mbVG4rb9HfgsEy/T4tOzEqNq6JR250acvZZwzgfot1o7FgMJufMDvLE+Gzxw9O1lPhhDCOzsL7y+ksQclB79ehdNY+dPYw/WSxCG20wTC7cjs1u+2YgKDhuvTX0AZwHDlL8Ev6t8iPMthRtpfCWyPf94PQtaUzwnB/LN0zWPHnqt9yZLN0g/TjOvK5cGwj5Ll7SdZcp/JUv4jb4gNQLnF1QZC2g4PiAT1s1/iaHofbi31T0oeWuCKyyIZLQ4sQz4nsmlEEk/7PCwXK8y/5X4z3cPOPfPRqipMxj4dhYdHKLcHTqYtiSI1f91w5pNoyz05AfSGyWqpW/r+rM39qi7l9RYFp/zRQ3Wi3JCISuNiXMisfE6ocDIVTO2+ooQsjIGspkTdakdT24XSCXj+UzsA+DC7Vdmk+TOMjyJLdrmrjO5/bw/1JAzc0E1VNNom3zyi6c0uMdmpNoVMfZLL9soibjexJozr3Sfzts8J8yVcoITRk0UXAS55eDXYABRj3QF8go9IGBVsW0RVrxrnrTc7A5P6UphYMeCJTSx2fs1S0PAaNkuUaMI3F9xM6tUl1yXqIr3GeYrqOur9nCpnvxa1eyirhHJhXtQmuGYE8vyLuLkKrBBxFCobQCfwkPk0z9WSLvGYs8/Q0sEvBZDoMVrcNntRlC8GSt4qLejcbDfmgtMvGK3zfnBTS97ZAfEtbTbYlGK0GecwZa4hn/HaZ41tgWVAQzVsvAWPi/Os1D7/J4hiKQ3GvY+VuciY0e2Lw7cbgFyVIKVB/TA2uvbnYTyaso6qrl773KYkUweK7yeSGx+lQ9pmE7V6rfzRNvl0f1E+hDALG2m4yRTfU1mYMQcGbULAcomPv3OztsQtAEfaBB8/StDLXlQ5qq/m8cuzQljZK1WcftrcKscoBnYBdxspKacaHeb4TCsDOUu0wRHAxC2+WLoQiVQhFFTFDGbFABPaFO09cjs1zhnWGwnYUNsXfdClkptD7RKw8sbDlT44ZIRVOx2Q+Qfz+yGJ4nlWO5cS95QaaP1p+FL/hNd7MfC3OgQcdorwjAP2jGma761ig4mGBxzs+qThtAEeFz1w4fKvmDczQOXrx4/+q/t3EXRDCGyfAGpSBxYpp3tq7fofAg77sH4vDTIpTY9krtt9REYNUsoLKzf6OG1mFuTN5+BQiQAENjZURk14nHoUUqOPOS581+EjujEfqEtaPhLvz8gizeq6AWTsKinLPvTHbDKegR4uC9+dbhcuN0a2BwSVxvi1y2OCLm7NJf3aS/SRK/lZq/sPa1GOEmU03tPhH1goEe+QAh0JmCnWywXif4QTvwde/ACHF/we+UTJJmkZBNqOS2LSLBWVM29z0Qo728Dx+lpQs6Z+cQf/vsLzo/rCbka96UrHfAgevOb1jQ8Ip6IBdfLw+DkOc0n9QxEbRBOJK/EjhxyKZswHQuomqY0TcXcKUmDxQG6Sqts/cgQm9M0fYfDv3IPTBIyRUlWxNaIqeO9fo0hpykDd+rDOe0MUHoazqRZ+0BZDcBpeDhBugC9ygWmz1Y/4+gLfuYSvBZ4A80f4wpbEHHYIeT4i9JsorQZZBD4OQgLzJiCI108XTIUcIkGcgV1m4XjpuSAcUW/c2w1CrfqeeyCCLgISVUPgKyke1QnE88wSFTXS5S7HqT+lC/n8fx/KHm2iPR0yMSc194fLzbSc/iB1bDxbPPDwY4Sn+O7HGJYpsrsoQOFp/o22Twmdw5OLbkVoKIdmVnk84DFHm07XUhBnDoh5n3LyDIosEopP7+jwCu9eS1y/0Ta9n8vH8+WxwpRwgiIa85rpCLM0dytmDzs+ottaTFqrsdSpIvAeNZ6tbOMCsTOI8INPPTj0dVh05MnfH4OK+Fu7K2XPnXAP9JwgKnINfMp6F9ZghcFBBE7iuOmKSjt2Tu1tf42pIXmfl2kzV3JXmWGqJtgAJ2vti/LTwvOnbsM+BX6TgN4Dz1uRf2pbPmyv5EpqnHp6lLIuECilbwZLBJt4nkRwfVOvyGa2EmzKSJ7nRU8DxHxVkk62cSjaLKOmM5KxlwPrJiQOotvpMw3a1o2bnqMlpQkyrsF49QWZE3STWjLxRh4ytOg9Fbt+Xkmoufmlta3BEqJYFY41WtAbdKhL81rLmxm+l1F9r0BCpP7cfn5KFTuvVSceesWPeT3KAbz/pHx6j6AKhQl8oSOssB1chr2C2Zdc25sAGZhJtBSbW/Pqi6acKQsrgqPsrktlrjj9M0maKXcjzXBTeXBbbp4zl/3erisWFRr6AR5CWayfPsX+3WeseHwOh69ZG8CTpg0W7yrUORiXKMeuwnMuGB5FthWX/GPyVqfAq4UB4sYOkruKzs3VfOWb0NFPRWKPwnFQ/VtLPo/hG6FcMad8VcFYEUWmpEA2Z/YtYdBJHndaylh76Xvcu6tRwLOp4gDZ8C048C+8lI/infOrpLYI/VVws1ohIMsATCNyqvenlCUeWBtzyiYvHDzLW6FkdZIFnoQy2lp7/B+uqXvUGvtdsRsvTcPNGeZ/4Hurvyk8+jkxLOJieLV74EGwtSG5XiwlMsYCgeNcy7LqHicPXul/CjNXey6Pzyg+mwfGps1S+Cey0nLrw+ngn7oogFGmeMbEzcJnu+uvk8HaXk4aYfaDmBf6bz2E8tyOYzFu5Ua8Uw3QMqcyZ68GPMPM2OpQl0gs6Zq1/tD1WG79fpwyX0oc6rBtHjFRThtBN19N7+0YNCy17ZrWQqZtKtFKHJBEFPhHXO1flElz1527vjdc5zD1Kd1cfJijFiIE01zcf99d1ae2z3dWmRpqfgfFL+nTz04hzG12DvyOuVWz72fYvRUSEObezXqKLNk0e64pXwPmUJ9EfgxnYdOlG7SOoa+h2sK4yTJP/mahIkUanT0FNdVFFU+upq6nWBTjoR4BqxRZr5DFWcr/WJ+2fNH8Jj4XHs7XgF7TCvvHyPwjjaf7nx2vrRDW6VlM5wVlz81jIuJzOunbJRWRyxot+arz1cWBo2AiiZj3HM0DSx488fMkeZyLkHaL3hC3w5e0maOJQU/ea3Bl5uX2xX8+dWihY26+d1Fqwv+KHq4OL+YNG+H/YB0dtZsWglBLbPDXh6PAuwomU1y6KcZL8lhGCy1qcSJ/V57qaiOnfbDkkCdrPB4ou/Mi1ieI5cgQ8GAS/b8nw0oK8X7BhJKKABDi8Ewoj0g+n3wlLHBRoizWAF7PQzQdmFtR6cDtsHgwMuRYn79hytDcP0vsFAnpybzCW/ibn7nUQYrY4ZzcJDvWxNGUvdoeuU9knbBhycJJW/6ma0q5IgVGhLZkxhzshvrBo9oeHWb0uu6n2xEpFSjLta4IwO8dGw5ehbTdmpyq+SFmreHJoL/e7oFKCjYmoeBb+Pj9nqaU1F5UAZXEgxXsRfeqnI8qZZbUgX/OAGntvE3NrbfH+fTj9ayXPj2ughYPmCE6hVGEO5UqmQAgjV4gZnXoENoMLPa1WjaG30fbjvYNBlxa/oSJlQCnDdjDJkOAMRLTYZ4RXqUHKgf3FJOyGehKlF/nWKrHgNYaEmUof4HkNm/Z5iJQtj5tHwksvwilcBsFDQ+sPYBbySrqaC7N8dlxJNOlaitxg9qiHjEBBjhiy1nPNIXvvRiggSllT+xHnumFJ+FR4LZpuVjseR651bMcDWKpyMsEt8f/VXAnw21VJvvaytDN6D5yQjqPqCW6zg2IiwGVPFlGjdGK68bjweJaFscpnO7Ea4z/caUHnUo5mLilVf0wpgYcZTCUpcVG4WHCMUSGrjDgzkwz2A+GVNlnbQV90PrLo8OOKM4yGFCv9wN4hJyEZNajbrT222c33+qQ8lbhzLBKEGs2KtTZQMxENSS17n1mYTjrhvdK+Yi9ex0yhQx7cMnEhmHntOpHie2q3Vk0i9Zt2IMESoIKp1nWw7yjqoSXim+DIC4IoRXq0yYFiRDHIks25m338ppCIkYUTuRStI/6u/smFASL66ryR5rtAEabKwftWh0bPPTGfQGVRarbpD1MzE9kMJ5ZjiKf8vxLrItubvYPTmuTOHu9qMZyN8aYznROn+erc2BqVg4dy+85v6sKYvXDyhsKYkywmolN1GqMLp5L5CaDaALUeU1+uWrUm5KFykE3C8t+EGmVeQbn3Cs33KUTySvr9ThLblwnC49iDjjuCQ7HejhRe3e/QfJMVd8s3SocSl8ROpBYyV4zd3c18MZZIF8L8dfeb16sXonO/CxdGOJAVFqwhsGG5HUWnu6aq1+OrWKrgIErrIVT8VieeEh1b0bqw7ZOmLAlhDZC6XetUgfGCuoScWc4crjjqNwgnhE2yyjtnK5k25OMRv/wYT++35ETJM4xuorQN+CDxqLe1DbCLOr+AETn48bfeRcfZf6nrN4mY6/H1W7wd/hi0CcF50K3i4ZfFCePoCFLBpJbRYWF1xeaHYV1/dG3YIBJFLFOVoFgUgHJXCuxTxy5goTeOcrWHFSgTA2htm3w7/E36MzClRiJhlBoUn/gEWMlpXgoiSHXl7DFsM/BBmk5Lj9Kyisxbh3GEsFOUBU6VzLuUEv8Mt7NeqDypJN3SciDhk082yBw8r8j2ruGmgEP2mDXdHz/kWeOdMroDdhVNx8OEoE2o1bM2YqvB2mL/H/CxDkXHaW+tZ69MG5A20wg7QeBctiunbalOskc+Ac8sN8xLGHmyplBY4Af6IOeNXK0H7As1JMZSDN3UzUFxSPy9KInTs1ptmdc7a179pvSaglhXW3GFZqmxd6n+hifuiBue6VK85Yfqs3z7UL1bhwLxajB0fHgsQOKVnKl8XlkUrQPs+PtAxhEIQf71v5MTlQEXcVteHgko4cdtTRin6npbHv5wHf/pv+H7dsGftSkMs5S3Z4kycvJXYFRQNwrieaVErH+g+LaoOf5TjfiMqlIMyHUMZCQN00n5jbdPQ1mMwH9YPJPyS9czflvpZha37maw2rWC2qRPRyUAZKNf+cfKLNdPRZLmRqNDwpqNFFQHIlRMUWBz+sU5/pl8D317KYzXS84KpI8Pl46hXDBYp42jvL+E7JrUA0i0FWwUVUnMEjMyhDp6ovAhIfD5LiId5pXAnrpwpfp9tXLHCx5J8AQoQLfVaQTeiPeLbJZhXIOarfZgqqv3FdzosXeFx85rqq1kHqMUK6VO/dJ6IYk5Zb/B8iDR727c7NijNSXdTkyChQ00Ky/xUs9tOHqZQVXmGeTuBsdf8nV21rAdljDBQoWPX1xVUl156otvGuVApQxT97QGQbhyOLwRaW1aTKEN3yAOGMcRhwgBLaTGja0Gri7Az8l8W8PX/RAQoelisFy5nDY+Ik0svAvwpZwILSNrAAyS9KCRwc6BX7t2vHIDe1gnrqycr3eCKmYWaCAuUTYkqK+EwJ0pspmUUzTz/J9F5yvETyuQ8yjM/f1ca1KQkI/r/J9Oh2MZR5ngdWtt34U3iRqZCeVMycyHTYeUW1SV1CF/PFKUAf/4ngni+2wCyV2qi31+GyPS9iFmVcDt6OVNqFCPvNVkgiAWHOmh7Iueiaeh84MbmlXhy5OVcfBHRRLpqlEX9RagPEVGxvtjNMmIF+nBdJz+rVM+tcFP4K5iw4Qhsl9VECAaWGea1a7b6B8wF4K33RzVwILdJgFckCZNanRv3Tl09gFu91A01pJmhF36IhApW6dKwDkAvVpb0HIi/K3qb3xa01kkQIppGLuhGFFZbW/NHV2PdnOmWim993SEsR0QHhLgXnc2S6yJsAWLcQMGpLSFAbosNc+sYGNnHanPTBvDQONZmCzndmj2FGm6OCP4cku/POYzezYnxk4mgRyPBcrZyzz+sJ3ZKWvMNhwuhGGINrkrEtygutmUwViW7bvqSzRsrg1w/tmQaUw9pHOS4KSVgVJDeJuckKekLm5wG82TOoaC6Pl4Lh4N/P9Rum5jAN3hsldFvGbY/zyzQLaGi6/1MuZx/D0G1IWDKV47teJMIOaHY8ZOs9mYiZnThzlAPRJCyEuunBD0ADKXKV8Jy8BjaovUXM1DttUgggLE2Tn1XZlq8zKv6Jbbt0LYOIq4h4gYdOAXb7B2I5h1UT3P5Gi4jBhx0JULEmnVlTJv1PnwRtUfe30k2JDWyr8/u4+mQGTgyiwgQraQfqqOp+4OGw9I79+ZYrYs5h8nGCiTrawh5JiZtIBxWmzArAwOYaM3TOHgTNgfRbKRuAGLLifHEg7jMuDKXmVkJA+iIr/JGn1W9m90olW8BJEW6Md63UlBhsjlP9L2NhfuL7ecpE/cGoSIffRSQI2Zh9h2v8RjEYRAp+rYE7ZXQODVOQnNzgRFIz71+oGissm2wwnUdIQ2+69nqoiFoZ5YgB9V+Rnerj+HbxS3HvHIcuuUAb7cx3nbgFZXK0E2LuILBabggQvXhuBOh6hkpl8j3Zto7Wz5PWMAp8hc3NIp/vYbGiRkZPIb6Ut9OcBh7202Ed1Ds0lqdT2CdIsX7Ic5p/i0R2GJu0hmPdpmNvhknPLjUUncujO+Ri4ik0OoUeteP731Qu+tO6QCO7lT7fVnvi6HYPj1cYNougg4Q50lA7Gzj85pmzvKq5sykAPg3l0amVmiqDfqMGki6kqyNdX5iR/k+0wtz1A9NQ6LjT3Z36xcocGCRNNjhV+AnRaEVUFRKEqzFxk+pMh2J33Xq56V49Q3beZhxL0/A0u4Lqgoq+Mc6QHtN1OnQ9O/xi+zLOPd6KJfk1Vzdohwe57YTvr0tnIqlhahd9p5i68a5+oTQX56dyntlL5hDZeSTwCuL7CtUCU58r/DeWBtt9AEf8PIe0r8hu6HpTtBQ91p6Z3jqi9dew3nIbofO65B5k+jbg6jBRugtZv+Afk9zKMHfFX79oZAFEs7dxGpPDCUEOepgSUH665gNuJ0/hchCa0q4/gB+5B5v/TX4TGHFMsW2d4YBzJbPhNlKh0pDxgOWZxpIXKj/E8BBmSm3qXFLC6q4PKEMXoq1FhzT/ujjxnqWlx1nbWGoRlgxCtX56b7CBQ/QxQ3OIWBr1vS8l4xeClS/uv0spyofsFcRDkzZG63QH0seAf0KWYq8oRXcWT6AN2h/4Qqcarn4/Q4c4VtA/cZYGUD5nwhVWFKbphPIB4v9rqiWpnSru3+zIF/glGJyyvOWImpkG5ETkD+Z9iiN04GMxDXbdkRzCBX2cHSA6L0wfA3wVcX3wArth5aPB3xagnWFiiREjk2EdQf81meTDvrjnfiURcEV+f8L7uBSvban6BlJXQamlAuLRhUjHOI74nn39NHwPTscaiWOvVCE58S8sWC0A8F6a6/lnAkc7SunBqu9CxOM4ozRhwmOcIz+9JtiJKVJDYUAhS2DVMpd+Az8sQRWvS2j/BtNJGDqbqaKtoUoa4ym5JhLu6SUClqkHGBNRKBavhJHiQsoLemlal8gJJqp7c28zSRe6vMGrgtO66TowZiJx5D9X5yaJFedfHVFE/0yUD/sFNYYBnGAbz0mRuTpybDxGflW9iZ0J/06WJ5f2zofIvNzGfdd7zf9/u+z2liHwgeZR2DuQDyz8xfr6wJQnTCk5C9khn3fPteFbOaR6QJYD77R5defwSmCIzsiPGByRPDEVOc+d1x3/0+L3SjplLuut/uRg1eJSRDfLq4UrcmwER9T5sWsByiTmDknYEiAjj6sJpmagEVZrk9+QFt9vPk/FjS/ohL0dBTQCXbBPVM1Jh1oJzxNSLiHsK6F3HC+jUkaQXjhoyfyb92G0yig+B/w6qfXUiEQERfZzvMhBJZl/4UNgj7cT7nfhJQ8mIb1ahmaUfoecfaBdI1G2Rfd9SwXcYPrcNwx+HQr7VNycOpx46WyqqMsg1ysxa6Ohrngxd4HNlRb+MGlAq8RGyKatGPFfk8lF9PdmEcgCZt+GGSEBksEe+kD31ho5Ab9O7v5rKP1tEoP8DJfEPbHn/vurywdOcclt/JsqqVfzsYM8wAGfZd9a2ckdJSMNrXCkUiqWQTVGeNv8q9LK2ZTYG9jhcJw5dP2F6GiGyrUojfSSnzzXNTAdKzfqPq4HokFELyEbrOfRi1r6SZHOEnsdgQqDv5+6Ual8VxGTIM2sLZdF91cUKZdu+ZfVv4wgOke5xZDNpqMdI+ul9v6O/NHO92oaXTi7/Mr1YhhIL2vKHbJq2e2mG/tkm8cfCZFa2CYMIqEMfTVekTAjolMnWYt2aBJZmga+lwv+TmxwXZguEDuJgaJLaySPgtNWQ03ffDoBeXCucxQQ9csc9S9qb5AJ0F0bFxnOy5wHRCq69+MocjMVqJ4/ARParCDkX+LA4yqSdb6P4ud6dymQX0dbOuC8DKQZLV8b/xQWq8d2Ml093mMXHZ0/sU9y9T7w2b//zo2IDaNCO4AMfSmLoh1jumRHL8uZ/SQKwWj7aQpxUFzcEHbL+AsvuxVdEtEIhD5u/Vuj0e44xzI5wfvnxaYida2BQM4GoMhr+crTkV1rXvRRPktDhBsdTd1HYHEcPPzRVm8xOI/b2L7V2No2wZ46jWxemmma+i23LDewQaOaaI4RK/yqowZNc7mD/JfVpSkCFs7LeT+qlyTpl5CuHxJwQPeif8hduNMkUfNJl3IzkFexfvXVczFK/9w+f+ly9EANTLHTUNznFWCJPTGOYMK0MNz4J2Zoo0aAnAa/fNpQh4E9dKvJu8KR30nWjnhZBUGB75W8oMrJaIdzkrMb4T5bQte1Htl8JcmRkQk64wzMkH+Q4Y0s7f8Rtu/bQWI14ZQUviH6C0A48lTgTIU8mrtvVmZmsP7jmYOKwHZdm9vie5PeXSrzqQfP3n/IO0Aw2R3/bkxsFYXqnzEqaXxHpQmOF/BUgQSAytmiaAFf7SqsJtYx0FEdAl71AYv0s666OmeSoseKca3Gbzco3tzhLK00h4c/o7qxbboQbC0jwvkhITxgrh+bllpLrQQ/aPg/HQ8IdBfXFEWs8mX6rJghX93jwDxvqdcsaw5n74oFDTNLaJCGkTlVvBeVFWW/1R7KMDFv6l84e+lvlLlymja0A/S/0hE84XWV3WJcLvNLwpxZiz619tcmMoMn36tW36NwSh3sfJp/QYe/iLmEpoFqjBTlBOWt3IiKE0GDW34LRCHQCXavMmjDQJNMl0NEUm3OJ//o/KBjuEf+Wmov5gV2uyBw9ztbNE3vvjUNll2Eh411Djoh5U7lptmfgFlgJxkVB01XJNEUG/7mt2NyHkUFAA/tFu0nhqcoZZ6pc49gSIPOjf1INB+AahA2bs/DhR2fD0aZ0ibe+QB0fXcfydGugnT6CwfeeZCaBafh+t0mHn/p/SRCAgO8fIkbsUW8serDoolHb21q5V4nSVn0cgSWcGmV5k1e4rD6HWJ6u9aRIwmkzA0nJVsxfdqzbWavxpjTyJt9wKIT0bVWBo7Rn2UEUzYYHww6YoIMVaBVdKgDtYhDqVIbHk7zVdgPq4pjyXyBo4G6LpoJqubSGHjSnlLq8+2hrgMpnh4FeFZ52bQvVe0+oYxPP8ZEx9CBK/KRdXksrSyzTfe9czaTX07s+swBRX4IcxgJ28aGNugHG9ljw+dNY4rqSH8BH4nRNV5/lfbIa7UA3RKLZq3jM1+y07JU8PMgcpCCLn9OGQhQhl85pts9pRyI5+CBhTVKeZJsM4G61/SgJtDoeu01ITg67btSUJOAqOBiW54DYF8YO8k8Yk8x2zAmgN0Ov3vECkT1IIkdI2N8qKmnJaDgxoer0PlN756CJq6r+uYa7RVL6PvaB9JJZwYw7dU6YlW5CK207ji3M+d61URWMu3E23ccUb/ofcadkXKgyfrKqzOURhqOW8fb6xvG649oFMPmYNAwU9iTB/tGIp4k4HrLHAUxcKhHRxlOQm7ivwVnsv/FBhufb89PkfFYMESPC400nRJLqx/GzU9R1X55dT9fXAWDqtkSdMXNPzNjvsfiD3pvnEcyE/C4x2ogrKf6/4QWf4B07/w2AKqH3/LPB/owUq5NyRZwYF1nPXLGO08YsoJAu2tpjr6POFZPK7Wfm21Zi1B/hV0AE8Py/LhJeCN5zmYgsqEOrCgmujFPeQg0J8N0HzMBm7Kdp6sK9XmFUA6sSyvnOJBBY6DlB3cUNxx/hVdi+BBF5xS0/vrtZ7crCjIh7NpgyzugIpWk6Tloh5d6EOc4QPWIgX0DgvVs3ZhPw7VGuHmpoECv4U7tFtYX4o1qKa8LSAnjiKDC9+S8oaPVkch4ni7mQSnKl0J5/O23/4bRHKgVSzTIaliFfvnfz2eeyf3+wIO/LlgAH+sOE/Qw7G+UkDFXM7fSkMZqzDm+8cQ/dmF4zRUKEYSxSQHu+JYojsO9q7o/N78zuD+iop+NyBNz4RZ/yyVhGHPUBcszc9puQBaHcS7dFAbDNW3ODz7pTBnehytl96YFTxMT1qVaYcO8uFIvGFXBYYbpRXXwq69J7rd6u7IyfUDMwg0kEcTnrE5/Z8nohEjsBzKPO12AgTlGTWbY7Vb8tEBXWwzaUFv/mxdvFDm+vaHEDNo1mGMOeOLQ5b4FyvcVO6pbqwLUdNZnZUEOBNbfIctaixQr+Z/vfYxifdVcU3pK+kL3sE5i9G5iWtwhzTz6Z0dr70K1GkuGKin0UEiMRGa3Rs1jPEX4pA43i/goNqYn2rUzDea84dt5XIijgmvpCKs0qZY5mU9s4XCcSmeq0WJ3fTb7aJUSfedgzOCy4tDKjV3jPFY9jW9ZlildYgRDWqEnhKbMUSCT5SaT0/Be/cpeA4KUsjUmLqhPPkOWjrFhCZ3cAwzZ3u91AEAA8G/yzuoNv7uRwC4djxKn8/QKmJ+B7Sl5e8yShrwGYuvtimNhPsxf9R7OKeFFL5uzhZK/qTLMXC38AYahDl2R3lmmzEIR9Mj6wReU2qBiEJJ8woD2U3MuXNYI/wEHzJ1EnQesManQ0PHT4risb7c7Z3o1a2A/Z2AjuJfj6AmuSdO6g/GFySQRo7QRFcjMYO9sliYAof4MYL+Sj8LZYP8D/YUyTAC4zuGmP0pMtoLHY+D7ELwsc3KWoRZDL6q3/kiIF91lvuJBkeipKiL1vExCtBxxEucl63N5iq6B4lXJeLQWGk6P/Cyewe/agi7REQAQPEOIPT+wqfFuwE7Jz7hO8YHhkT/Ey/D98/II8rZHsvnzwiZIj5KzhQvuzNNaIFppnwn2ZjOiLTx0LiyO/pyFc+/QEaOMfeQSHvFHDi262eXtwZSJ9hvEMs+gl6VNMQLUBMwjSk0KDHXr2KGfXkqkzvjemPmTxfxquxBRGmXi+a227u8praVj3fCovIMn5+25Xnyk/D9XvTVNpvmjNnUPwE1fwrLwRdo4qKtdBpjiB7CQPD6iL911ledMujmZjObF0be0ILOm8uGWAvnt7Bs6kCsGV1BgU7SH/0hVVvcTen1dGR/CdNq089ZH8ZYqVJ6u/5vz/i5UCq9vma9Lj4em5EHC1zVd6V1yBNnlQjU5yVO/Si6AG9c/KEO6YdJi/dTEndD7BIMuizTRYMjjpjcIn+tdSLg3pEtGeB3ulmd+uTen0N5SVxcAxQikk7Iuf2kbi4kIxcW18gYWZcW6FBIb4UWbUWKtL84uC+OmxDreJK0ySuDJPpCIx30J3n9ULmOD0ApY9oOs/8S6bmkLhN+XSzNIfNJpGVB2BGx6oCG21+fWVKVjnHd0QvQ3r7p487zJr/LWfpFecG/hL/PrdTSti5Oy3XjfUHed8KfX/aCi59OfA44bsLH787SnM4dAVyVAL6YZYZH6v1FDQxhztjC6n+fXezUXF8PNIrrNg4h/5cRTcwkO7gYXHR3aC/HmRRjtLDYLmhX989ufXhIAIEaNiYGY4dYnA0tUKPymvWR5iTj1Yucu0dVJMZHLncwUhzjJS0f/OvfKOSZQC6anxQiztRUr2dQExSgwcQLjwkB6ENbfyRgDrBLS+QP74cVNGjNIGWeVh0ce2AP52HrmFev3N6/HQUiWtpFUWGJ7C3W4OB51zbvYo1yaIPP7YcKgCg63Yev5zGgXgAP8gffLOHN6Nalg4kX42t6n6vBR8TFFCdbvB0FCIEE7Ckxtia35o5SGeExNjOPYHTLYMCWGoJtlIjllXgwnmk/5VcUqbteRjo+SqLm6/uibeOy+6oG6nkxwHbGaDDYL/3c4OYSbHZ1B996rarJ3TGwKYlKhUl65W3ppJYR/sH2maksx/EAB4g2JQsx1+OHocBCqUgwLBIiK1/KLMYZaF85OXt1IeadlI7/QSCGl36EKMgibCMTH2eqKw7/rwAszMqT9zZbkEOHxZjeYNwFA5mP/UMu7MM8lxAco/ghtFYsHTcoCJ+4e6avJ7jFplZU2qPQeO152xKpR2BTcpaNd3Yl4lk1spPFJ1EUH2/pWGLEL+9L+qOrXhCWUFHcUNWknzFUZxjGna6muFoCJa60keg0OLw7JS8QHgyRxbWdBu3v/SFOmokiWSEAJ4xPWWs8QWzNJ5xrOg7/AFrksPD9oUK/y3dEs13Onj8bBnH5npxCvKfXxXd7H2Bw4KW/soayN1ejo868nmu9e7mwtZj99By8UU4pDRmwpez+X9Fr6WKe7xObq7bjS1/gmuJKc5znzoRMndK8t6iwzsOkpajS7HOa7q/sx0bL12yd+QR/PoScGBLE7nC6mi0o2JkTCYIx/sj1wUuYPs4LBAbOicBHdrfaO6sElK5gzGl4dRbY7XB5fFpd5LabDgONxmR5LKrgyOunceyc68dZaSKnWO7ytvKYzgcveNv/ok5logEqBQ175U1L8xHAgkLoVrgs05GJGgmgRqE9BcdAlAqWpHSirhbKA5+Q+T1XlmPVBsNR8m87Ok+CSusTULcSAcZ4h+lY5qDT5XPCH6VV5Api/KEHwEgcIleHbWILnfYHFiSZs3PjVgtydndFsFSSjrIHxDMr6b5IaFd1cHUECghNlSzKdFJkoqKSb58umwolQxJ9JtVDawcw81Nkao6XUiUpV7lIOw5Mk2SCYExWFJQBI1o8NmU3DnHyBfcpnNT0dBFeBSBKU22H1rWR5pP83FgWLecXokwCmkauyqV351BIyAfAleaLeMNr6MKeedw9Sa2ztv2TlWH6de+grbMKJfZORQlcLmJEGeY4eqfcfFGzbJ0iLnTUqYfSD7muEyPwg5nGHwXdqK4G6wDlfS09fSgROoa35Wk8YdqPqn61J3nXwyUdTDMkmdNfPZQRti2TD4EbPMhbzw22QfB9x4cJNsUG8kNo0Lxlyn1+qKTg/J9Yk6X05zs4/MyBh1KBAXeSGbdYdVbsoJ//8VW9LTlOTsyFVS1R36XAi0UX4J1lfMuQKVLYBlxGJh8xbSu2PAMplcNQmE2DeTM49Cozl+z3/FE6hhqc4fFmk8hZcqLIRsD7UFGE24bHORbdAMu/caDboOvg7kyyAj6Ddn2mc7lEMGx+67Oj4/5asM0Tt186qNr6RYq53PTxP7wjjlx4DUwNdy9bmV85uPS6stk2InNfihTWycX5Ur+x953f5ofquJHjJBUrI0QK66Iyi/o2SJvufQYn0o+zxPs9+xTXpgruuLZBb34uPKo9dIM6dOB0lplZ3GSLN31A5S94AFcEoaH4JRlrmje5wzvXINWsUI68s/b5uy9bFaz3ioVCZgch/c+HOhuoqgZ3f3I+flTFe0RybCu5zrMJhws2vlsrhzPTiH25ZZSvC9VXU4dNkZmqvP0GruAdN84aY09P4KvwuU3+4YQ71LIpdsbutpprBwMyXTSIjPfPTAe2injg7Bcpl6c+cg7Bev/8oQM0nPeH8VU6E+6SHdisL/OmciA1IbE8Mqkar7L6NztyPWBikfv0Y2b3qzI8gWkoDBZsQs8E+G/4Zi02NJ+WhwlzwPNV5OOwFDZQYnVsdCrGC8iX7aEb3WrOKzrfh5g/LJzZB7HP51wom3LVyjkyS/H8sGJIEEf9+z7AB2ctJx4YEsKltiugs6YBCRthzrHUoTFNOdxjWA74AGSlOXcrIyx3zJl6blYhGHDpAqWLDxaAvbPM5dL9tbMKtcDPa2Whq+yCZZeUPHhFTMPFN7RQhIEILgeyiChQMrzlZm5He6DCsTchg2po+jte4FOKIAPYXBuEqP2CLNqTG6nrzhWQmvsDban2uRUhkzpwHdM4jkq7386B8+FYgkJXkObY3VbCTQpLLGYXLMSMBHEgsLdjYbbLNpacyp7Bv5pRy6M8QK+/CxTENzoKcIDt6ejkdkKtL4nPp9vpdmWypv41ikDCT3uy7Ss/O9C1kD7GkLj/faoEh3IS62rH7IDAzKIT8lPgjWdOhUFJqtTecTjWIQKHsJNzBqwQnXm9pTC/x/EYMBPSTkVBwxmLQSJH8hJVGW73aYp/kBu4DEBIqPzQHnDaSPx+Rxn7ilIqaMBRmt8RWJnoEGWGiUyu6qaN9Ajs5tr3coyDUuo9iaov0kMEIevdZ54geFjSj34G8yMj3Js9uuTiLkBvzIhEli1W8F4UWbfM0bcN7oDsgcvc9lqot2soCifCa3w7v9PQCxXz/i9gdkYwd5ziY6XxEGxT/taVSMBIN4R7Zll0zlwCvtRaw6cQa1ftxEp+D5yZ5OLbHSwzDiaBW1FF3fHZL+qs3g8JAsPIWv/zWMDRXGK20cW89/rBg3nSD5VbbC+ANxnzNEtrRAQs/qc3/8CjdjTXjW9mv3gwJFL+v06oNptqY8y4P5a3hZbnMVdu5qRUF+2YD27U82z8w6zoGHtM/ViSWCyWBNJbHsbw/0gxMqI7wYGxKbMj6+nbReRznu5G2YMJkvaS3Txuo0r4+01qpCRTgyr9VwxlV3RkP2TDA0QRlExkwUGcItMnYY79w18jrHj3pglBwcZHkDXxxsBdGTXa+5GYwVJX2mDw+xs+i/4rIhjmQx2tUzTyWJJBvPUOVinc3xgTiFbU8h26GyB85p9yQqStLk1Uf1eQFdI2JcCH06erIYxATT5LKwPnqT/FGuJWaAogbA+9Mn2agzpTHfr6kzEevIq9XW5O1MGZldd25UP/KqcSL0+JeAerNxzjCmCooDkjn7AD4bwlwsuQMQuD+Hx86QNz1lNrgcMRB/DVhvyj+qlP6ySzd60KKmhq+PpSUTul9RYfIJ54yaaUCRyKMuufZCGOBZQXFU1vPu/H9h77tsYzFWfuS+zK1ywVe92xNGNAucDvjy0mLPbw8PkADMT7hEANDLPhpPTgXNEP9UmjAZatpLboEmQ6bvH5onMs4d+ubO5nvCIQ763GJa4QDxkvJicQlQAckGHoD0XQuvxB6/48UC4/VGpcqNy6lndA6r6A2bdqi5dCM0Y1b2qZrLiqSFhU4CIfvTzg6FoQqKFKPeNQt+nep8CFWCy5HDc2jmI5aBupMIrIvpT6ZVkvC4sJZSY/3jWhaongZhzoRZwNT615YAlKrCttEI9uDbR6f67sPchMbDQ7qZQuHN50LGyVdjW1RivQjRUDaCr+mw4EmCec6lM+4EZNwYalgylL38Om0GRjSSP09yMY1Yq95SNuUWgx/BYImsLYkbQFNe+ZkqjJuQbASGC7V8ei3chm0CIzHIfMiXE7QbAUuZA2DnvvE255iLymJm8qtFogRsKXkfBVNK7aoia8eAgPes3qf9E90QPv/rwMJflO9U/esIhveCkkDvojXZ0MAbDju7mkgYz6JLA/1LfYkjrWY9+qeAI+coXpwj/nwiRLVf9MIwERkRUsLtq08hUXQwABrKpx5Dxe/5J1y1u5E+0imR6j+lxoLvLdWIEpm46xhY3CZp0NUhcN8y45mgX33kXGsO6UVfbZGSSpOiTvNytTEx+aX55iqEuRS8j1d9KxHNLBHuGcLmILIIE6lO2p8D6KxfzWWh8Le3gVv4gCvA8OH21OR2dT/sphLp2U7RowJbrMCtipdwWrBKBGGUyrwXr6B3pN7SLRGQxTCrsWAhGR0vMW2WzQSFE9xWjX+MPxL8Y28PNs6oIgymzvWn7EjjfvIkldGbqDWUN5ZkteeeNIp0Hy3Rb7oEMUUU22E0dB4CkvKGxLR2u0czgd0B9op5PF9OJDbZ+qLiU0VDuG+Q+B2+mdC87HzIS7n9yAovLdZIQCr8qrP0XTWGqft3pX8guyo0Ecc7/GTI7tUFvHb34c9I8t3XV2Sg9lPyDDY+FpUjvwN7Rno2ujWSiar6D/Nv0wqm6gnMc6+H0AkPGA2eZ2szmvPnnfrklu40Iesr2xksyH959MUqJgj/d2qSlUK/GkdqPnflWlL0MY65CedCURf8ag22zPKaNg7duZ5j3o9O4rurz55upkwLipaq1b4vDFh5s+aX+Gxcx1qxJdJYxJ7zZ0UL8CkO0a4b18B4j6j+3Q4kqo9hwgIXkajUOTkODnFlCHfSLzxOIQJ6tMT3PsetoF9drnCKU3KouxpKgLJWLiT79Ov5GUOO/s8IMEmQgF1wSmsdE+bDnAcaxuCCg4ulMf+eQSZZoDK+wxruZ/irje4RegmUjHL9Q7aImcxZSAjK20qh29fuOFN2tAkCL3Z0p05VK54ZzKnnNTkdbiyHpQ3PHdP9hYHLP92Ib6mdf1XPuuahknCsdSRJrig/oEf7KPmDq8dKzGYSmkOw2aT5RF6ifSUiqU/kO/0SdrutDwFVjwt6kpoqKkYwOUIUjEROGuXARhWyYQfkEJTYb5d1naVjdSlVZTjGWfDqZxA/ZOEA2pLMdg2uWKD6RjS3MfCTQzY7cK4jhyGaM//jaKJbdKcEwyUHR/CffrE6xruY461cQC8mfQVIIKnZKTWZbs5UBpR6XX8ctmX/661LhQYVuQVRdbutsB72YD4iZRvuRhwO+NVqYfdcIZWhLZAQdgdQUIIdH1NL935IuCG33LttwZnNIZ0h1leKmziBLFjv9k1G2ZLIJK6LkpNPTNPXZWYkSkNDMQesz4FNuynftlvBvssxK6ldAULbg2UoxiITJaCDRHV8YTOsz6imdgl2OfS1VQoTTk3pkFSyI3C0lkO7mZfRoiV6HRn7vFbpR4fkGVqpVGziV5f4rWiA2OX/YsdXbLxPcfeg9/9EOmom4Xpf7d/iw+9oPb5uNoRf4VN5fvTTaY0QuhhdB2OskzyYwIPsQdTLHPNvrG5b6WMUmSBZkuuUtSbIH8qt1L7SQlf3wnJaP/kghP6wbH+P6ukRnJvAnLwpGiVXK1Umq4jSpCzZclFV862QkTWZ4SucVbAMi6Aopivc9UvQhDDFyIByFbB5s3jHX8HX2XWDApVrm5zSLNqVMh5/7JXvOWA6cXBU4NLi3oEXF27GYtcgTZZaf7hJ+YVtqKMbUPUZkMWei2OEYrdKS/xHT/SLXEy3C160y1O+WTJyjh6xMoYbmeAqrkHNilW2zbyqfc9n4QCOcZAUQ+DfadEBZSBGt8WtYorwbTtlogGZfvGu0l1siHabJzq2osZfndqKBp6dKJAaaR7GWlVrDMliH3Syw6g1b42v9XY3W9LAPvWy4HtrKMV4MnWpTa23PqDlpx0aCjTtWotaBSnPHjE78mtWZsVVZmTnt+Ag+n+UW42XPVccdGRNvTjUFf8fYDuJn146WoXmWo/FFx2I7ap+71vL5HqS/Cpwy5b16bjJSL96bH91iscRIhzL2b4R9NseA3Ymp5z0V4Txh8VNXERxbkRKyU/vkIRVeebZd2OfS9PfnogV0qlt0zZjNy0DYZIJWvWl0Cth/9Vul5k5u3vh90kB4L7DaIk4Hg9bbjq6TBsLEQ76OKOhXlLqmNz+rhFzzaHNrzcnWBqYjrMJYy3W/LosKfVPt0GbaRZUMCjzsafVeUJ/YbqQErExt99ioRJlcNrKm5Azw0N01QW87slncjil7NfGFFSw5sT+r9LsYzOlonW/6LYSsDg2DI3AC9l2aSOEjgEcv2krNg5fzGJjJOEqgg8g4RsoQOfcIWq0Nm51KucVjPbEDPEB/wVQ1FVgfKN0lLz41YkofNSiaJSWKanssu2bIiA9LOejvA4ehsbCw1dJQKx9yk9hEW2B41GBcwBuIZqFeYO9r0XjC9LI+24aNKZzaJcuR8eljMCOdVmCiFklYerd6dQL7O3WTyu8TVSSNp5ofsUS0u5Yr/O2gcj+AjtJrPGt3UCA5JDKZP3IKieqA/5AE9pY5B+/1n15MMZc2NLbISJWKYDfipzs+M5GuX5DD89P4wFisaHKUhZa2gX/b0AsQmMUNbZKYZZtRe9z5p94e568IkxDy56d5N4JbXrRJE9jZiGp07i1k9ODvbKPaYzCjm/+V1nsIWAOG8TJ5rNwct72maoK/ki0b+rplk0dYQCOPsmYvr+nX+d2ULue1tsKMsB67894aDL2xJM9DW1fVV8hkfe54TUVYJ+P46U2GYbRDdCzlT1ot1boZOgNneL7VLAgWcufSvvmVFTnz5JXpWmZrmI5G8I2agmXpqHDUioIWc/kpIHJg6whx5kLCVN3MZAba1RntYgLeXlhcBjoZZeh4Je6aX1wjPUy51XI6GLuPCVxvQ11ZpAqMkwpbNSnhusmKlaJulC2ONbcegJhRc1/JQ1/K2XCJ0jQTh6vcLA5LDLPbh1la50g4IosX1zB5P9n+F56RgzmHZ5SRn8lBA4PAxX+QyzTOO7R6EI0XK72DmZe7xqHWq/jeea5EHl+PnWuHnAff3NXjBSgB38uqjKK/7wauNcts8schZ9OOAg2oVOHQlPyZwVsPudXBXFJZOG1NhZP2y2DWHVrddQpANIDqxvEweMBJvPo5SP9JmHiQQ3myIAFuJ0mYaR5nSZ19h+IwfOL0aB4XGsus+R1r2onA/043pjofRVVo9e8Kcigz1PXxwUuFyh57gij9uSApwObykdGwQh+JGUoL+aFiWTUqxJ+N7Ns2y0cW0bW6vW5Mc30tCQkL2l6kiB8EsocMX9yqVOz1VpCuTDLBwQVHokpg/hkLpcEHX2y2K8+pIrxp+CeP8dJryVeSKJENhCw8CyMQZAtRxj/tUBXQ9Q1GdL4Cuzxt3xK7owZkHhthwV+I8Cm7dfoIgV8wjAXIRDmT8dPgXfGeKMgK0/4jdVKAsz48itdE9XzZtPdzldwBNEEGraa7RVGzPImSnSH5zn71Zg85Me/JY1Vv/oKn+4Wv1OU285in+FxG1w82ykmVi6564ZpvRlRL96JjCrvdSjFgReTz4f6gwfEqv7ZcKV8oS4L3MDLzmu3ChjycudPVHqLx/McBHPqalYNgOYXnLODT4VrLFf5bCCqpM+Ajkj6Fsw6QYVunqpNlvKiiRoiuvgAI6eHEWE50le4LDCqXtr2r4u/DldBAnvPw1bdvJJrx5Mv4Y3uqzrecS8JIPJLwFKimUMB/sV6hextsRgplwq230EO1c/ocXvv1CPRuzPdmFqbJge8OhaeXNL6/zD7Br/JgILkakGq3hVVCgg+la6bTeG0/uykxc69S7luwr6qRCvAJrRe6YxdwkydZeG2R6bzkw9ajPobSXZCH3trVIdT+XN66BthkkKMtq+zllsNYFt2AM83j/0cWvC/dOPSD07BNKX1rkj8WHjePGJ13UYElLyWBAraR6GJS+J6JzINw3P0VuFXS+RSvG7P4XMsscWjHMzhgewY4MB7TaTwPpgnTfPOiAZHsN6MbYzhjgn+XUQpf2+uylhc/SS0+HKZOKOON7evE1E4zigTyKH0nP/kNGfhQ/bQ9lCKRq/mDppz1PpdqFBLbwdFylspJowj+NLVK2P1R/Xjo552aDsiGRnlFWHUL1kKWmgi6hMPPpamFFJB25KBrvAMDHQCPDFCXcerYPL50qYxPYkS/R1UCSX7gmpS4s851SrGpB4jfig9hinvck4Sj4OJxc0TEalfH0jxLT49NWPttMCHuxtmSRxNkjPT1gJYFLP/SbS67tWSrPZ9l6ZYih354B+Ep6fxnL6S0G3Ad8+mU2bh3oLBb9dhfXlRr9HgTZlQ+l2xN3DuP3n7n46DrWc3YxRLNZcTzmPgY57QFiEaY1/4Hc852bg9ST8xD6b7xSMh0ytWUbd7AI+vCqHpEJj4R4BGw2GopZYP3G5qsSzRov1SRBsqmdwTUTbpHgE5xyNyDVhi9+vnCaUTtUV+qsxU+YsHnQYU9XXI9691nZ8kKNO2nG5zTMPsOC1OE/phTvpo5S3F2GCd+rVzDKYyzGLvlEqasiMOMMp+GikZDcZbqeXweKqZqjRGr1zQX07XIyMvWyX8NjegXdd06U12CNOeU9ERNJi+JX9uD1j8zKgpUzbxC9QrxwVZByuAGmknbDzASU26SXUdMoWShU51d7JYzL8KRL6Xl/dAxkdxDghRcBWHgHSXrIo1XjUV1KaHdQeJd2s3E+oLFOx13T6s7PaX0IotjLVuKy0CaPV6bUnyxy69ZgPwTQ76IM2PK1Frv97NRe0grH4eJVuMod8Arj+YSUAj/v2c3evjnAINWIBfZr7YOR0c4PAKVghFWVPll4w4KfYn4WJv3QXq/p2xGTSOe6luW1eDxoGbMWx+gvvZQ5rhmYuIEjKCzDBJDMHnRLLCwysz29egWNbOVm+NRTe8ku+7LzNsSQBdOy57c26Nh0nQM3z4v1wr3sKKvNjHDkFwbUnITTycPQrpnznjOIbSYpohOjmwjOX1LGXDOWZ/ZtkzRa26DhzcxryhRTY4FK7IhRyzKRNmI7ckGz3KYjuL9lYF0+DO0368duYLBPdyjNp8UAt4MjttZz/503JZmOa8KZIEXIt4BYQPURIR8wOsPNdnpxTtMty8VAvoerwDpFL7dCSjvntx0gmOtc6n/GyU1KaiU/TgbpS9rBiS4ucibJo9h0muM0WfqA/AKllxirXfCRbVYo9okN+0iFjanzBLYwslYLu1YU7rx1XIryXuPjZJUUCZdMOevnrLT0XzuAlR4wT0bkqSVvE8PgjOlOqaBEA5deAc/VzTbZaZXC8l9noGqisONJmYrOaMA7vlukVh54gZs0NnRG8xuP02V0yOXRRW1sMioKNjMepPfqSI5AvdGn2FrZW3EfgIGk1L4c19XCQA3Y7k8BCnuxnjc8cPpmP2diFnXyvSNJJ02az9SLqZ4M7ojgI/dRPTIIcnH80RWwOOB2GtDSBpmbN3whq1Amis0Ur0BNyJp9ciHrRnM7fvxHu8ES4zwa3QSbJJXluDNw9k8PvDDoFYgl2oCyQ/pSzbDn674HO3OeX4fXnNI7aLnlRl8pBXfNw/sCjZ4gNVcveIpywLy6Ffr1Kb92HKGLKbXMNEAq0q67JpJ2pV2rMphySnL8o/C94GnB6aOr7Izkl7FQKpsex+PcVk9ftO9yY9UKdheZFdnjUPtTzNBN0sh6uiOWiVimOn3tw6n+kRVJ3WGmLfT2CDbfW52jVWj13PHT/vUrjHNrvjdKa4rA4pqdhd0kQSGdh45OqT6VKuRL0c5htmH5177ufk4fXKLEbKBoI7HlNwPbevlD3J3jcjAMxDCrNLoa7plfRldy4aoo0U6RAxh0bxIfCjOsrK2ERqsRYd+7RLHR2kiSiefGAfwvK+SKmlj4XalFyLpOMUBlpZ37caZ1ibIYR+XC7zFTqrZPezYo4U+GfrtFJcBNscqb+0cUhIn2ycbGPhulDYIrGqZzc0hdYnYk4I7YH6xH1b3tkZKqdvNiCmOrRdkAwTkjxwnv1Bnp6mWflzoisjUweVEzaE6lIg/G0NK8y9jmhQMDDGUJoCTygMf9MJGehZ1Y5W1Ssr2XQVnaxAwFaKHNry0ArmLaBU4c3XebiLbkd6M7UwHwoq9y8KGO/MseQsI5hgEHcify3Zi/4yQI1nvMi+wwDeVZ690YK7PZo4NGtTQ0ulTCfd4BKEVns7DqQYCZ/5G5rFaDI1FgokMrYIbQrklTavO/7CuzB6yBHWOkl0UthARtxi31w3ZxDso5YityyeDvMTeQMloD7TROD299whVt1C5KnKhBTT1DKgZR7GBczs2Jc4kluCDnpLik+J+6UZAC7QeR6bIE4Uz1P6AcBloO0Ds1crMY022sSDOteolJJYk2c27hkM2U5GXVgactcaQF8MNbuDd+bcdk9Bq+DSsTKKunf/eMDDRTLwqU75WYP2Dr5m68TK4XNbyqIgZD59pJsgBMYuCjVKGxkACrJBSra+LRHxHAIuqVw8xH6Uc+MVjbS5pNuhPvhxDMccjmSleyTVlrpRovJNKPu9xt6z2KISHBorhhwEmbbmP0Efhee2GAIid664/PA3RTlvG4Flt5DEoBot0Pwg5FL71iPdgo/K22JRbKFGsMBI0UpoRtG3vZe0GGAh0n9WqWg6DsFFJRvH8p0/a9YZeFpDd0sWXjK+OWPRaiWknjKntAnyKkn1jFkoIXodzg12FU0JIcK8IvSAN4oyfFpqdI3anjTaRSpCx4GR/Ap/5klOt8P7ekfb9MASw9wVx2zkici46hdjk5nexqLVRrPRwd5n6Ny1Lf0QlFNEEulaCtHJAWpVeM6171PMH3lLATqspta3pbws2wlBqm368KlXN7WIi0VcZmlGNd/mV9nUFP9JDRtMIlEzboIjIA0zr/iYA7FibEK7jR6YUyl3eYOJiiLFHzu7eHRntXfMI41z/Q3afgs2scoErOTfMaHe/94wkQ+BnKiFiy6kUVFn30LDs3P8G6cc50FNuQX7Sj2JP4AD+Ln0TEzGjQxrR8vNXlnXbEf6JwGZeCa6hwYJqG8jo87UEIxXUbV5fd3mXaX2EA7AY86odtqAtZu61NjuVq6yENk5awFEDG1imt8pjbgHUlaai9zW//lmkILmDUOjCnoQE3MhCaeBzuAuFnbfbqakskp4ulUyERsWACKd7JuLhQF1j/jA2NE2Sbh0XEhE+3fa77aYn0GdYV02iBL6Y1OQMNHEA/7w7PtuV6VhOIfuGrnT+W7gEhyiz50ofqOrQjlk8fTPEfJcA2WuStXg8Pgd+jGhiY1NImTB7yY5hFFtHP2KmPPVe2n83aGSlbc4DxqRfF25K3OblxgRUP6g0Xv4zLcJt+Ba/X1NGq9DYUzD98DQkx7mdhmwP99DMGKT1rTz5YiJDfnsrjRZfOGIXxFHBKeFwMEfqd7m/j5F36GQh3joAjL6WinZnhiPaj2SnbEFq/8UeQS7jo67fgkhv7o9j5Kzt9X4RIfxrr6NpQZboV0LwIWDQ8rOKeQxV0lZM+uYlPbJsPRXRVIHkzvK5GL57K4+0Dyd2+j4UgLM+LtVBoaxyUD4/Wq/zX02STQJiLPZ4SRj7M6HMZb7R37NnVXQJ0D+xOxwY/EnnN/0ISxsP1V7IB7gXIKMerS0sYWJJcqqG5zDLR636UczEE8Lco/joXio/GtEzUjzSgvHurnQ1RE8GdjS3ZggWQ6myBZqRHFMIMbZVFJB40oBI1ut69457Mvvvlo9DA7CSWkBQ37qC/ynRKIUkSp+A3TO5XYCUDalgP2Agk4ylMAsQkoqcgnxmHpyoGA2IgMVL4VAnaw4HScr1qyjt19LpUbsU9L8ocJHj970FYhpJU3zVVwXHYC7S+P81H1YjlnkzNDSZeIPtqtRwdLNmvF8VMpYJ/7SGT4+V6IZ0vVvxm0DOabVGb8+mP9wVM+MB60+IlULe+P4SRi5udy3uzMm1nZdAl3MEY1hMLC11dQmXy7xHNU9s3jj9IP3vxWpgARYosKgBh2LN3g/k3arlOuTPfoYkMevVuMbq0De9G3d4z68lR8MKqKGAwNYgsAg0XoZleRedrShEJTwud2O8+qBegQJ//sFUbaW5ZsLHOPt+eaqjsN5cAASSMz61BT8NnSvGBi1uJrYV9+rY68rVpQ1Cb7lqtoa7NaR36a2XMZpQth3ia5xnsi4D0vWWLpMWyVuWnzmIuoPrBAIpTYmp8jqBiBo24cu0ixhL3iHj+tmhu/Vxj9qKQVl2m/bDKgVCud3NFzncuXxb3R5M6L+teJB17M2+HgUrK2q6Q5aVXJwJYhxb2se59ysDx4DC+LnT+Cc82xFUfPLzfQEWxAW/TbheeTD8kwy7QLFnhqLuh20kXIhFYS9gz6xTTghAOTi0EHpQWiru3JXZLCMJqKzpjb533vuKs14ukHPhlOOVYjTMyDjAp7mW2T+arKRX1NMdxjtLd6vjgHAJTAwwUTBIwuGvR9pUFNZKNCq+MnH34nqKUHJuE9Dti0mCUPsj7YOYJDUdbJtm/e7vEDwDnnV/TEtoBo1SZWjfKBlRGTiVqkgpfjHjYxYIhZvMMCzdQQ/Oe2qYcBJ8GoE3pHqPNDNpD9bWxHhRdsN5psBxMD0bxkCU/1F5sKm7cF8UJ/8YvAN+ta9VkUWA8xYAlbZ9mZnAcTWJ7+erc4K7Bt1K8GjAM0KdHvFXxaRHAoLWX+swRVzIobYqGRjKavnOb22DeYdeYXktiVGbGyknvWx3l2OPxmA/neo8xBFv56xwruFxt3TQ6bm7FBQcb2TXAaPDWKZlYjM0d807nkGNiB0igd2pKoTqpwH5YajwqEgvetmSmb7x4aFJ1sLDOIHIP/J6fkMVANsXncGfyglgIo0UD6CCJwItyHlq4eG0qC+amyTpudlDV9ueAILufFup/kA4QOkZVQGuxna8joKmarLD2ilKSiGvVRAOzHvki704Bgu4goOgjF4q6nj1Sm5TEhkk+oCoYR/NeQKI8IFk/r268n/8xztbpq6okn5+o5XA2aSJAcVI1NwrzWspGmtxBr6Wl9m7EFyEvC+INjYMEjcLCma3ooCjRoGi3twt5SipEpvIeKaCMYWNr26w8P0J+LUXWsehBYRXidoPFuh4XIcdZ7r5OTYvbbiPOC5W19oTQzu2h2bHejeNfpB7oAtBNYFiHbgmjBZ5HhtOZoRCt4CcZAuFTUQYuvn66YWF2GzTbtxxlnvBx7JkvUKU81puReZmP66X2tm28SPPlr62qoG7BXXHEuD236HVCN8H9DrLKlFUiNJAN/pcfiuoveaw+oxIXPvsKmhj+pQ/wrShHPRh9gUmUWQK3tGoxbjvZbmNiweNN59LGstUSJ4D0+PrIBhwRR4mRix8+3xPSM7mylNedtb+mVaRW/34iJ7IegcThDS6gnvgy/RpRGYk1FAYOn147HSWngyCnaT0YljsEr+1RZobwn8QkZot/bM5QYdwJlEVDE4WvRjrmXL9Lhmo9XfrqGslFaSkGq2p7Tnmp7NbnhlTS57B+1NgBDjgfm6CzKmnwwxYM05QQN4Fdqmox3qfnk8C3avQSJBQySt1atWFHK44xlH9BNTZtYA63xBBuoNGl8/bcCIG5NvxJpwLwVgm2oz4U96YeQyTF832XAhIUleB4VyG146iHs2Bamq9YMaRDd4gMGVXHackEVtY3wFor4G00xPH1w3o3aEgEVE44P5BHwNQwDC9btM5j0CDLYXNlq1YQT2KiYiqym7vfJJRnkFtxhbs+pIfL81nFNNTY/yddovmRdiGZq1U+lppqf54OGxwEUaWBCallIKNEbzkQA1rBG5ecHYq2x0ai4p2FrY3YhFACzYmlLYeRSUkSOxKFK+NFNyZQ2ZecgxddrOGsViJ2Y8AbgPTpyFx1l8HFJ7Cmns2ZiidK9UXc8yukdnXfVPqrzlDfDdCmYOCQlUD1qeESQy1kKy3hrN+ClxZ4d4M/Xg4PJdyyVrHZp+Gml62heR+TXk+gcVZaBELptMoPxP5vWBbwNhxwVmK+Iyl4roLdgyuf7wwpjQmYfiRnWPYPiJS3caLX3Rkwci1MbXo11qCCtBvXKNt0R8RWtec7u9ohc50cpuGCJRUf1zulvHzAGKNeGR9/Pnsb5TLeRz+9ZrX40wxHgnhQtZrdgD+F2WxJzdnmN8DYdQgg50PNL1Z4ZnT93ksvbtEgHd53H1F4KYqiRNpREiP1aZUSYy/uUmNWirouuhRuvxncScsF393MmFM+SjqNsKbEolPNfG6d+uhbAMPb8J6JwLrlszCExNIFCpcs7v42C1/s9qLou1DSEmIg21CF8iNfxETFQp3N6xmAcvR69XqHSPEyUVL8xXlQub986AH4hmkh/pVTPvpRQte+P0izebuhWHcQy/66EH/jtMWqKrw3KKl5x6GrqgshovhT+y5lKkXTwLIHMjhsfgvWvygr2aOzvNh1DPd+5BHQplFPhFjQmzj3ClRE1IwQZUK+/dG+i6VRjzMryCG6Ofj3dd94463tyloFEaQ8QozCZjGzTgiQPLEBWqNUYtjA7LqjlLsNfo4m0P19/t7zXE1tINywByOjme7NyTLcCE6t6nYJTlEs2LRxGAwSfGQwsTCcrITiRJrLvqjHqIQdBgJBGALYHqnCDBR8DabTKWlUMBVK+Aio0LWgDErh1Cku8OeBzazRQgCR0ESBWTHahIDXcE07Dc3hzYlImt4/ADemJGp2vI/kUkmxhZ8NVQ1XNke2YYcaLUJPce5WFf+1aXA1VAOUAKbprE+WING+aAjfS8xk4JtU0PUIPRoBhG7n9FLqFFrrhI8xsm6egiEErtVIOgIr1P/JBSaUaG8HsuYZfAAkDhKq1mW7G6CdSNWH6K4aZpYvQsvqsXvDBm0iRbUcVJADv9Fuhyge+a5jGeu65FRNMKGLd42WMHMcqRv0DtH4DaX7YcTkQG1JywpT3E8vx3WhGoJ5BChTSfzaBWdQEroztFdnTWvirf0LTWiVwlNLyUq2M7IMefuyvKMojnJuOrJmpMElvBEVQWBYndEo3LT+xnS08ZSg21ntoBy+u/eMpnDTJUSr1SWE9Ev/yNpZFWA244V61ciu9JbJ7li2cBHMAj2yfTPPYtAy3y+938sh0QFJf2yQpPrRJ/oIjsh/ENs3HzjVSdL6ugN5tvkVmBu1BlO8Y4hiKqKeJ2CQQjGM3OqYevpIGsmvANQ8VbirfFiOLv1RRi2bTA/9zVfJ/qacaKMR9IvcTPTmRGx19Ko4gB9Ig1TGw8jEmniroJyk0h/LcKQUAo8bNodJc1Qv/QOYfYfbIYg+xxYnAu7JAsbwqbfxZKgFg8ke7/3Q2k/P1xSJf3uMUSXhAI+HPoX1KlcrCJyvTTCISXSmgKaTbnXurP7yklvrNW1a4DQQn2XdQfwc/0FtCgeCLA5dbPPtVdVrTiia8TgMT5qERC+h/S/y3LanCCdglRBP1/VmLad5VFVlRbK/ME+KxCNr1BwpOJMGL6f4Lae2vnorK2zzjGHQKjpgQ5teJih2riG6o9Sr+FgQjtEdMo+QZ6n7fWSD/HnwwBTlm8N2H/FAuexsQEi5z2dlZHNtMQZQP4mW1PwV+okbdXoKa/FWD9nBlgN4VV+cEay4isjJd25pkmNGeSk363/yIF0Xx0JeubqBSeKdRRS/Fi6JlpxRUnmmvzpyU1qPzbX2tseFY/Z5DYvIbLxlB5DADtnbnIjQonc34YIZ7ynONswRuUz2MVHK6Mw6iintmsfOdHlnxHol/rZbDi7+oEV2zyDHlMtOjHkZdlXczUtGmFarpEI5BVcUWe3aXdSd+0mVPJhXmtI97sKRIahfqYaGJxjAMhaNvTfjrO9SyUKxE2NS3VTHiLHxHwfo6UIzz7rzdYceJjj4MLkagXxLnO2Lw6NjnEKs75ndS8v3wf+V36K5fpe+mXqhAExU1D7amCfOIKVai33XT9/6f4+ZlY5FTNRLxMs9AisPh7cfBNckPUvk5aBg2TE56S2AzfW/sdnvM1T+LORCE8wgJaem6hzjEjK7xtRJTSdK4zEl6LiwN/kNdkg2eiYQLs5j+G0M2wNE2NIXsG84qHdM6rTe1FrTETqQVWfBi0nCJo03kXYxO0Wq83tcKIO75adUP56641Mws1pgn/m9tAF/liDG7yRn1tPeu206YiWzUKiRN6n2/g8RJhOHrH/BCZ2Ym02uaDwfpwXRPfjAz8rvZ1NiGRN5xR507Ni8lxw2rOT+HzQiLt2grnX7ZHVCyXS6J+4CK8oIlLWH5GGiyjwsa/XHeV/M3tfnn8AawFExNTG+oRs+BIdXvJRuxs248dzt6Z+206mYXTN1DWUG1KvDlMa14bmhO3nNdLN/gecvo/H8Qsa38jbyV5UnYzaWYogvaF0CAHCFAF4acPWAvKiVepJ34xOnQ0mJZPddNRwdtFVX/2F/gcg4PtwhRcbd+OX9LaXXzLfndFTuq8Q==">
            <a:extLst>
              <a:ext uri="{FF2B5EF4-FFF2-40B4-BE49-F238E27FC236}">
                <a16:creationId xmlns:a16="http://schemas.microsoft.com/office/drawing/2014/main" id="{7520D0BA-D7C8-413D-8142-2EF67DFDD6A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493329" y="1242222"/>
            <a:ext cx="4917915" cy="2318395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5" name="Retângulo 2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7nvw7JhhGwFUkCqbvesIOHjgmLaKmnVLZtLClgjTuCqicU+unyF0oyn13YiNKuCqKYwdSxy6yGgDE9cX/NNjQDuPen6RJS3Yqav59yBBDArEr4pb0+UhlNirsmnnni+/YDlFHE5GtugvXa5f7DzpjJjswS52FzwqsTgG9uq+a7SalrUnRcEsX46Q8keST0EmWnukP33RizYGuuPWzcqj6b5vbpMHEhNOzHCUw96cZSSzJ3fodsizaVapr/pJ1GmHefsql+8QMsXj7JZ7pligp8oTaPFhpt4VkWYRys3wmuFfhVSisAWLB8T4JC4kIIf5idpK6OVa8fmQ+h7T1LPLMyrn5GLy8YFamqC3fq/kwS1cp+rZVgkd/6+XxyymeLjE6ATIOVuQE+N7SBG0ZIFxq57EaAc3+W8jKDPO0cMFFoW9rHsZIH8usoSY752Xv1D+3rqb54FUeBLwCgM9ptDll+JZzREvAI0b+aVeN3EOwv4Yt3NEmnGjfULITeVVmNlFMnsW1WcbTX3w57F8rWVKZTyvMfEeIerM86q6WRD9zma9pV1y8aybcdStf4cgOHFWMEf4+vAiHA5ND9JHLnfqFeswyTdCJD/HV+lGsO5XPkKKZGZxikao9JEfCIyo4pBGm3IjsOdOvXd56urZjD5gwYzS0vzmKRDmYSt+Xn20CJ56CFUOO9yTd10E3DsqyfTH+XJ7goWVHLVDjz3/W4yc/dHGKRhJBhRd1yHZXB6K8Wn/FxpDtJB+NObdM8j+k3x5/McFt4FcxXtLgZxVTbavDJZQHkxUnZ2HvAL5EmW9NY/0yhh2mddQ3lTnwiK2EsDIwdmqNEh+tTryafvL1grH4HNO4uKw606WcfKf+pibzFyrTuE+TgOfyAbJuvCmTW7nGx71fY/JsLTE3ckzr4sCw3hnqt6yC97tBsh8PX6iboA1pfUDRdzGN1zCEYBFq+IT5cy1zQndkr64vNhTtpEopk+D+5wYGOjcLjHiWjMZZzlsE0R8SqmvXsTpbqdAMnXxZUkX8+ik3sJTdOVKJmE+0mpJlXGraHw9tgZKVoh9TbjDKowDQz7FiKkIIO6VxETQ86K0zacBOtXgQrwVwvWaIi7DxqsxyhNzT/up2yHJ4YcVNAltp3UTh0S7xyTEAnu2930hsacrGviDiN3s5h0AaG/rWog3xjQjzdExTlXKCBK34tB1nQ0Pql1zUUpKOmJc3u2Yh4fw64Jj3qihWTrCs8OFn8bRWDUIo6WIpLV6/Z4MqEULpK34hQkYHAO0aCbqczOCNW8E2hBCB0VZhDUUg/5HabfIfNE/2GQo46UQG43uYMaqsSjJVW0k+jtrq4SKpnxHEqQ7yJJzjTkLpGuptBSKpRAT5nY2XbEsg27fAXeHU2mn4AHc4Xda0bUhlI6gx2MYq6T7/K/tq497lTwFmiOZiR1EBbZZ/KZzuiBr1R5czc4Zvyznm2c0WNYM7W0zXXy6vnnscGwEWA1l9AyULdOV/JmYGel++5zTIQogIp2Qr7AzsQ0TEiBkv5ng8Nuh5EQwArxpnyIjwDh16a2vR7hKWjdypOU5VwsPQhgSYs/YpTyk0k7EAuILKbYez2+k5Eo/FWzfvYT8YXWiDAAV6YvM3GcBwQWln/pUeORPiGDxUOfqsoP+qHr6LCigF6E/o7BU3Q5vD7FZEWaB03TBNFrtoYu9fMpROBM6czfoPczzvmv9pXgb/7aLd/OQdTE29P/gCUWG37o7FVz8acNsGQe7tOeqeNXpvRTXjGlFJJft9+clOyPYyNeSsP/cMY/m4p8jdgQUULERtSigH/EYUBwaBOy1Ax0dX62goUGtbJCy0HkQUhiLf2RN9avepMMvVbakGwcSHJBgEP2gnE3M8O2HKgl5oJy3HthNPs5GlzwTvFgXaUthLQz6IUde5YKF0XKnTK3vmh8mc3h9GuAFh1/pG1UQ3dmlx/a7P98gEgVdG+IFOEPPZjNScByLBFPCf2IzqqnPbh5xRZHghWPWXxJAKKS/abw904nS3/4h0VaoiRiflUKTVPBSTQEJGMXdV5s21Rxz8NeKPDdaTSZHacycZfH0bfp7OOwsAGN2Y2PtP06mRnf/QUu9VPgPo1f92OEmICGjnJY/q/NVqTS/H0DVC4Dr9t+yC1qewacmGgx/7WlDNXTp284kWCB6vzxqqCbXmMHoPHI1oIkQiILIRQknTW/yK4mbdkQK02dvntV7JUeXmzk9h4IH4s8ws6GkrEwZodSxU5n4Srgrad8IF69pSW+n8pQoejqgSCz1SKfsNzJDUvCUhpoiSQetBhXDURA7C6t5DRPZ2oEA4+gNCoVWZKL1Vr12IH7RUQ4h2DTv6ZAa4MtWSW7jANCWzGsXrsfLScGnq01rfPnDz6mkeZnNbORp74bX8mVn8px1mjdVAtlnDizJX/qHFuBB+lsvCjxMl15skl7B+IeovFCIFyTE/nwDKOSWPyTpkppVofVJKXWw908e5L//nxG1jizHju6NvgMT2WNgzCuzxmY8mtH7T5T9pBU62DohfuaRMsZsOEtPPYppHseNxuITIZsuPouUUwiuEsVVc3okO/BD52MsMKPmyziXboL9wTT5VD62wiyYRjLuICzw/G14tLQkcBU2dkLT/8di6jCQGI8RRdZlR+AHSSObwMB+65AdKbQ6BJCVb7Em4hVwhiflAd95hhQBlExxxhu4c4nXII9DhkaBFsr7AJOhzUEp0ty9Tn8WRkZtW9t+yxfAeBhGSwUKQ9sU5AGqeP7275B4x4Yl3XDH3KER3oyDJcjD/JRU/2Rb5BjflesABsnnFs6Tiq4Dc04tKzWQ+9iGH3XyE5/DplKDotZmYcIsVDVHD9tokZiC4djzY8Dfjw5il24jHemh5nzLLBlXDwPhw5agvdQRgwPB0Olx4lsbQ4c7ciSK7xBBFJ+JyiDEODjFwx2bC71MdE+/SdVL/kap1i0hfmF2f5y7sOpoF4QFqHI9WtKxhlcDy6WfxWKY3g2wMjcpTNHYoMGim6xgihbCgeoX5W1cZqQ/m1rQf2iMxD9myt79CjhtSsijZOVcGwlUeUggwmU549tcK4DDwFtuJYjq5pe6BqdUA45XjxP9Toi5Hgo6swUnWQnjk3k6/fjm9Q24ykBH8cUQhduIZMJ2P3+63MwDjeNdibB3n0G1r1ZYAGU6/2dABVaqZBqQM82eRugXsIK0gSWiDAE60es+RUY4mtr08ulMUlKzq+AGx2mJsM0J4CStBeiRSbtEp+cgFwOjgWAh45iYnXKIDSznDzWixtsEW0pds+Z4jKMJJCUILkLfCdIaetRCMrXABqyVNAAv50F9c+dKsHf206kIjvVQpb+WgPzYFeGPCVc8G2sHQ1Cx5trrlG4tKjPqONaxheo53f9JEbml1ure/wPME8ASJBznw3GTWUddI8tSn5AXHuLvhMKKJ+BdNb2n/1DeZzDwHMe/UtAi5GDQKSMM+rX2fwWAuJIaw/61GaVAQR8Es0U+q2+ycqN04ArMXcTNUcst0q3bqbnppmPd7rxqs3vU5blVn8vNYWMMIEjGLHew1/CURey7yVqQdl3ZeRbjkN/oT2C778ZeWLqwh8FJplcqFV2cFuO84CrxqO6wrAvONzTciN1rj9GkMAs2Z0hg1w3vs02T7Zm2g6zFtmSE4abihlD6NTdzaEe5HXx0vU80VF1k14153Rv53LYmllG3+H9Ia61YY9wr9qEbD0HjZYM8MYn8yijRnS2FHBNVFLte57wfNMfAIucNJ0IH+no+lwQPD/KYnG0YCG3WcezcijlUS8IL+Br9GYsxGpKdXJaDxbFYIb4Xkg5dudEalQpx61ZBsgUp8GV7T2gkIhhzizssmdQBVPPw7z6LX8fRu9jtbV6yCDYa0WWK2EnwC6RP8eld9kddeX2TLxUJS9HD9CvZh58p/mUp2Pl/zJV6eZ9nL6OYKOS0FvNefM3rb2dc2FQN3ZVmsvxfJKT3QqX7uaNvCR1SioNHzBebV9YMzZgPiY9pYbd4xlyBXZlmerMM3Zsslr/Huhyrw7ZI7eOCVWTRuBpr35tp5K1fv+oSxoFfxJCfdnBTZHpk0hC3qvi5egqlXf2my2iWL0fop24NXYwO7rtXEDegXmhiaBe749ynerVxIpJ1fC5jvtYWP2zvwM8pAvAevgBUAEoFm9aOx7FON+dBwVApgKxFuTiVJdk3i5wptjktQ1tRCAIT8CkBxzeOSA4y8nAkgPnGXio6MF2VaMme1Rark9lmIOIoPmujXKGp/ofFDwV+0xCUKSsXx3+gRtsm6FBA/4yvwjDO1E6fE+A9AeUG3kvZyw0thczTzDIm9JrwaI/+WZXK/MxqH4imnokQYlARkbCY0Y7/yLYd6ZIKiPFAVXNfO9U3QFNEa9pl18zHQrOdBr/9K7f+YEwAACM1QKgH2k9WgDJepxtfhj5tTT5iEgOGb8x49SmaaLuCDUdlDNiI2VeYQ0V93/T6efCrQnofr9zapuvg2mZwOUINZgEC30ftSZRdyoWpqzdC45TxFxxdAQiVWLXZE1gVrjWof6DGFXGQhsMFh7LEHjWttDw3YBV86dkZNuzrW5KqnIp7iHmbOhzZ+yYNP5u1wFRNj+o5joCGM++L/lylwFfZGc15q8jAV1NNsy2Y8HBtoyNHisXARmfLNORDjRs1mSpDQrByekWiXy0dv/T3YEDDqGnBuKfBwrFmcyfGfhNztKFYmjlw/qQREf0AbXhi4qn+zxtaxUeYeJp4yoWW59gSG2DuaMH+0FxENo34VrT14WaeVaeEtWRbY0Lx4+rPSBMQH035inTAOx8meBbakPmkKhqxRmhe3nFNxSOUmvLmd96AAZdg8EEdMpTz1M0KwbRy6rIen4UFX1VN7EGIK6tD3BgNMles7BW+X9CH/XxODHpvCGhXWafNic1Rlnw3xm4a+ykfpU5Gwq2QwyWFsVtyk0RueEgeErQCmrZBW6WYqVfSu9b4DDq2/hDcHkcXs+G+2nN1AmkOsec52M32l6Dm6Pkm6QMgWRyUDi0q9ggIpSZo2SRNEf8FWZ2Rb0kB6P68um5OP3ZPPFzctg3VX+kRO8nFloIe7fQnVjUue2rHRZD27QEXOC2fgEl3y+JhE/XxrCuRxLQPtPt1/lVGfb9r1G8zj1nFNjuWB4Upk0mgQ4mal0SJiNuv/WHZrU/hbbRopY5eV0PyHBlZwoBzyRGn7XbuFDJYhlCKThCkxh1lVGa3JSODJXYzt+cLjrgUTltuiX2sN938azqJkUX5wMU6jEML6SdHS91zZ/RItZCWujwhUpnoWJ/0d4S9Lwevl3bPaw716ke+/XNSPL7PxSJXCG4xjvJy/V1XUUjgTdv/nP9awTjmhD0O/Rpo4OLhXsmCdspVo3OHyavhzUTfh+iH2OfA9YYBH+7mvajP6LF8n+oT0gPUXJT1eRJxSjt/TXLdqdPUT/k7XTpi+1A+N7hvx6NU0wbhQYYL8ueIV5xzLqs4D4TOOTnuA4H7Rz7/u8HVuxDvIqdCMtvHDSExGFcl4vyfHnU8hl0NIEqImKqoBet8khxX7PNsta/GQAZputnsr9OcnW9xkClAAmU5TXjD0VbtDf4q/T8EB2z1TL2fZ0Nxq2alHChVALM6smWaSKTrCRZFjw/XrMU5G3eDzEwImEja08LIKH2h3A7SQEH/Qf+SyJEh9nCd36ANqFWbo+J7+uN7x9xH5+63f+YakPCMslJrsSqysBubTKRJ7uVpVqdxJtjD2GKsziNR/yhB+mlEVRpHeSeUMI6ikKHfx9y7yBGMzrLdNx/tnhnsusblAY+H4z1fT40vVvsMz5j66WDmb+Ff6sGaeYmVkQjShMB+02CKAmpqjfXBPjJ2/Zmn0MP5+xuWwKyVGZwV9hSlDvjXO3m/v0V/1cMPI5JgFhGB7Sa6XI9FHspZmA6HTVlJeb2y9N/bxAVd8b2ZBsmjnB5AgRfOvKbNM8qXDHZJWr4OLdxk5wOyLDJEnebhup+sg+AYQRQmFPxSHSxTqaeDrs9GlVQHw5HHftytbhVD6FZZOrjPLWrzLSmYUsXtmx1URmOYPga3zVSaRby+75pNH8j5hMXlArWU7A3oWysQuJx8Ykp71KQOhkfk7ZlAN4W9FpR3jLudUWc+JpADGZo2Rg69cjJWfpDP1braae11smi2VqY+f7mfVIBNKdJb8SbdSc2tq7RN5ROYSXS4G8s1Bw6s2O4SswYw/fWt5Nic9QncrN7zxi7rP5m6ut7ERGjSMBqb7c7KouEUSk9hhxx7K09hFskDkdLE1vxBZP1+PSy78m3Gy7SvBuPpqAN9kFWlmqhn0wOW2Kc59wY2WOw71PQxvlNV/3FWPZmYebdLRutTzvHBLw+ziovlRoSpPDLvSHn06O2H/7e0LrrLMF6SGVWMvncjLPGCu/iJHTqAqxapCfJMsT8bpdlRIxYfVaWgfChrmxvc3cJpb8DElzK+Znifwf4P9Kw/1qrV5t4RMGI1V0axkKCjXX3ndcpJ8vIyALfAOs+cyCAJJHlug15xMADhrZETU9M+nqZrJD8f+aGjgDzou60SgLGA/p+DD44twisRzKZ5VE4Mri+3J1BhBeL+otsO4/uyeipcW+bemlmm1HYF/ZFwyF6UmRdAgmgpgKay2cDQ/Tz5kUt+OOGOAA3Ii+MNmeMg4IPJey5OjwGToYS6jFOs/KZhzMWeYz7O+bxvSdohaaNbPmN4hhQoE2pLJ2+GX/J73HCwNYl8hpfA7B5t5DXPDxC7Jr795/gyhuEzMtKG//omAZdIFOjC7V19sbPeEfwktP6SCT5cC05zgiQGOB5tkYiJ5yj+0Zkf0dVURXlh7BPTbDMq6Ow6LBHkSR9FaEYRjFpCB+tK+to4/DPcDx+ZoX2kqQWc4CUCB576owfViy5pCS3VRQ67ULckXLhwrCF2tbmgxnO+7gxPuvHXWrS4WYy77rHgztgspDuVcYNvvQ+0rTJfspKP8kjxeT5zaEcGVGfuvOCS4UwrBUfhrkqLxhud82vJSUlF9PgjahaqTCvDh53QVbyFsKqqIjzxTvSDMDDqYw/42FWH8lPnG7DLgQj0jovoUYJCOtZkq3rdmB6CURc2IoWiHdRduXAMTpBLoQZvU3mDB3Znv7IEW+9ZuGeH3M4qJgMYjhI8u8s6QW70QeT9T8AS96rzY7XZeujQPAMZduwGZiYddwPRZQAXKHx5KK59tr7CBg37iIhI7ud74H0q5rx+Tzm+ey5uGaTxa+OHygN10QXkli/Aup0vhuzc836uodPFzB/VmDLvi17LHoV1Rr/cfLo4SkvCxQXjEoLEOzQX9GT8w8mdh6ijDPfrDX2ixtAE+19CDYJsKiVV+UbVvVjosBUcklPniwB5Kmofw7JxU3d9fKuj4WTknksciBt7pVJ5ErjqcX/S6oxkWoEuYtLmQE73dJen+tp3tGA8oNNGbpIWh2/uP7JJq5NM0mVHOAcGkIM87uamNOseJ4AbyhODs9BGi2ODYg+ImxnJoaI2J1xihyQr7tXHpHcw8D9RtjBaIL2Sai4abemP/mpso1/GI9ix6Qhai/t3EbZmiZRYkLNKCF5E9DKA5x1x2/zXBMkQ+RpbiFNhm5sOVIaWxmoxw69HGZLmx/3tq2eozfCetmBc3d5FSlA1m7uo7PcIohCmyllLRSjQflCkeRgGORkfdLoJcaE2Kiu961M9FX6d0jNANuGph6ktMycrsGh0NiJhl2RMXlCpEmCOJhMBczVkf5wnDEclWgOdKJtetykjSX3sBzbSOu262X/TklzSIxRXFtbd5ENClGeo3C98XwdtyO7k2p0ujaF49OrX1OPPFxRqBkZmXxMVREcLB/esmch1zPCPLaVq/+HPF+pzCMueACpIBUFqU7zvYm3NTs3lKE/OFtb4uXgNsrfLpKrgJuktDpciIln0VGLOY27iNJec6nnj3JV3buApX50OimCQq4xZTO1O31vOVA/iM8STlCiTPwN7YLcklIo5e5MZ5xkAALaMXAtyITXoc5cJkS5QtMNGXMxHYzFk/zGKMm4GQ+5fjfvTj1om+oXo2qYtRYig1KYj7MjL1gK5yTo9l1oWlUhLFwLNRPOlrseLBpIWpYLcyLOudYH6cfiJwI0tKjCkZ+Chx3zbZ8C4A+/7wfWGnRmc99CUfeEo2CgKY3iDNVSzlc7B7U7pBJvKEz7Zb+4rgOh03DHUcFA2QYz3Gbjl2FopouEjWMPU9svcP+SV7m1wNFmip55MMuonjl93b6KxGSKVUHenF5J7XNNURZ4I5diZ1XsNq9VnHtoLZ08EXL7nbJSXE5BriVnrczhqU39QS01RIF7l6XD0b+COrMX9noHpUvCJTy/wLb33kD+16HAtj12hebDDk47OSyJSaqIqtInWfQLoMmesdT7/0avpEOcphJ0QifkHXzclN76C139AWP2kFbzTJx9X5VXfXmXJwgnSptiF4JixmcDuE1yxWukEqBtFE4UljGSdWtLHOj+qLnfEfYFvreKIYHzk9iu0rQCYsJnxIEvlAZltFQJdzJZapz2hUfG0T27rCW44/I0y8MCO3qJBAPHFwtY9eRjKCzsZrsYIk0IxAFVyM2AmjyMEVvC1ytNACV4L8s6QbO/sPVamifO/7weOhOYMdPBvVjEPfB5UCeUL91PpthyCojaTHWCrhiD3TZaY+z/GTHNh2Q3h9+YYeghNOOGQgOttsNicHiudmeeprtgnBaSezmYghW4aaqWTIo/28iRRjPEHzp21FnZsXBhLMtWAHE9QOJdXEStVqRr3XkMJAbnxje4i29MrhRMDff2CMZlJmAzsqzWJCkZylRPMM4cqTo0UwvIjK/L5/opBx9UVStMj6p2tX+RCGG81G2EXqxm1Czkrp2tcCs80VMrCyLbrViFAHIULW5cX3RReWOd8spSBe/OsYtKCKuQyATFsx3YPYHcqfqKnrmmKWFMB3HIjmp8w889J2yf+k/GlQ+qF3kcBxtxnH6yGL8buKPCDq1YkB9JgRpXJT3Ua9RD8tqQZu5buxU44hgVZke/R4VxUfb7ichJU5OADAbZx/YqtXneW4B9iYevuFSxcuz+NnTAwGd01RsxsC4Nh6UmGzOB+utnkfOuY9R+sOATURuqpN9Hvz1n13fyV6Jnfgd1mt08zk7VWnwxQj/12mI+O2HwxEC9WkGi53wdn7CtpCvykpD7a2rXQx69piFRWN42kUOLhLKcWksDcrQTe6WTJobX+XSRhLnJfr28TdFOGPAHJ/wK9y0mGaLjTHQhKFR6beaZP9sqqTIOgnkoRT3q2hyav9SprsFmf0RUNEloywLf0d+L4MDQ/zV+g4s2CnOE6mTorKCi8OXP+pdUel9KBBMhJd0YGrG+WmrCZSQSSmqbacs+8k3wAYYkGAMfVlAGOxSB17X1ukcjEAV5/mLt+zk3SwFh/VH84Psi3DaFJHYTGQtDcZPofIwu+WWsQnh1sLsIMqrwgHrGYB64GtrHOpjIXdGInFh4amCxWvnlzArE+asIrG1W+xvS1SeHyYTFeBRZ0EGnlkAE+7VsLnPzjna7fo2pyuY+F5gSPnhAYfOesJp/3mbwhk2qwwYWgmGKCU0+ZeK8mMeKaCQM7R0FaEco89Rdmx9iohBy7FH+QinwBi4gwXH6riuFt/7PTbwCVASgaZ2+RvJ2Eh0pqrGS0NSmTJB7eHD7sXx16emuzSXFY6rhJJvhWyjbaJJDqWTXmW8YK6zTfyYjmN9cPy5hLFlAQ5F1t/yXVHtpiFJxfQH1rY5A3InV/sAvz6AX76yqHD5c70vPLzXOnQaRpvgRjEtXbER1b1wRIoMfx9P9zvKkbxnwjLBP4lHpqqhqnTpy4vtErOctFgKP3SNGd36qaAM78uuyG8Rfr6Q3GzsywxfMz+paxxXFYq+SnBA2mZwkTVaMiPheEwY8PRQuHUHF2rHhHtxPZ/f1km1V+E043JIkDbZ1Smqs11+RjunTP61UFdXQy/X9ccSc60XpLnP6H1G65XehBXrQvGwMwzQrru8n090dDUFSw6xA4myaS+ER/UxLtevPdMp6pJN+LzxvuPrk+lWNVyEvLZBY66OknYlbU/maCNm2zlOqQgfQFVABYQ2ckucwReiQWz2JIcyDLW5undq+y/rl6q8yTF8vK0zoLcPKD16Kg83e83l7P8WnSLNj9J2Sc6s7gUbg08OYJiZ0qkKPCHJVb8B6ImuXkiFT2VRDqtDFoMx6zdJFQd6OpbAextX3Eb9hkbiH5CtXYWUtNwgMAi069v5VUFFAG711OPSF+Ycsn6vN+r8gdLLpJ5Uqm/M+cdnMcNWsA6eUcRts0ww8MKBtAN9vCElCHOm8sG7a16xRFxE4313qcyGQMU9rQQ/DWkX6ov5nkvbQwmrQBBfqTl5fElu3gAHPePX+tTnCHABltjySTzm6U8s+UmlSM/mkaeirhAQQ6QfrMG+QJ523NrmQxUxoicHXG/SMwTSpqTQaFAp8zw/CXIux2/MF1DklpRD1RNnDTNkzpkH5JC1VCI6YKALYNjv7CmhANam58tFi2bP/WUEJSco7tn+5m56xOnzHK10Me8jcn8gLg+lh/NBNQ+nIYL/wTyqTWWlrV0OIRBUvcOWXMu+LL0WmzdaoWmPX0iYuwgBwRb2ohSEeUQxG0jT5hjyNMQr9I1DAmQ57gYSKcsXfpsvMMYzugjxSN1vBaJlZDUlS3M4dHjrIr5aBGVhUFpxhPU4qvWBXvbpoZK3tTieHpv0Cp3ZIA26Iut0pA+594aeCdXOdysB2cmKMlYA1syFykwKfIYsNZ2LLyrm3HNeAu9m4KrPPuh5L/0pS9UNlOsmIGiRk6Hg6PjJewc1hcpey6w5GAE7eOWGaLzLyyA/MGXZYME+O1FLSF8UXs2Q+ZhYKwXZOc4nB6wJBbMqRKQTEYrcx7GW9vsedAs7oAjkuIi3rOeI4Jm24YoWxJjxDtS0W1rhWirCGm3CLpcAj3G4/hEYaPwqGj6lkqe82tEM5tUFxKJAL+N84FiK6JlIvpkNfgiVick8nhgNBYlqbzkBkyhmSrqUBrD/VomKjebcD4MkYUrCYj6HfCFIlDlwojR22Amq1N1PoflAboGmxI6mz2juCFTsmBEKNS9EdBN/GIXJm8na1aOCVCIjms1oaN4YkNGYC6HKyppC9BgyA/iPBO68nf+KQU+FCA2P4WVLDJmpl9YUCCL0uBGr1ZH2IsvQnu+89I3J/VNNeVGcP5pWv6E59seXBH5qJqQnlxJfrhbSi43uqeldDxyPgQun/5QzFQix1AiJ46eRXWM5bZ6aoeYZC+E/e/5gVAGpn61CcBuJnpo1Z2+Vzm9PPEaJwlPkBm/5jrJ5nnpZKrTbvfPVYd2+N+Bpdxy02RRjMeemmcfqPcSWdLGOLBet7uyhej2OcNuSX0kbEcQaZUGie/v6FXRfbWIDKm4wTY5ID1yKaMxYr/E3tR+B1cg/Yu26BMm7lKCoWsrRa7yqQW1+RotY+V1eO3lC93rF436xppa7SLO6LIpe72naPY5bmRAm41eSZLLto6OiT3pl8SUeVnuP2BZN8//Q3FAtxXK70Y1ZJJAq75Lq2XPvbDqtBlgqrfVs5h1RoLZaZh9ZtKD+TDJvAnsBt+ocrbV6CBH1qGuTCYpk1eQNL5iYRfx7tJ8Q0Z375BmcqTqSVow1XBUofE8xAUgl1VI0EGNtcb07RqeGT5xjXYn3ln1sYfcbokP2BUbipJ+B7crZb3Uy4/Jaum86Xy5GqlAsh+Lq9h8FgvTee5ujk112kmSbRq/vx1rMj9UyH2A6aODa4fNN+D2Lqnn6snoyKK25COqYjAnmrvuQCaSyXLZGSMZglxOsX8IWYdKbhJJSO7MuPVOU9mIeozZpMkmWDr/ER8GPPyaHSOvMZux6A5opkdEU1X5Y3GzPtsG7HcZWHPHLBXwtwH+zWUBruBHgEsI534JO/eo5gTlx3/n0Qwmfb20mOpo52Ssw56mDNhK6mTR6aWXg/RjrTgom4cXbkFWrx1ffUMTm3373H2Vl5hELvUKg/RawLuuYJO/GgS7kmtte7vkeutbgh7q0P8LkIqWapEp5i72RV34Hy+ZT0vPT/slvveiTF6L7AD6lo5/IwDw+ArkcTlZQOdDeg5OEKPcwtW7LKvcVHUnE20jFra7UDAJxRulzyvM+UYAZmJ0TDr/S5B1hzSJ04vH3M36+IuT4SCGXKgtyVLjXJdSznc3E8NPMjExOksynV91CjGgiNsUDMX3M5ukxlo8ZwU+JqZ6UZrZLwMW5BQqQU+fgfHhNtmVcFu20vP6sx9N5Gw0CliXlvoUsL/M5GzTzQvJtANgbVlNyy0PAH0bC0wFf9Y00rLZKghpql+k0MDPapXz/yBEaNoH/rvGXKQVtWxIPtzfmtWJeVqxtrvfsr92mSXxpRNsG6rl4pQKAcAjnD0Nh/0eyb07/DdqXZ6f8ljU0WQkEVZfCQ5CXSz3NDMH5QQdKgxQftyOuqmNVBxN81xXJ70oW/c0OM50WNDhV1uCPeH8520EZrNHbbiOYEv0Wz13YhA09ihaDzVd3J7foZvBWkYhgN9TzsbOWsGf9NB666tyKxgw7IqpILCgj16JmuJoL6mOvtfNCe85b9jO+CmB878+pStlR8Jof4InQnrBSfgMbFjZSCEHZa5xbzn0/vMH8y90jBrmSTNHoM5xN0qQBLbJ/f5GAKFWMcJgGbULGDXQ/VNUTwOXMgr3N0cUcVwhuPtbGRNey95JZlB1OetqCvExrcKUGv5g1qTzUz+WakedSQpISXx/mb7+5F3vNa/MLW2/xGd+1y84bAjkQKpLbC//NZDHlraGPeNh6lqtSN0staZ/5FKhwqpk0WpWNJxIPf0N1s6jrtxlO9/E6glBZZwr1pgExT88VjJmvUIpNbjdkoOpXQXvSO9LAYJHrIXIPOk6Kbewblsrtn1MXfYXLeROZpAwdAetObcGrrfoaVdIK1pEsAK+eCE5IEZ6I4LbPl4u91GVk5zyj5Bs6hF7o5Uwlg/RPZ6lRBsRQV54+YPBLYtNXd+Pd4qG3Jc6nP1oyngzprM8B5Zto1vuWfstDQ2624MgUkuDvKvWEvOgyhSfjsyG2tYC/lzZbgGW6BBDdnn64QgYBM/qVteuM9sdY19hcYz/VaeNA2sY9j6tfrczTBzZsrhWnvxaMWoHSsgZgQsUk5aolYGdq0/ZC0B01zNITvw9o5bp50bXL70OFySV6kFvB8K6/oH0MITg4Aae/4hJfjHYHeMiyvwFaSNrg8LWWUaFZHZI2lMaDB3Is0ChQ/yHZ4BbU9NzO/EIhM5Gb3DXQGJP+P67A3krViAYdVFqHsmy4yDTx/lSv8WwyRy8UdsCpl1XZ9l90CCHsFZAhQuQsLvwy4A3ewU+bRRfOffw893tKmse8bx5/VQqxqrDBz3FJ7JAAhXlLTMM7qMd8o3A6GV6ft58wz02dwZi7eiy04D0DPEYPUjT5Mzj90A/lYQp1xQLHO70F0UhlIXFfCG+BAwg03yZ5kUM2aSiKSvE84sS/u0MwLPZcmv+b/TSmBm0slT6FZqFvAdrCXxBiXBd5AdTrV+mPBdflkip4+ON59qgQIaU4OmtspSVJLhxl8pgCw48OVarFl19r5ouqJVGXd05EI/LuTDOj5awFMRf6YME5ocqXIRu1EYwWKLq0PjoVOxi73JN/741jdo+BllhW1nlf0CzIHfS+cOxjHPEBb1H1bSnJUK5vSNvSgh0xlYISQjRQ5kXjyzrfmMTDOBJReL2QVAkJ2PX62dWjPYERnJn9kJpUl6L+P9vG+qBnhdvjlv5entUSJTFbrbKcuiH8CgEnc1aom54TzcMTn9WlzvXRIv4lkVOgu1vzZuunGyNaNzJZgMq5dT5DeLee30Mw7EQpIiX5lX8oXJhSo+5iBz5a2ENBF1LTVvowo/bZoSL1pTA+Yoe55Pu+pxRRtOxAvKynSsBtxhYY80LPdiCZDFsyGcY6rxgOAHCW9nU1hLp8w0uJxi++pX2T1Y76jY8p6CzhQk61gl2PiDUT2EJILLptIKVV/LAywZbffrOJh1XYSk4EGnNlQnj2Yt5x44Y8H5ZvDWSco+d+dwt22Pfs1bS6H3pUJT9I1XIgmZJxPyZhpm9LzWw73yxxxrsDBI653WWfc8+wxElHtiQ4Jd1DBlDKTydm3KePnqS4QRPHs5wuZW1GU7ho1xn7XEt5TFyyDG5E2Izw3MCiu/dfnzHM49oNPhBe+DnO/4Iq2FhFtvTt7QK2hk35ddvvBTdhTsNZmaFWqH2hdlf7unpsAHr72If5Pq9+AtSZhQaJystpnIecX0tyT6PsH5D1G/SEy8KSFrnb9dsOZh5fCQqlk+yyWlzKMfeJlUyPKD/17OvEaY3xtGfSQVyAtUkWOp8FI7uzEGsVTwyAPxhMvJTU9mI2A/3uNpbRi8me18a1v4m11pMvsanKb6b4/vVLaf7ASzZKX1g1I62Pny6t1r+P/BpsSsJ6y4kjzZIWJ+CfbrzimeDZdj8TuaraQidFqqNoNUhtPmdYTT5fAcXpZfq7NRuM+XGEGIMhW4i8rQ5KO4jfgnoZDkD19VWYony09aMvJ8E00lrdSrR2WmfI1oisPA1ERl90iGHrpOweKWw6kyBfpxbm7qnUNf/Bd7CMrMr0f5qKDNiRi501zSuzS6D1fte9ojeBxkhyoIGe9yzoSlQcad1lpJ6cfw+VTlkq1F5f2RPrbyLCXBtYg46zvJP1AkveViUseXovyxpAkLOKnijTob4b+R4fkjGx81SDggEmRE3nxaK6EvLfOJRM1QtT9oyIrosDijWRHMkl91XcSHUgiaQTx50++LhDlCTGnGQilkp7dqphAlWyX/3jnkVRm9oOz9M60ow1hHZ27fwGJuCEDvJGihNfkv6GAPRYUkhRel6HMz8sVEK5Fme/LXfWgmLkhRf7NtXQ25CJVVrCpW4neBjLifEX+E6yDtSN2nO9ApU+InqGjGDc09RJREvv8zr0L8XP6IrQpPYMvi6b/5m84KwWrdiPqwTuePbau/1rIpiPY+e80kV2XRKNWue27GxC+bjQCVU5oyhVNfrRGRNSkeyPGDYhOqht6pZEmKoqaLphw7COKzPOv8heQ5eBQg0tMOMxsVKG5HypMMAc7G+J3dsTMty7db/DW52ddVBN7MTArhJh3TOTFu87qy4jWJKU6Sgjno7hV8Z//ARWEYquVg8Z1c9Z3crn2cONxkm6nuFC5MEr4vyJIRk5ve0bIQ8WgbxP1AD0heRuvo4aXGpwfQ3ceV6CGWHjmOezDjBLDyFewZ0AXD3fsu9hPZfXFaFKaR4LIKQAXq1Zm9MzFTxZoIQK6dGi0/PGHWfRmMzGk7atIxJxDy6gOA7eOHJ27gVuq6jsebEPj9zhTRZrppM5ByD2cqYCAEFN+yte3ySURSphALyHKbcV03/MLj4gZqQlexZaPAtTEKdXSeTQ9iUJv5w6/iq0iJYPpVWxd8FU6ivrFA6sKarc65U9fR+nS2wQSaVQ3pC659utO4nVk5LdsyYYoPwPDznPdGhMOBsVUd50y4jkCLUckkUGN7A1mgujzcNV0Pkh2WvfKpR2E4CzZqfRHhrTaV3EC9d7Z5iSxUTTOcxuLYPXTPLGNADEOuzycEFvsCSZCoZPpkCfSiOksZfdFNaN5c6VSMkfRwlg5IBPrL4oUq17AER9TtDgseRxhBKBvFR91o09NHaRICcg/PJ09mF/d2D62NIqviMqiyMZ5/U+gyUPXPhghY8j8d36Pz2nKYwh2ldMzC9pAsMWKuGsd91i8pHLQtTTtlmOZk2qy/p0bRIQ+SYhHB5pQoQXmcfYuyJouEsviYbR6o2H/NwlmydwvPTk3YDX+uD60i44ggyQ5/er2H+fs1Jgsb7o9iwI0WYPgxMowqhWPNstLHqLXRIuIqSvoxFmJsEGztQg+aChJ+kqN0b2FGWpDD+Ui44nNzVI6oNigLQOc4v0TZjABOCx4u3FogWySpFSjJWGblPB9KhJhIJtYkE5B8eVbwMkEBlnF+0q1MFtRVDrNC+QWjAtMfGc9gkdBel917hFVxY1KsRoUJO6H0xXceVuZKCdYoo4q1EWMDBbFLaFmR/dkrPGJ1Ob5qQoiqCGX+EFMl9GrdaKcgyxAOSO/lInD86+QPN6S+eMuik78ekk4Voch7FtvJy+Pd/qF3sGFqVR3dSoGOswfodCosodL+n0Q6qiiZ7+YQY7P7x1vbhf4tmaTrZ4nHoo5rm5bW1nFna3mCfjZaHC7OrpwKlHCRkEjxjgy9WPNLGxemEMaPGZMfEklkwaaIxL23I56tI+GLqjqa9e/vXZieXWErhbSunqJIvybtwVnyA0qBqyNh6+XXXBYxpdeqwlWSVYg11Jfplmrl+iP968rOynUe5K6JGs84NPxAb0LyekXwZFJzrctgjR8B8shd+jasrPdjW3NuKaBuvLFLOyVh3THB3goMTCsgcqq60r8e7lXDoeWE8F7iYE56QjKaSZelGk+BWUVYWC9fHw7nV9F3vnWqtdgVN3t9Te+OBo82E3tWJBVxnWqWXHTQP9xAJyzQCen/EjkK90Aky74JZ5ZucKdK05kMjw0EIs6MW6xcoTaGS/CZDNTlIKYCJkQl4hmrwy5vOvZ34biTHAulxxy2bukUuSysDITfOLJ8qx6fjdIkF5xq//U8cC9XEDdkSJDxT9WeablxIUZfXGAP6GbjkT3Ka0bYYEWyrngHVlQ0CPczt/rHlndAUBCjjpTrnMEaUpHRkJ12tvoGzDKzdZhyuJWIULGye8cArYGis6nGsGyXvkotE0myX79mQH+5fdW23KNtrbVUu7ZGGmGNEdY9rK9tcQ9EQbOp/FFWVop8/tZ6y+4jUrqeWYpok8Do91WR4HCsZkKSYeTdgaodOv9fw72jzASwDuZm1dLLZsr4cVXMTRVBlTuv/4RUdZ3ZAKIxbgKo0hg8zsVDrVU1mPROwIrkvA8Wl9Nn6qRhmv77OLcdDxiFvs7ONar6k1FfNEhERnaVvGEnMSuf2TF4DWzTW8gM2+p4vgpwRITr/WLldqAq6sxRtew7de6Q/5/fdEaQOHRMjk0OndhpcMnqOS2sn6XPgRAxZXxYT1vFHynY63U6KepZBpwf5G/+TkRHGBul4yG5KTDrJw5G9UCfMe06tl24WG4Ykmf9IKcDgustXrr+/sjebZFje9RnFipqxJ2x9bM6/r2esQw3mMS3j7xh7/e4BqD1Zn3FRC4rBbSxxrMPQIkQUankyDLu2MuyhbcaWqYZVEMzVBvjE/RqKUFZLAI2c4hpp/8rw0b30wFxVKLzEHu2wBWcspbYlegxKN8IJaxvx3+EXFDnWMc4o5o58D+ci/FooVOPj6SZfYJIJskYdTpMljJAbqXAw/USBNBjGs9vO6YGMRs3L150VmV/Ec3Z1OsODtHZj1Dl2K1kt6Y3itZd0CjWVeX+2Ne5slZYCdZWEqrEZz8Qxw1icZfRbZWkH8XLHMAwemRofbuVd1pOnyvsTSiJQnctLkv3sPUpvO4AWArtOc0i1B6zIcrzRi+DkOYkJJBu0iPonhBWsyP/Z64sd2nRcZ4aoTfHK6B75kGtO/T5VDSHFDrjVo0+fuM2A58R5Ac3g5KulnmUy1Jr/B23q1pKpmtNHXdQaacfZlIuAmBAZpnI2f0ir19ouNv1k5EzDJSs+89PvJEvvPDYkp2Ds2x0TQE3la4jlE0RBMUzgq9ob0+nmDWuBP2cHLTBpwxVUNZAg8iDiP3PoEDiE/dpHvI/LSGXcwGKlZk4U/Her0ACDNn1kN/H+YH8sXYJ16/lQXZ8dhXPahn3srKFmWIHrF20n23V/pa7SRWYEj4aEh+pdhmRhhIAzhjHBpnw6SOSJ1ttbjs2vRKamFXrMKViq37Yg2mOPhiC8tNq7pxmILJ3TGsxvp1icpqsck1NPEg6Yx7yCybEu7UZuktjLTLwXLHRRCF/Cyjl9HYDUsyDKiBlqTMgd6veHbH/42kpiZSY6AeMkHaiU0IwRQ279egVMSW0iVD0nssNmlMyheS3ggrQBeHiWIhXYAnKhh/bTT+4VYN4R1lioObHPK6UFnlteaNPJVRBcJFuA1Wwi/YVxgkK98qA7ZLVcK+Lq2bfENtDQKNvUn7NOEu1wveBCo1kYLHLrr5ijYVNptxT25xBzOfElm9AZG2N54zmopuw4mAqAXWuh+qwAM9I1g78dYYPSvfAx/2TcqFc/+H6IgyUqI4sCrEZlJMnaRq1kwLb+PKgUWt9CAGtTjKl7R3BXHih+fBB+oeBGBXIxxrG++pIvZMfA/kSdpp7Hxgi4kicrbtADXSSlRONWT4RqvZcfMt49VdEZ4sYw34+NfqrZ2+QXryIhi4Zy39aWFgsHpibGVP2wlZHBgOEEDAFeXIcGxT4yUB/7Ek+4E/W1rCyM3gQT5qMDp5AVZAV5iYi6tKoUALVcEq1KXjS1AQYPyliODxc/DaTDOanbFepS8T0vKQpEQZuqVioHUG9YfUO9vUigni5iC1NiOrcV5nYh4z/JlFq8RHXYhbQLD2VM+df5321874LybMAkubfp6WdmmiCtw2yhX12FdAFwBMrERH1ozo7mY+Xa05xk+waJjX+0sCjdEU+hh0MimLS8osy7b17dqC2UxGpkifFPkDLgb5Jq970QZxZHS+YNvKUZ/pMRE62KrgfygcJYnglJwLw83zjXRTzKVkeiq+txkQeGy9R941lyQeqvXuisyTYmZDZvh63yWBDvwGvvfylVDARg2D9wXDbfdHnWVo8NQE6FSZG+j1C5sl1XHLsKGxpQDLU92HHNXhuKa58ybh6Lrdzh1gVN0oWNivPzAUwlQ2D2GlFSV/5UryQnUyzGPHqJlwaQIcY8+GWzUzbMkXYDfgGNM4iTGq1uWVnLnqKPh/qtlDgJlzBQSCsKztFcEY9kzdQOEZeeBw9RgIyntDV4C9lJDb7gOj8dep8609ED+owXeOZVWjA/h43qWBrLzsDmvL+jWUI9G0hfgrvY/NsAKfnFP/M1n4aiXsBOJ3rDsexMHiA5LUeQBFUqW2ee7MaJwx76aZ0iGKoLfufpY0MWSecoqIcwTDCvb5pk8K27B3Nsz8qM3jBifVxJjK+BN8+OUfc+Pseij9gnvbMTnoHD18jwz6BDiHjK181t42rZLgD+aR/gXky9mnqgUpHjNHDEbQmn8IQy0fuC32LQH+YUlB4gxoFvMMDqG41DD5Z/wWF68G/ciQJDak0vs0atL/kCtr9NHiWa3FG1lQRtOfnlQOzDuV7jXxRh2aAyjNRUaN4I/SygpGudWPeAEUYyqyShQ1arU3Z0G8kanSPBkWMp8dno/NuPxHnUVADyl8+4eBzIBVYop0M+XMZtqRwTBj2arqYGI1fduKqrNdydblLyJUMZyRUSmosKHjAM55Rg/oV4aR50J6KXgDCtsSKO9T5QWnAIOd6QF658K60aTU7Tczq3Ve+0u8RQ2+tSSnPM5qXcVwSibuMJWrThDirqRxIBiAerJQAa5FvxTiibOu8/6SYXKHgC64E2F12D/YHwLHvYf+lNB/BAN2cxx4jXy7d+EocsHaIdBz7Qm6yHmeNozs+fPtuKJcASc8OdJOJpkg2s+K4VH/ur2UtoVj+D1HhF9AuVyMsI73FctOPUc0r5+mpbx7elVJuQOyB8aBvHZtVFlIIHt3/XGCas/r2b3PzuooNyiH5lcrYmbJiXYvWllV/Joiurbq2YISzcUsGdFmEscLlAQpx1OX5IFDCM6LN/u5PdXCeHijN0bQSPpjLSva9PPpc4wcPKLGJBh7y4sEYJvlxfbi7Gwa3lQE5GNGdMaWe8qplC+jOxIJC0YQI0+gmgk+8vR/vSDofv7tXrePdQJoWnDpQdXqjOdwh6reoIMbXlUO10fG0xmGuDcFVCGji1BUNDJb3b976GbFNdt5TlbpmrQ7ZHJCmgZb+0k7KY4MBAKTnpQf9X+DklgLsbLZY1QH5fJJCFXimIKqwyjNjU9xLAZwmK9ksV5/qKMiYtSG00DDZuGznUrNVPgriJK2YqRickIUCGBgKATreu0sxQux2ZgL1s1J8G91tTFheMLMo/5ER7pX4gFWDz9iA3lTmhsJ43psajQttxT7Hg9h7uUxGJFllI98ohQ9VJo2eC65d9pyEGD2TPe9QBooLJ3V2jbQbgUrlciy5H42JABxGIeoyVmaYhgrParp9NPgwveZG0nPJu7ukVRd/jrakm1YnD2x7KqDDvkxlKwfT8eRM5Cm9yDeBQJ3dQx4EeRUfV/VXgKyghTjCVUWXAh7r0krvNKUtcyj1CNeVD2pZVWP/Wze+93Jj1Ta869Iq9zBWRDuDo6Gcj+J4kMEDX+etgHT//HdZBFwZ1UsxGLu65JcjGJMpaaNcBm49rlnyaNqUFVfEu51gBiSj4SrmC8F5+UsI/gynymHQ/H0gEqu3GQNev6BC2yNb04R4BErXoC+Fk0EtcXQo5V2cvF4cau+IRKskuhWP20s2KG99QA6GBmLtU3Va+Jqj7Q7/DMTA6LzM1nJ2g2LGcJ/A0EDTewfKMP9A7BMvn8P4fPhLgc+vmDDJQRandrwVRr5NeABvnxFEpqIF7vfstecGqjSZGYwZdZdLaZhMMCYFvyjEGn3YUnbVXfdgYU/rdYxxH9OXOIeh2LymaBcFqByP6c48KY3AmmtQI4H1rfU1EGcTFu5orJSqcwr3hj635sZ8GDBu4+NrEHpTwrPCRJ0GyjFDVTF5CZ2P99VlUS6YVm+8Sd8kXuYst0otUxYZfUbgfiXCkPZ4u4Y44CpPu3vR9qsINZVpwZpxA/CxpBe/E0PwQRVcQao91GN5cMapgSo0Au8h+KNZW1SZR8YjgATOrYONs3BDKq1qhqZzeU33N/CQYKBtgIcXTTdcI0DLlBrJvHOufRnHZ6eio69nQSporm/JrNdEHKHXl/3Gp5imfY1XXdZIeiQFf6Q6Oc10cmzQOECVTq9DsvQtSoIuQ9LKWx9jiglhtGV+/PFUPyuKt8kA1Ruqlgna6lSn+cIi80SDJFlFdQiZIg8IdW1itLwi2urEoeYiE0GvCA33LWt9pn4tmHeFCICR3SUN9j8VNUFecRBnr0E7Jtcr+WvN/Tk4tkjaU8f+vVexaq1DIrWIyPQlxMHL/4oA7Hm3DDJLBicBBUtHgjZkFPr0oJp0Ue9lwFBitr4Pw2SyoFaXO1rGnoMegIW9X8vkfLAFQW8nnaYaB0oWnLWCxn7N/Eh3UD6wYjtBQjknmSRF8bF4puCpfRS33/qvtF6a5k2LRE7nmO2xSnuLGC7MAg4yqs4lA4wBhsc3XqgWy5oqkAo8Fn3wmSVhtayyr/DL2KYGtnUs9FuUw8I4cLS8EGvquauILkr4maQE+42QVBOENxk89NdS6U7YlbioZg3upEGOi0tC634crEnHEXbw+6g+v2zjP9mkscCvoG0OsrFu+aswx7jMpGDWsN+osT01MdjSI25qhuswPZjtuL5m5oVylc1oZ3k40g1VjxWSvmFSPPvuktRcCPE8DSsbDkDc1gekilu44EtRxsWfKdm6Y31U6Fsdn9CWJggeLYHBxrPahCX40A8HfYq7Vm4QiwWamx3NSGBaCq6LCFylrzPihpfv4+qD3nMtST1Epnm95mSEBh7qjQLbV21J1tK5eqho/YsNJVw8fMgCFa2tPIe+HUMRjw0a4OtrNneBAhYF/DYFEF1o/RAcJQvfQYn7rs6kpLnTbvId3Ns0jQiIax2jfk5uvij5F5/XsWO3SZEKGOwo2vK4nCXv1aOOxnXSDlA2uhTQvqsxnU0WKBYqCiNVdEGdHJdVVFsRVhsLsnKWIjgQ0hzOL7+4ncv7rI+w9JHcCIm8r45XlYLBwo6oMzKxb+65y2P4AwihgL/ZataCmkMRBw/Y5p3nxBPiu10ZuJJSCVCUaWPifiXoWOdTFwN/8K4HF4eb4miRn0rrjAsTP1fPCXli+PQ3Qrgx+o7QDlQYHZxEND7EK+jFtfU3Cv3neluG/xCTfE9kJJfocO/ERHGnlFlnnVK6wZHRqxPLwvxGhIXYXYIM3cvK12jS9+IP7aqW/P+apg/NxljB7HwGb4vjtVLE1cWCHTDc9RDxuEvpz6uhgGDOXeQ6pRJ6eKNhmocLCKVPiXv9d0LKCIDUcOpGhTr1liJ/mg3MkSW1IqEkmB1weoPc1OH7IrD7Dy7Azz46a8s4E4/nNz8lzT93tqsRwFWwpQFI68KW5V8yjvfEHMVKeR54pfJqtwZYezalrPptvdq6tjcSmwQUL3X0QtCIipHw8+XSdhjGz2Ikc8KNkISKV6EZ0wIrc3ar4knqTZOBOYC5UI/570hljlfBQ6Bgrj+7cAjce8DlbRo/fronkXRGQZB4DJMrCNr3+RasVetrsHGnn/3G5KrJ591gr3vR00RHRj9+16FCJpwuQj2QGBJAdfh74gPCX+FS4/dm+yJH61fXHZjl51ACHIZc3zVf9asgqY3PrRsDxWj882e/YJd/JH+ROJdTFL4uoQi/63KIunZInYlk1LrE7zRRTpPUNo4XxQv4wDu+YKU3zOV1tgM7yYKf+Ld2v7clTW3l0u5/K3dOOBz1mHtQy2Pgy4AW1KpfWKzijp6fn8BwqVdxSDiUFl5EOrK67TdglNwwDvtcYte0GX+MOgV1108/6+bgEVIqEmF2zfd5pawvhhIdMynLVKmSxojergKS0EEyih3szNwdLbHwrej/hQYNd38FcGvnE8Kx1pdmOOW/Du2ozUWJnmcxDQBUniSHJjxaV6B6BUY9ZW56VJf7lkX3plvmu/M4n9xhdX4tYTT0G4Zib5PDOuPD6hC8inXz8+N7ih9GMzhWtOcS/zylZSsIZhiAWaCEMnx5EG+nNNL6z6i+tG93z6qbGgb52/E6ztrI2XDy3vXsAgkj3Kj2dBwF6bBEICvkajo43LZz9hlsJoOvgHF8+DVGmyDCcXG3UsIz9XRmv0Fu30zklYjXin0R/J9hLNan3IkUvSU9ZB25iFyGOvElX67n3DnCKKE1sA7Ub2Yaa6DjGFZfQKZnWnI59NTUN2lE04hv9k8Useej8luihzYLs+N/MaD4n0HZgdY23lrIgfgEb5J+N+RB6QVAGgxqhrL+Iuo9kjWe0FXQa5fgmUdmDAA2SUPVUpoZKtcp6eKN2al/mNU8jh2XzHBmHpyztE1mNTrojenwMXJI+MwPSPwsSbTlPe7TMX+0bQHIFkatUsSuIEuqZ4G6JKoQamyZSSBe8itvoCMhun9SDbSU+G61kYtnymJN7ts3eqp2hRNRGY350bEthkPaMo5y+MA1UugU/wS/LKQI0pEzt1xXntas/cMOfUluSqV4e95hI6iRU9RCyOKcHZqZG2b+C71HlTqI6jvUWbfj/LB1U7XP3Ux41V9afemV7OSageJyfMNZSQzH1uGbgj2d2SvgWK8L8X64HgAIg4Gc7DfENbSQLpLDO3lSogpMcwbJFUlruwtRA2mmtPdqswr9Oe0FBtoo6z9poWWwm1KZP4a6GQppX8KBGCMZRLiXlSPfu38IpTbcJk3FFTo1laE64+c5Y0yOAhAoqXh/AGYODQjcoYVtP6C0qf5UnJTQG65+NJMKsKNHp5eGxkQUm8AtAY1CdL5KhXkTexEfOV+AklfOQJ+kqioBMSeLyk9loLEOQMXZpH1EA7NDd4UyJFC3YttjJT2M1u0UGAIJI97IdevOT3X5/2V/jfoVM6aK4PW39VI45KSNRQPKz0pEncjXAet1MwYlLVOxDqGwr5YyF78tzJ84eRY8r1gnkjx0dInr5aVwLo3d3GDODv42WsvM8p87Tq0E5PEOV/H0DgYZJEXFcrOjxkLlrWYnYl8uA+u07unPQ3INTY3loop2v/9LDJRolVqPqnzzKp0OZ69TR7bHHZGy2GhdNBmr7O+XGvFCoxLrcru40BJaVDVLSARftPhw937OOyE9vtIRRPCrNTEQGWu25+1wJJcS+UL07LphPhlTgmlQF6Wgr6TYkvFOsixMGDSdph1EqSqQOtg0YEzoTjnqq0u00GlSN33B8lzGyh3Ub8oX80zfeEv50wuk0ere66n1buBOHMgVG+oZjdv2IhtQdHR0193YTbGzwxTLeP0CYmtjGfq5x22YT/H9Re6bAqAH/zKQDxhP81hZOBoVEQjDPVmEVjKtTN+p+iEYHmA1Upc9IgwqJeH/sS4x2Fj0uBl4PEWIL7U37g6k2jjU2v7639sknm0wC3GoWD6MDUBjGyKkQoFvtZ2ZvxIHpGSJ3TWRqK18roheEMAP6U3UAoxn1btvIiRZqpPZQ8dse0PYp+ODqF+YbvDyRTDaWzJ6kz4WyGJBP4dBLjk+KAE6aEleAPrjbmfoP4VFCdp8Lnf3UhRjiE36zlv6OhxeCxh7X/MHTl/dIx9J2Ur1mz5fYiH2H7mrQ8V0NYhJ3XfatAwAtVOocfyZCfMdsHBoOSyq5U1ukBsOQI+onuu74ZumFFGqLOxi6uHPT8sA/7HowJVSYF/cHAXr+DPxFTj+6+pGnYp7qqyFPSuThSYU2artsUStfnCxE4if+J3O7yHnYR6fR0z+zdCd/gQFSUyzFmAHwZWoPD7zmVLjVi1OgQo6HzJZIIMgAUAGf+1aW2Kt4s9YA7ipjmUZctCviGC/LDLZrSpVgpJ5KUBFPs46lDAiDuB9tt1OSgpge3P4nwao8jVDzP5y/mLxao/yUB7Wdo5gXp5ICfySk7FopvwnttRwZAcMFioJy/2xOMPI7uvoLAuvkJiDSMXF8KeiEXlN1DOhBWUjvPX3NibsBvljRPQxtpTY5Zd6Eag4NQn0PD/Mo9Sk1zwIt4m/J2B2PiaBf4z7VXbzaMt7X9QlkG63RXah4bTknINkJ4evla3bl+/51ByNB1D+7Ai1toVC4YRsmUs97VUWFLPQ5WWtfNCQ//znF2MbrOH2/FkBrftPG8lFGf32oUf0E7LyqlVqchr67Ob4iQC8Skp05/vrRA+1++siOEEWGmthysvqUKOyVq/oTdml52Ku4zx+i6xIadqQHPbkp/mC7muWdpXxkYgvL8QgY07jckVJWOHxJrexLRYQf8xw1E0ZClzJ+dKGfzTfUjQQ7uPyoQCnVHqOhDs6lan/ry4FeJQko7F0abvpp2Ct1LjFgy2UDw7XOqfO/8zmCFtu9ooZGNSiwlv71MoDvord1fe77brKx1JaSOhF3maTZdJCmnSzhborQbjO80ox56fyl0juI7227LbvM5LupGOpVkooxnk3MKvpI3QsgEaIJnb0rWsPt1js/Hxuyekhf3gKii/MKTVUO9Q5DAENpOOucucyi7Uci3/Rp8K3ZCLgX7wmitaL5KoEYaeKCVkLvqZrver2dMQ1l8mXkHglpb/A/GT1GI5/5eQybZPloUs85j9JSFtVps72w6UUmYTQTKtkGa4beXrFq0BfyiF1QSBF9VExR/pK0/M1+fxsPx1PDMRFRBG7VUGB0IDP+0rFJIHLxQzo+XLPSOnjPKmFXEiJIUCBWBMLXI4ewwBGYRY+APKdrx3weNV1H+jYN6E5soRiItpNbg6j8CFfWWdGYikx7UDzVZhT3ARaC0nKkXkgGaxX6E4ts+gV33FoKfl/1Yuk3xMKECSVe4hv8g03IoTYibx2MSSP7yIDXTLvpldVp6QrcpAGHUNHf6GS7FUaTW81o3gL+Tw+zEe79I2OefslBWUVDjAMz8zLb+fcc0FYq8prMwRsrxo1fg5SkvKWxKfNQawtnjObWLnP12AqKo37Y9lQ34d6E42X4gwgqb/G6NIIH3QVDRMQHwxURN8WEx+lcJDMwuajWYBte8BxlzSLRl/E6BR4s9r+2LUFTmJtSjYh0H3OqaLRJWYt5QcCWibN8ATooAxY6Bwttw28Bw00+TaGj+lfCnIEDCtHaCM6xfCSerG9HhP2gogdLoQ9u/MxiuOlD4qJ++7Kgx6r1SQQK0JI0/AsPV3VSZuEKNNQiZ9i0TkwVq7mPLklY4aXejZVysz43dKu6D0IFWFLWxWmOayutHtQJsRlcON7bXzgf0iJHDS/52HBmZMXu3w4fvQhJw8VUEtwEJ5zGAGYPQMCmJEK5Z7wgt8V/jMWQhvu53CIco6t3VrpTtgoqgy+GA7IgTp6ecBPIj3vQRVAF2JWFGtEThNoZOAcB2mZ+AAkeZM0XxH1hz3Ifw6i+FNTfNIVhWZ55qYdrF8hkGba9cPSk5I2IVPHOu02qjW/VK9+y2cmVDUfmt+O/0FrYHyhwx1eX2jrhQv9m+u2LRDTaTxq+WFtqTRhWhCE+mN2T3eyujNMh+x/z86WvfYBIl3pnT+tIEMIZPvVrzeTSae/hpVhf2RpXwjd2NrbTgyvpgiLp4UQ8L8E5gncdUAJKkPx6GOG70Mb9NJZ1iFqSbPZtuOvBJjZx/yUHM97vW4ybglRnUIubBLrE0JjrljH/fynRF224PJ60t8rKUsNNk2pZWskE8qBHOkmBQmG3AxgNtgwjRnhJZJgC5mniaR1UGRG0YkPerIsgS01c2PfCII9L1DzDJdIuGxyPOh+ZcVYLOHYp6CMgex9frrK4QgC9HyWyGTWCR15HQ6oS5bRBEE2FKKMxhc0tpOZexJg0AkQ6SMzjaROtqOkb7+u5j87r+Ke4ARaBVHe8UAuuoP8o9H+j2dqvvyRd++rd4q1DbM95LBO5MwnL9JybRjG2jn+p+EFiV3MQkNwfXbnhxsSh0v9YiOsp0JT9bquQrdaFyVvbdD8LUPY2I1M48vL4mI0bY/Qyz3wbrLPjDJb4ZaGiq07brlCMWY1f/gUp2b83gOyaffIerH/JL6CPXv9Q6mzxxc1GBeH1IscEAXtttkrrZKJW4LKwQEfUaCd0kXkwuliJOQZH2FBjLn1VxYfdyCNW4r9P++sfZhSq4giXuRZOGecjsdOPXU1cE4frZSaj9jFDC74PaswE8RhHnXXdGzM/INeeLXi77aqnln0qfgog+zxWUKAXo1iWPJeGJPf4FUfBfyYQkxlqhpMpxG8A4i1v22uzwYZRSmy2La1zYn54P+NbrQgeHvoanoB89y05rbrmFEHHAy81gcfJ85dulOx6j90qsZsz3QmzuZD7NCQnRSE/hUcU8JYHGKmxPKY/S93/JG+bt4YXaClh0323+3ouz/50GQEHesh+vjd+NMWW3s8dxKz89TgNsPKqH+UHSt0/nNE2DLvqkyic4LQVUIPnlgdWsmZ8KY93htL6bzqkDNPks5BbXDgzO+RdmnVEmtUAWbLFezIqAMm4K5c2bPmHoiYE2Bq9SH2lsBLEj408glfxuLr4y9OmUKC2aAtBtf4pAQd/IZsI7D7H3bB2KaT9Ihiz5xPcWRu2U+A9dOsyQz4/N7oeuNcJYEdqa/juSmEunx85nXJbzyivOvO8sZ4KDXcW3XkhHYnI9J0+ZQ5QWq2nDML7cOIfz0T1LegLCCCXqB2bywTWGWr09EpCN5nM8gPewt4ypBoMGI7NVA5iFVAdp5RSF5rfi4T2bY+hCQ0traA8FeJSU/0qJ1GHCFMWlZIBcIHuPDPnJ7gXm2FBIqhAC/2YIc9AN90IdmPTPrkOcLg3PWmBBdIdbHEQ+0zpk3qn9I7b7kZCR5ybC5gDk74aot7AiiDwV+zlpe9WiCJXbMXTXRMsX0ru9QpNXsRB2bqwMNAN7tZ+jRrUntxi6qnF5kkmWTLh2kQqMZMp91rGdJ0cVMM5MrFPn02asP7xIiHIiRuqXQCuyH6mkQfekQI87bAv4kSW6tOPAXzoJt2eXDR8jkp/noy1bYLVo3ViNm/8AygugyonG0zYzNS5hd/qRd1vghdHM4q1w+Ox4mIJ8RMapli16ollaCql60fRWidJPhzrTpfhOAuOcqF6XqUSpqFSd3jaFPAZLh04ygIEdbiHXq0FtyDRBukpf6f+XrVSrIJvB1Qdhk18VPBupD8rkJ+GyJSd7eJDGrBtmoNy71QNAT7wIa8BPDN1rFrdIeT+ZnTQaoVbKkMOkjAbEpY9e8jAJ1myaHTrvGJMSfyl/2Gm6uWzLMBD7VRx2EQ7bHYfP/I8AWaMfsizMpt7ruslfR5+Lm0JTvB/PpH3FT050HAtZ+RgRsRZTruaWKfpxr2pHJZicQS87Okg4u0pNzspY0nlXeG3FoOcmc4K9221h29NSEl9M6anIT9OevX4pocSf0p+qQ+0YvgiTQ0uP+0+QgqvzGgE6jhPIs5B2Pp/Ss0Hv35e5e9qEqx92BO7vaNYSXv6+Jb6n5WggXw8XjBSwTEXa5RT+JvEgWcSKviLm2diDshOps8PGNjGuZ9Nh2Fn9McjkDQgfZLiTwBkifLYXXbLV6xfFSNyj1Zn1C2oC4AeJF7TfHiZlYzRurMMKTVJ7Loxb7GhEnKC/vynpAeffnge2d6VcalSc8VoEIr+ImhE74PFxywbMPryceGSPZS0elNG/lFIAfaKeGNSpxf5TKWRrn0ZCF1buzGKnhEQGVwiYYPbqX2SOQKp5w4LNK6qEo7J+34PXysGiGuM31SXn1Z//6G0lia5+L0dQiioBCD5i78mDeErEyClIz0xDr4nxaDjADmF6wMXIk1mNhFn6zIB8m0BZNUBW8Dha3Cz1CRjpQ4anummCjAcW5YWOD5PPbsCxr/p5hM4TJ9Azw+SvTqfv/FKfovdGAAXyUxy0/5gkaua91/xzJ8+PFVRg76xn7f5oMng8PWi/DpPj/3/iHOs58tNwOFzuLDUuUttBoS/4uplF7gIIB/gBdeLA964KijYWfQDGTB15T/FexomflGOOhgKI184yzmLPtT3bPjGWpD3F/z+OqDeGw+8x7Hj/apQAbyX7OhFeAfo4eLaw/a7o2CTBbhT0KYbnL1Ml6SnANDJEj011/4utbbSRwys2mMyR025ZR/u2gnxz+RAXk+O2w4uQwzcHfb1CUmEPmeGiXNLrsTw/ol4oLDCJfaLpY3J6BiuwS/6nHVNr5VnZSNrDEEDf6PVIxSG/NGkw6GPjAH9u+RPckH7PH8qNo0y5G3PxBfsKiPpTdpB2thcB0nvWTzAabQgtMWlGcxFyadi4phTa1v9RLsFyVIz6dLNgOgPCk6UQKoYyTdtu26flQSGuPVK5DvR3SYC+g+mcpGc/Suz7qKyxcYEZGm9skLI15oCY1aD8VwvoaFnwaF09q1Z+SYVOyb7SdOYV8mvXHe1esMhwQ7CjLl9HHvNaKPlvM5T2sWY3eUnCn2LIcI01LP0r19gfrzCnHdlXoCaAlV2guvyupSVhByzqJ+5kTs/tbT7KDYZWaL1bvhMTfhx/wJ4OKq+d5QBP9t7a26a+vj5ZPbqfzQKnx3J1G6/P6Uydxp9B87MDW89t/82bCVcZGO4hZn48MhnxZwERvemrIy7HNNxhPA3c45k6vOS3cqrDc93rJTp4K29UoxYPPkKsjEsMKdjdw0PFa79zffVqzjHXNtYm0nB1sapzyeq8TCXl0749ovyQBaoGuoTKhq81/E8woazp1nmfRe3hLkwwVWmdmZ25tboz3v6IbklC/eb2pj5W00aZKOxTx1/n6V8dbHFPEWdNqe9kb7JAsLwTYiXaNnNF+IaZioJ7grvuo4LkpTq48soDrM5NA6Baq0OFPDMqz9BLEKdl/Y9kQSvluKx9HUbCkufFvAkgsFwMub6xg7ihlOG7k90OFpKw11yy0yg3bDHk4HP43grYz/e3VpazXwQyesYPO68rsvRuIPgT9a4NJLHjr0N/shv8otx5ypO37dhU3kCPvSexu78V4gpu9v+IVcM/iNS+pr3JdwxuwB9UsUSJsUSuDuFS2Qv1OBOOSMgYDFIfyKHOIowv4JEtaneKUZXP4XlFIPeX9jdhvU/3h9HMTDeaSEm7fUgdU6Ku2Uk8XndPhX3bI0hCmPk37I41UsepsyB26AyfnkDR1sO9o7vbFbrx2OoAvbHRCLCB0zfjochSZhVguv8MNifhII4iGCkw2EOD1NsF4aTr5DKvtqBICpFGNeJPew6Q3PWlzn+Ays5VPMyJ4Qa14Tc2r8ugiI4iRz/h+rlzyvJkUGCKMRYm1zO9IKGk4iJlsxWwL0Uk+4SCAEnwO+DDHEPnFzXRtmuI0qg9EMJP0CwjsYTfPgPpRNiQ6i5/eYjqhPpvm02c+D+odsd0pOJknXwlJA1Bzk5LvdlqIsSGWu72doJvpKX84k+h/20OfxMgODMJMSZX/6VTiOcelvIY2fOhjC+SO6zTxsvwRZ9n7K6aI6euEEar50QkIgTuhZw8U4k079MzGpwZLl0GZOWRwwcr0dQoYteutwnBIx7ykXXXZIJt9TCLfXQ7sDkScSI3WTa/QJEheKZabGXrDZXA01ooMsvuTSUQWEePD8NUNiMBfNKEF9EWXlFcSzXSGESyLc9kkmNkfKncjbrmoJHLhrZzIUr+/dtyJMlCzTMwzuYRC0HcNYCVuxxackr05qL8GxdHslb7bHN3BXE8aVkq1vurdbZe7Zb7sc7dBYutT4eAbC3AaLStyhMwOjtWqSz0hFHQLR6D+ntI8vwlSEB2B2Zr1uqQE5IZ+L0Z7DXmyFqsxXaPgwPkk/0VQEoZEFgbrcgPn5cW75npfBPCunWVu90ObvLCsVuNfVrJK3DIXVcVkMoirn1EQ3HOHq6tW4uvprebFG5UT6iOFQLI4T3ceI2+3KvqzZQSlxZynCnmQvNKLiXYRQ+cbSNicnhlEikmIcUKU+dgic4BiLZnqTQ49YWl6OfG9HDJxN30angIHHc3XrSu0Z8EIipUOIr0IdMrN/op/vxJPAHBUWteKlbqyWRsonv0P+HbwfxjU+VqjIOP+CGGx3COi8Z5aQKc8u4FKzOAk8C316Qyw9vQ2M1zEyvVW7roroPZ87qHwdqvgBgiD7Hk6+OZ7RYeDPTU6Bz79HSCc6vvX2J+UD8Y6A0HMabhvV9GE5x5bEVT+ZsWCUDC7gBkqTae4rE0B3W77wEcaKbV1wj4W8mCeIU7x1pWlqd26VlfnotpewwLPviHoOeoLa0J77t8cifI4sasjVR58Ct6G6yXR7GrjG17LWkN/nfPkRUj8raDVSyaM5KEdN2an/81XFFlpE6+H4xR1pJkSx6w6Q8oZQ8ORMJLWmcM2sO4uU5e+vKCxhr+J4oUWqavg9c+VxAabMeOsLAbxOA/TOFsYbmUEm3NpjZ39KXMgotFQm7e+8lhHq+msjCyJjry1k+vOIAptcZ7CZ6+TizXu7TMyBMy+hZJcj5vQbKmQZKzOI7emkgN0+UuoF35ZbCzvu/PXOtd0sRUGV+nqZNsIEFWpc7ItfylM26/tKPmyqqHByTxVwRD+3YUVql6ERrhu7eDdLswapFtxU5EW/LVDAVIA/0DjNb7FiX+P2tvXMhktpzwRtovbhkvumcZdn9rU0O8xpwxix8r3Xh3JD32pZ6bEqn7A1dkw3HHy2E8NIAiw0q56NbNDEsx6XmGr/cqhjYWwJ+tL8QT2++p5y82PfjGfPwtJ1HQ4SoEPDVeENApsp9al3PtUFJzsTM/tjBiK9f02iW5kWQXgOa/QTqBy3RaBeBrpYWFbaicpoUqBkCLNr97qXt4bH1Jtk9XEOWkn5tmlWo/uwO9cRPm5+ArtRMT6zu8vUlDV/0wqbTNxMape/58CayCJvbz2bjbmsXiR6dKyEpRREMdTppfOSE+6WKIuNG3sMqEvy696RyLq5ay/E6NP1QPUuC93FKq+RNIOqNWIuCtc+kloCT4kIrJWnMZ2iUty459pQ5G7GYQh8GJrfLQ1XLo5LruiwBl4+aFaOFPAOUGHFqnCYaZeQyyCImm+sZPQJ7ZYuZXzWdDksYp/JGxdEwL8/Sl94epLtr8BcmxfXzd6wBxMnmCKJPh2On3cu9NkTScJ9JR/DWhyx+O2Y3xQGn+//fmzWFQOn/PcmAEifLup6Sxd8vICJNKYJ3yvlIDjkWT2RNgFZYgwPKRND/1A/fYsHZwiBG0jsVt23T6nhvAyKBVoIcjpFNvvk5sD8qnnjjoBYkKFmCN6+Ne4E58ix3XjJjKIm3XHuoFyHF98reVfNo+QkDkQIbjUWmfpsjbtPsON8Zil8EM8CtLq9G2X5+LMeI6RysoDJ4ZJcWXO1Ie6p0TIjjuFYiBU0VSfhoUNFC+A28sMm68DakeZxLjVBLytw5rvmC+hayxHmarhEvBTK0Jy7pUAcwwpWbJB1VAKW8oPGJnmERTP+3vCRZVk3EFm3y4tSmi9VzVFDfA7tdRM3vDVzXSUAYz4UFmOJCOvDl5/9eceX2tvi8NJCsbpJtv2nsLmjPCnOlvVpOehYW4IxHE3x5Z1yJw9DRPFP06APkH9/qVtGZWO0snFNmwdm2srYfZmFhl9HhoKLJRivPQCB6UtR+ZpTRDAYe1kTpMaP/N3iC1KMm8I8h2nyEA+V/vyciqzy1CLX0vCUj2W1+9sax5qeSRs0iApL5fIfuUgH01clEcZkkE2fZSmA+VCuUc7pF3/yLT5wY1OH1Mhc3mPvuJt3Cl5eO1e2xngfD59Ln393OjnQv/B0Mo0vaeLNCVtH9+66C2+2fbMZYlGwJfE5m3SUPyrGfWe4gmOHREMHnUifmi1HcBlguCymVAPr2QAS3vpjNo3TcaqYhzMIey6lmqG/9UGeLLulPUvrQe3sof1gyhNjaFrv5GL3XtWxFhzgNEbU7Uhq5nnyQXYV0iKL2Mj44PIhOAE9bqfTtJMeigtyNFQQw9uy8/i0IFXyrz9S0OSOxirZPHYhW5WyKRqW4aBMziLZ+varZf/R8UtjXXYXm3nb19WLI9pcSVZj0KW1A12aXaCy9mz4nEiNGaXlIu29mKdpiidRbuMajQEetI3w10467pHmOufb+axjfKHenDiHMWeLwZtLmwbXUIn4QfA+vm7K6ZhMzhg6kC2nocuY1jEHJs0xN0jXDDOvrxM2QFdZhKJAFRVmb9iNNa/kr2nxvsN5s5XNgAi0xQPs9oOjr13AsaQ6mx3VkzwJKTfwhtevpUSG2hLIq25WrWud5h7kiLJZDU+i2NThl1KIleb3oMK1BxbEzFEwDeZ4Ztbqj6lYc5p8o1QK+n9KV3p+MDG8JFfy/KaxJx9+8ntI9DpRmkI2iQGg7nkL80iSaL1uTjo5ddmvEbeKNf234BbZ7S+X+5UrfNAUdecQlN3LvbcDzOin0EN4U+xMyb+0heTHHyw018ePWeLREykIALtis763T+o5dmAh3wmKObHIK93S7na0c1BamzOypRmfvSb8eaKmHd9Yl5i79RrxEgVQGzFOrniM9jlDq/WLtqEDTeS/RdvQuVxjyXuH46in+dioCCafhC/RrWFXOr7CoBcK0G7sMdZ+8dihakNJ4v9AW5Kjy3rE5XAiqrhO9vj6Oz+vKpZyOSU2TaUQERkrlax1NntuixxNbKPngOlwmeQObAyGT3dJWQKJOh4WE/2mwZKLwx53Kb1rSukLtIge8SSUPF/s1YFO4pNjxhMZnabQusv8QBqY1+7vsiBD7KlWVGqrKzM+fQ2DWh3QANdIt/exp/xpWng8Jpja0X1k5J21wbliWAk3vgzNENwCaE6CMnPdAFsiU84InjiLmvEVajSBxjshiYrRY3XZdNm4y0sYzCcT87j3s1qEsyAGWWajt81lmbwtr0g0H0ubmlW0AI3NdQtFYY3n+NURKfHXuqpRHb9eZYLPsEwzHQ8gcygEYSNZyBbMvFR0WCd4sKZfvC2LsbQECIqyyXlgnE0nL+fbYLuK2FyJQA9NSBZ+2qN/PlR6ZNKfMy7Gi3NdYO1v1bQQINAfWGuD+Tzh5y8lFq80YiKMWOHcA4uUVxC/fF0iWGtSxKwUEhWWfcBH0WIcmabNH0t1PHUh+r3BwLVfKmRdFu/QgBr5AmvRoby7iQfWKClhNu9JSnGQ1jOplbJIdG5uGtV4uyQngG1OETsmqaCKcqyOs/2VSPkoYrJwfWdSMySLc/RgX0Jh79Jx9VEpHzQonOcW6A3DrKyG/CSIKZ5d9CsbuyVOlEN+uzpr1qLFzhDr3/FvSxVodBFWAWoDCMIp0/XP/Wnx2PsLpdvCzxvvSuU4aLQr5NCrS9c9vbIvse9gna+5pNy/pzZGTZOqeuqb8Cp01Mo0wq1kP9abBUv74p28NY3GHfCF6AdI/ZTROazvO8DC47miv605hRt558jQhRhkChilv333RsbV+LJwyW5IHcftaekbVSVBKaaMJG3wCeZ8LxVVczC+O3ziaBzS7/3ZfmcCksjUpNmxv3U+Qddne1PTFBzzA3Z0ZT3Iq5Fagx4OkipDnwnta9UyaM2YZdFBsTDO0i3MiSrItQGYySjJagWt5OonIEAbddj2wUM3Y7WZcZ4duLtJNwQnTJ3PZJLf9EOwMYr5pEWc/tSfXwpgikxI54jUtPggXAofnC5kn7ZWj6Ne/hTeupsF/ASKbKR6E2XRQB6u+ttyCFhuMtOlq8Dz7jIbgsptfdyVtAKmVLl73gpsss0GsYcuXlDgJdGExHj3mvcJDb36hU6hwTyfhTQ1OmWEFe70U+lIgXrV5vuRSgm0nQxDFLjFyAzC9a+pGXDsQC+sshcLnGUN/OCbMAhxkImZU9ebFtJeZFmBGan9ehA7nxkn1cY7GTegX6bjdmY/cCnc8A1rfcicY9SymGK7IAzkQ0/5/kUUpuH4sqolcsBirIl3PtQbSy8G1OW6uvue8AkyrSuvXd0Nhj9iN5uAV9NeFiRAegfPaQ0IPDLwyZl1zQCXgVMiL4T6dM3/f4njlAfYiaVVGS/hlOXKBTTrzJwCGpgscHJ96Eb2LL/sBZgTtAt+AVk7DzeTbqlkIlTSrlHx/qW+E9OQr2Q9U6BAqift7VsT3DhC1U7ZxpSudHktrlP7afXwSEEdqRTwGvtIuu/DcIxOHYOyhFesh0EIRsiMzsK5BVu81aQFJVKQpCzR36gX4E2zXnrb8+IQQu6lwnKvwuEuluCfa4zgfoy3BpigNwQaqiyaeOSzFb3CfyRDmKyX+hHG3lM+zc9yTDO3MJ9nY2wuldKCcFaQeC7bWgZFrCVy+L+zq4KSC6vlQPgojBdXYxH89xdy0bp3z1NdeRTcstvGRIw3oNF/CqofnprqMDVsAZqHAvjt7pRRobNIn1srEOWQBY3EBfn98IkiVBCNft31zT4Lu6DV3f93sTs74v/E8FilCXvSgCdlWHvoz5UKc3jg2zEFY2jnGZEWEo3H1eGx/mbLOFYlHEoNbUUvZ9VJPaySbFga4hBNAsIE/8d7XSzs8PF0w2k3taYWTyitvcqCYlhxnILx2xkx8r67c05aj5aCk0eZiZT7lpngqcVWq132XrKU1N1TOnULgRh9NieLYgvrlZmNCS+QUXmrCj8bI9/pAlxmq+OxiiGqjP2LtcX0nnDV5Eq0XYN46I+9w4zNtDvyp733t3M3FPv/03e8PvqKJf7XuMRPZsNXZZowAjLhcGseyIX9+i91Qd9JvUjsFq+Y0Q5Fi8AL8H8XlYqfsKWh2eN4VCSL6LWxurbQTJpBVC5HFm8C/RMSpWHX3WkQQT0WlP0hwgrz1YJGlbGv8fsedlgzb+HbgZ0dZ8Ec29U2m6TLVSBKD32XWfLM4P6rALIkmgQLBA7Cw5Gyf4jZlDcbOD4kDAEh79jkWtuM+t7DXNRe39o6TeuH6r3z5OU643JUf+HDshssQ1P6T+pnkzpm569xhu1LPykJDbK3ar2Fek1o2Ow+EGuvKZtVAUfKbJ1d9h9pbB7WnN7gJfInht/gJC5gu/w+vSRSnfw+qp0xZcerVcrXuQmXqOGJl8Cs1jPptBHpLN3sZuS6qibPZ0m1EIyXQ8LE+0TtCYBgYAHRP/FZpvT6+LJzVe+YYlv+GcIL7fpu1+tZbtwl4WRg72i70Rw/6wRZx7CIJYC3NziuqJQ40gkLx/Mhtw9EypNXclo5T+q3YghK+EPjbCn3MlQlcY+zwqUzISFdv9/dZBlQH+4tx95mDn/YMt5yLCmkZvYFotTW4x3qvO0gwW+pddZu6PJhn68h6u7Q2TVZHGPk0CdoexWtiVNol9Vqa9Yg4BJqmznFI9xPvYBcjXn6Y0VpW3hEQ1kS0V65sg6JbUi5xhh0uAT11SgXeUkxKznJhl5YptK/V9umHirXtaY/Sjjw8HKfRe2UlHvzdbY8a4iwgUhJ6HBnTwf5fGxvJz7qNQBUMXXagXHf2XyFCvGe90INUxQ0eMWi+0xQbu+TJz7PjapYzmmt9NIKvaiTVsC9QeKQB+7ziTwgwu6fP4McyGPo8LCnGoq8qJU70BbLk9cWvbKeLWMPkknuW6qMTsMC4HvlntnAwfgOVKeU8/jt8k3oDUDSu5ByOB6qsjwEqg/zCD1PE2q6LxlXJfYhWINaTwkS9u4S4n3UwZgpBQy3NPSlSUvxmUtO9G4utVGNjWVf5FudcVlgeVrE9pS9fzBdN5DeH6q28yqkeddxw1GzvxddeAgabeVubOVff8p8xNlKyiZACJgf0KI21J/2i6CR+tm5ytxDfJRtLFhPvCTWMF0F+xemgHePkBpizmpZ+bPAy5xpBJTskBnbmfURJGRSwfZUlRTIv7R1ydkXLCvAgUQFZP7VTc1GluOLcUeGXU624JZJDglzmYG0vnqK95K9BbpQ0EUWsEjYsRH6jsV7ENcpHLJl8dwpbB6uzPvBcJz1ut8RpI5GuuUg8Xq20L+bdVF7bfgDaFoQBO6AT74u6nWQ1y/L+VxR+LiENRQngcsROdCuwbSfOemUy97iLl4+OgXd3lRe6XuqqhBMrfDJz3KlOh9WgCnb9MpqvrC+fkgElCpEHD4+PPZNPluc5T4ProhvbmWvC9DRJiHe3awajeuZDV/8C22/O1FDu7VGLjVXilNW8QThCfJKYiieqkQEExSQnz6xUE25Icm7GSenLKzJ0qtj80tsTCifTAL2b0UDSRHDz7d/d8+jinzcXAE3vS0/1JyKLqaXsgIiFR2MNxrMfNnL9rIhFddae8JeSLgAcqJhLfOC4BNV6eoEy/S/A0klk1fFWvLqmplYrhubT7HN7wiNvi7Fyyi9Yu+B0//2rojHlP3HIB9lrqZH622cwnUP7ZA2y0kG4YdSTmYyn8jK4d+DL3hdDleJrlutjJxJfwbUpQL6HNMPUqPOQEGTmcwOUhr7Dnf1Ti+61KM2lXTeLzO7tYSZhBjP+a6oVJ6iGAwuB2zEPLe15L3Ar5k37o5g/2GoFRgcKvNMT0ljXB1S7gUaaNM9xhNBZ6bSj4DnzTlxukasXH/KBegTLzrN0naIs8TOuKmpo6jdfNFs1U+zqV9WiYIxyC1lK5M+ZVa30nae1STKjNAF6xTLNkOWaGJkCM6ZpnADA8gyJQUGXv835NANx5C9xGDnoY8DPnYIJzDajWTDYt0NciZaYy8RGgBwXgpj4V+1qw8W/w5krnDnZ05OepA/TLCnzfYw32wh+W4uO/+yCVvPrUPX4LTIg5/R1lKcpbDKq3uw68BWLGe00BZgMqC6Is/L5RXaUU2sj6Gdpb6hsu4BkSfhHuGi+VobJHYX1tR7soqE2OO3D1YBVpILiSNMNQrdKYgkeCrJBfjRUcaW5Kvsuhs6efSNIBXDzzp51YWOYZFhAGhuq6S09XNvOcEIapxdAQq5646KMFp8ydpRq5qQ93W0xSJgIUXYtAKA3ELEjlmUQXHc9frMOxOeZ9GfQNUCg0tGWwEpzl1xh8NnzjAej5MeQnCNaN6HdxSHg8EwpVBvYYF8oT9IokLV5kqykE0mi5vdVYhuizbLvWN3Mjp5nnrjrpD7O09YsBZxZs4Nzq5NmTEiYkwInKuFZtestTfEgT5UMdbOL2spm8rsameO8bxi+CRPhdLTdxuxxnydfcR89I4ric58H2jPvfg1mDBRXXIgf9ls8T9C4drSn2Lsci3tokqMvWOJn2/UL4s0BAHLRw61HmG0sSjdS8mxM3w2XVxRsUVmmFZ7ooDA3H7sf88W/QseRkzQ2/yujqFoV9Wzbs8kdBf5hurdgkZBPXod5ljlCl3Nku4SEhjqSzXPUEYLkH4zNlOMbx2NGXx4jj6e0f1Q+VDcZjXyOKefF2H0tyBTd/j8PMxHeLM7u9mKIl5mF9qDiDJvGECazgByBKuBzFFswfKmVYFXPC71Tr0ev+t41GokaIMwoZNPsjOUuiJLs3xlgfY48u8rw/kJGtibJZTGdhgupZxtFQ/vWHEVLvNCTva8tUZD8n5nQQl8vWq49aYTTA/leQdXLIceQFffTYH+3G7cUSykIUphwR9SMzs3tTrHRD6+Ty9eSa4X8bE8r6wtW+CMKeMjyGqm4TordMsnvSPisD+YikZ4X/od3SdVdyPQIrLcg46ZPry1jKe2mrxD97+OmdKr9AZ4U3pCWnbdx/W5ZD9b1G1GOO+DH8Co+hd8YO/G82pAnUSXjD4v95gpX44rouwiTjiYxUtyO4NLo+dh9G5a2r6vFlNvQxhxCtwQmVbzsYnQb/UdVJ5fOt/47VwS8NOUuE2jcE6HkNlmqQVPMl8N4SsprDa3tgBZEBj8WW4eYBEIBroNbEIyDtEpRv+E1MeRhUkhcBdzFz5qr3PJ57hAertZ5nPRb/5M6cO7SvKyPN9Z6ATCbvi+XOcpGn+GYlIqCa3oJWpQJ95clfTh5TyIewI01RL26nlVoT1YjM2CnwP9qtUedvhQhO9wjwc7JGbE2lEIWXpc78y6HplIlC+IWbmjzbG51zespEOy78SWXmv3hGkkjDTQ3IE2RBW7O4V6YC0d7viJXMI4QXWu8s6JPybcosK3I/4H7NjimBiqqEcIeXPkzJ+QwXYzTUwgaLJWczqIGkEDD1AE+09uh/jyklTjXIYz6b7hA7mqPwJVWvRX7zqoQ7A21EpJb8xBE1/gKlK3q8NVnDXw6W0X5nRQBziKgxo5UIgafYxCi7F0repJtRGCLCcnCZsLlIK0J5yw2aOQ7u3Oqtek2iVrfqW6fyKfHIAFUl89Pa6ClBD5U/qXirlsO3BTf4BMxxVgowcHrrR2hXpzf9dUjwUP8TGhZJ7Xdz1vYaMp3uCpaKeri+lAe/WwSqBbw+hWbfImQjMzjK3tNPx8Bmwd4A4sgHOjv7DLQxHXN8ZKRaqYxjwFjHsNz6YgQyhzrPgm+Ne2c3Mp1MDlsO+dWGyPBnGv9O4Mv7kXJ3FF1v4TsXa54GDqFKelXXTcvKtc9SEhOuFFxGNb4gZK2TBluS7pjJxOR6+5l8WUATks37U02VgmTcklzmUWzicfkaFbixVw4XsnhyWB7pZCXZLD+Z586FxX0/sF+OjA28GkCXF38/3EXVUhGhaZJ+IvgXPvgIQUHRwc6rWex86vT32sG9lzlWBhMC7VdsG+E9t/F/UKWpA6CvUHe3cL+475AZboE+LgmxoGsVSIqpXdlqKYr22Yckx9No3eKKl/Wx4mesMr0Y+ROt6u3HyChINMARcJCaamqJoz0JTZgl5J65CKdb9kLxP4gVcBXbwDpW08N7gzoTIMmsoaOH5KQxjrwxM6xxlqNn/dsrMgVTLgN5iAUQGceL9Nwj/hLAAI6oC1oqiK6g5COpR1id5v/okU6mEs7fg6xAsLK6aHeI0ShAUjGD6vmzEjem/CL5RRZbn0OVD6LM6BwoJKxRfvL6kd8pYzRwNIEG4WMjZry4u5USIqRGfxTLZfpFtDn3AoyaLnhUlD">
            <a:extLst>
              <a:ext uri="{FF2B5EF4-FFF2-40B4-BE49-F238E27FC236}">
                <a16:creationId xmlns:a16="http://schemas.microsoft.com/office/drawing/2014/main" id="{0A3CBCAB-ACB5-4849-B59A-EBDF1924863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93304" y="3966500"/>
            <a:ext cx="2628221" cy="2317611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5F25149-7E6A-4A35-9B5E-717E33D8DC6B}"/>
              </a:ext>
            </a:extLst>
          </p:cNvPr>
          <p:cNvSpPr/>
          <p:nvPr/>
        </p:nvSpPr>
        <p:spPr>
          <a:xfrm>
            <a:off x="9080740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Retângulo 4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Cquhy3y9SPyyEmv+6+MyXRqMzia1F1c8Hh22iBL4wwUR3UDV8qonTd8DdhjUilZVayQI/S8ZfdXPo2jSTL07JiyUWaFsf1iHxnq0fVIvckrsSVzIyMrQDWBHprqcD7I3cZqdk1LRLX7YK1kYz2FEPXkQu5wasCNBzU/ipPGrCqKXrxZJUGdcIlSlMknoIeKUmch7NegOn6u+9ZgxV4QFEaiWCQjRRGnVowgCtWDQdoavwcIAX0gk708bsvsE5NCdBXwxHGrC3vDqXL/tASZuJqZe1pc5gEaTnugI8QGL16GA4ra3BibbzGrWxyQwOU9w8JtEXIZ8S3fnpl43tBlRziCwtU5Mg0JW0FDXc2SfPJZGZiu9+eAAuJeCRoYlIs56qgHtV8FS8hO3Nqc9qMV6bJvbLlFLxInkiyx9yJra8O7DBIuaUGQ3SfE0s7pFRQjiew0n5wavuCsDn8zpQ7gdcPnfc5gJAHbZNz8Fri36hdn4IQRfhw1kIb+BvgJDsrF7m/WyiKTyaGSWPldiFXVEyL4zd21dpFX4TUQRLRUwqQo+Lj/lkIcoXrLSoiF0kvVBKt3RU+g32T/AyW+ABgwbJtrutK1UMvkZq1JSxrY7khK4ePbq52LbXiTUJyj7tPZFXlHPX6Y+n4ng4+jNROQDpQIIXHt0JOs3jKLwnaJzz85Ww0iakYEhGI+XTHoKmoLU7+ae9mkIHX1JJ78ZTBkUW2v8MSCdxLj727lYIRwjHkkfwLgDKSU+WSvv4efoR8UDpdhUWf5mkyvdOb0e7xcoPJ09KinttaYj43MU5ZDSXgIQIbjPCFrJpPsHgtd11A3FYoQ4r1dshsrsC84LEeBZMDluwTAIef4qrZosL1a2EDkfDbfudSceoZyK7Dh0bk57HZYtnMSEclvuWPiOztb4x/23FHdjxRtFdeu99nKaPXNvPLV6Z7ieHGeFgo7d/pzoBNIC0/XIQjV+AJCjmusxKggXWClMz9JnCMEaFhfTwuest4uDTw7izQ/1dRLndJl+7ZCs5dsUAFJwCpLuqCIlGsL13GDUr+CodU/s9A1ETXDd6/FcgY7sm/gNXquqFnQghDenlD/s+dTxzBioFzIhZYuz76KrPluMOu56SZnlD77xLluePliegfkJNb5n6yng342w7VXxzLPrDq0Erk/84l2JWFSTOpJlSbQuiRzWfBACfbzJJCySn7COcKEcntGjK61DHyUHLw7wirT7tL9mGVtwPlkG3QWJbHOCgWbg0cwZe73BSUASgntsBFTackbda6LzYdM9qRDC3XVRhOT5VlxqIIeZ5UKYLZbf5upu+u4jTacmfZhE9WMOyzfLm1rPOVtrfmwlUbSRnTVU9BvUmmAxz104UfF7mHEXgqV+x2GODu3uFGt7jX5rnMbo3CqdtMMNRgGHrg/sUzL3Aim0eFCAos3GcESOXLfbfIFELMnDlqqmmQYDuibyHLm98aZ5WTAPe5KVluxXNB0ZJAXF5LHQLtdU3BO4bYMnCQrUUmAvUcfiOWtfh/vEU+HkPnhl10nrbK6pWKT0MMxnttuobGE2n81St3QWvFNMxilbr0Li0s1dXyG2q0USj3cDlztZR78nl9+KeQoY4kVEsNokAwtUG0hyC8rGixmIYfbfGQOmArxCNJXPJouejXvoILX3yMm+cz+xx548LEJiKT70rKeht8XXupiqx4sHlj1DHQGsPSlyuS+K+aBTFu/xB1Gk8r/Bh251eX2sCPmSn/lqZA7XSPG2TzVF+uVkdGB+B3g7alqKRbl8teMEilXG/pRA5wJ0FRx5As6HOcGw8L+iWQYjV43jXi5lVARfVy7OedXR/SVma19KQ/nT+0sOUZ+fnh+2R3yM5atu7GcOKG4uQx+CqDgD56FkFqpBeDwwMHN7q9FetFY+yGCosfhvwpUiPom/BQ5cmDagdIuDBuNPeNTU1MfI68VZgrFI4bXip7iogS5+c5b51exY+YoNGof1sTStid3RRyN/ZaqErVLGYEZ68nr3AOghW6g8/0+dyp6ll5YMBCQWGC8H+u21BwmF1NajLJ6LHsOfY0makMNnjLUWTzZnsIMou0atKm3eLL9GavvKfk2YQQzVv9amkAT27lixlr3Uj6+9gTO4xGPvY8lKQA6R6V8DhxOBilvUkLQc6QvFS6saara9JPsyJ/A7BjQcW4EF7rBPOi6ZlWfPSsuYqfrZtEy3yESSDQHaai1KtZi/9+tJEjxlf0+KEVCvmFcuRap1Ciw8q8PlA4kIcsUvQfFbSI1b/IYpWXTXmqUJ8Vrgwuz1sbys+yJwS4iK9D/Oiq2D4fOKpdgK3BHxRlf9vhf3Fa38lYyaQ4b4T6zlXYj+7jFPW3stMv3kFjbHS7TyV84GaK3KbafLXu0fVfO9qfD8YTlVYQUhZf2fz2P2s8ywicyR2jl4TRobOwcUbwMI35SYlL/dW0ACkEf72XegwCmRXnM9JYWxnhWUp0Rf1K8L3X0bFM/QrIM9dtVHm7cMdVpGX1R6GiipcJvIFexRYAjsoWEEypCuPto/yrTa7/ueSALHR1MYY+G3/hniLJ4FX+IgBVgaBov+7tepS9FLWGNS5VGxkaVyZVfC5e1yeZvpTJj8O/PmUXJhZY55owLxJqDdv49txSG6wzsaWk6nxb6XP1BCWPxq/0rLfZBv+B3K+4SCgjkDC4Q2QUMuASYS50WQ7d9t5dMw4pLKF+Fqjnff/6ZVm6z2rPdp3U8hx1qzjbhrjNxwDXLCSQ12xSFv5EgvcAjwKnGEB1keoMPL34e8mtobT811uqsVnIu/CaXPxWPHRgWPNrw0U2tygC2TtQDakour4TMnT1cSjDG4btdpeTR0QkG+Z/bGOL6Pm3yfMIoyxU0e5n/Id4KG4kgEgxik0FTXab7djRF4K6VF40LATz2+GNZwhIOZeoxQSk9pwvS5UXqWow08SRkKqFNHycGHzcQRNBZprl8J2NMM0mjFCsy0z0jPXR8/9u0JJLJl6H1nKYKLqK05+l+LiG9MOeKQPJQwNX3YUtzL3WkENb83eWkY4mlns9SMWdMXex1TNGM2RqAfBpkPhWfGjNLZc+UQ8SFgY5RFWKbJ1vzR6QIeU428p3piImC05dryn/plF/qw4Oo4j1bHrvabdjyXniZbrB8w5UKyJhwR4vb6CAF1wL2AXjstfvwaKfqH34t9JIB488BgxdZY7pdpaH6nthCwkJmqw/v8+CCCZECTMmR78cAdwy9wzLt7C6ukko4FlIhiw+ngsKBlYKuCWP2dfcY77QeZRmIHtWGW15Hp/WIcRY1+RytgK8Nml5O61M4HkX25g540rIYZRNbRX02rogwFvqMXTc9KMTs5LiP9mTQQ17c2Erp4OvQ/Ni1JZzPfvvmkO0iSjM5u+FDCU/7u9Cg88YmcaoAJSD4i30lxkTG4L1w5Dd51YVltsfesE73mniqOO8JNUiX0eskX9nbOwxTBD5B9w6KUlztI5p4YDY0I8TNvI5ofSB7G7UfrKHRgutUuk3EYK+Yk1wLU7rI6v85yi1/jO1U/bkttoTmRmREyNiEXrDbxFRf3XZkdck9w9UDj0PhuwcGLu590M2ZHRfKB21UFw3FbLaXeL5DLqJNybTsM4SqNZSr+WOhiPaIzHyD7LwO1hWhaX4JuHigy/OwHl8hM+ksr/uI0zHGevn7f0ORPmI2CzQiIjItZsDRNgbctbThsdF24/Yg+jzvCw26kMcj1OtsNm446V/AZ2aVJ+9fYehViyAtz1C1TBHeEnDRor1JMjLkAHFE38X5xq+n4KuUiMNMGztJ85SyNVAyK0dynSPY/6UnTqMGu4KyNiZ70r5vnBc/7AiQvnxTclxmUF0jLL5GnBd4uCXry6waMWCLRB4Zv7RSAGV4UArdspPgA5euqvUX/er7CYLxI1vLDc0mKsi/gdnhSPSHH/RZUjKQeXiXtm1yTFwruyrBZQm+bNhQ5bENH+hy74KEaxs/ZX4YexGt42BxSMpvHH7wP0dN1eysi6A1/r38yUkoaA/L3k7Nc/XOVBVNQUA23ZxnPzm+87ZKilKFCqmQ/eGmsuocYT1kAQlfjNctonSmcFHaZI1R1pE7nxixxoQ8FpOzRbJFhWt4J0O5RoBzNWPQTntLLfthD62FZVZiM4M4TustGXAys12PU+XhR5dCRrTEeG6tKbQPwjzP8C6PugSbadnPqzOsO6V2rprHPiyUigcLtNW858DdlEa30qQxZQp5RywdspC9yDUzo4dlpNLloXDl+ELJMi/T8fkH6LPFxCRtAP/9ce9g4siuD8pql5pm4KGo/xJGlZSIiWidFc/xEC8VY0Tz71q5NIxMO9UxY20tAxdXzibKfXYb7uXeXbVnSYikbPFUVB1te6M0+26iNnPq+zpktqud0s2eqMYRrtaNLjJ4o8YKZKg+nXM2mI5/sRRpQ/1m8LK+U7kZuWDfahrEFKqhTKpe5WHfrmHRZaOTxClVD/r1p7EhTzwj+PyqCEYEXTJGfh87vkz2JGeVSZpsGfDd28vdFFx/Wbiu9xCzFRu11OHzuEUNXHIyVvgoRYA7w1X9lgkEFOdDkcVqWuhLyMUjL5bi9ibBSFz5DXoW9GlyI6a47L5gtJ5UTPrlNuB9kIdGvdxRRu5JB0Ji+w7sOSOkEDbQ41HWXVN4cTis9eU7A8hxRB8Tx8w3vmnifZAEFeFr/d7P/Uwys2s0R00rcjSYv3vvC9W0nGtNMWLgJDa8EBQ56hnALVQdQZf6v0cLOwtBGRCXZTAGaIcpril6Hr2hctIr8eyUNJMfrc3P5OEGXtjwQnPn+fS0PHNFYbhZAT/avJrnbw7XNJ5wxqQhRpBBIj/MZdQHBlq6ubN+Lb2sXujf6+iVDLJc3t/K1tm+NcNOK3AKOrFA8i6bz4oniK/3iwF95I8KAsVq16ydl4FrwclUNYanrgZgPSw92umT6SeVQUyJAr27mA5j63pVur2DPJadAX/k4iSA4jqrkg5ZhvVEXKmoq+5yuKbuv7eDhozbwTrDRI1ii18aaq4Lzmu091i8FTMF444COKV3yTpCJKaQkVt/42MDUkRqvJx/O2OqrU+1xMLh41/2AO7HW6YOj+8rpEIiHtfECqVHvXhVn+dmdUF0TxsL8AnQHqfMk3ylvQGD2BnvM7H5ob2UGXpd9nCo4kr8lG72aTfNL283dXCJbalB+qIWG29wKmQSHrKhTP0rfKM49LJiKTJugm5V2CSsA0QmJW+mC71Pde6z0PqunOccpNNRzkqbQNQitymoa30569a1rXJ3022UqKYHfsosIncOaOepTIla5kcAxdoGrlLBNgi1AFTTrDlpgMKUcRr5Qm1hkIKxM0B+dCvwQnBMCwrAXrIROtXKW5UOE12TaIoS2GrNyOO2iIiovndt5sAuOoDjEB8r0UNp5cTQdumtaHGD268zFE375bMx6xEyJKffrsA+h3Yxm3qJ3dMjCfNxvwucO+myJrLK0/9wjeZeHOC49JGAXLmvhPKDxZDwSLhG3TISCnTx0SgkbgXJi7nOczZlQhUlC33pKSDjzG5s6YXGsvWXOblnwALWN/tiGJOTjuZY0RRVQuDr4rhXS5nvf5dWv2mGxSXDCh1Lvb1wD31OW5Kylye1NrW+6t7kcxVy8mGn6528X0XZARUW9sYeXUtznHsUJjvl18sHCjor8gxwece0/G2/xrrrxZXuUDcQY4g3W8cfHlJSDQBVY5whdRLiehw/VWv4qR4gXJzFQNQSfd4YEBLeCjwoehHqsiaKzWH5wwCF+cTW23rW+MmUpy+r7zq8w+fXO6AnE0pvU81/kNd8jCOdQVRTnABDys+9iW/g5oSpxEv5iC3+/k76MFeS9F1ckAP/B9HGY8UF55NUMIL8Mf7yO3faQyBs07aXuF4p6OXU7PcvMtGtch4hbje0p28nFfyfMmgMFMmkYTs6NgJYDRvqP5PriPL7DjsB5auxTVhiAZ2MeY1G/bcNFEVIhZwCSDhVfD03Slt/CnxRTo4KGb4cip2Ub6KFfD0JomKHTYLiIvU9IPClFCGEhIrYROcXeqpwFIbf1QAlcoeoLrDhOe+RPZ54coPvuitnQVpbX6+JHjAmJ9bQH5lKLNVXqUrfaAEDsObsfsE2Pwj+Hy5bvS9W2jwA5Oxt0ww6mT4bKAE3DR1K5hmW7YckR+gcTq3LbcPZgZRSBExiX7QMLivToBRb8RRtvsZ0a3ULdH+HjHdxsLKNtlX7V76+X7k9Nf6Drcz3bRfLv+m4dgeLMoofXJi7hGC5ZIOVKWXoPRUF9+N/aSNWqM/SKoeC5o3xwF/0aZ4pQVUnF9Ai5YEdP0KTsYLlWkAWHuv5I5tP9fL705e7eoRWwF72Mm01Otnpq+xQNufqaGXA1wFK8KBVtq8f2eODtkluzE6jAhQ7b0ONL+h6BlBZj2OFNwKLfqqAB/62hKuV6h9cupA9ab37TtN7inhfdw2ItmrVYr33LK5a8jtmbog00qAClOF1QooO9YacCzmVpC6UfCtOK07GFuT/9908yamqdYD9rUmUKBJp5tu0sp+EPiTkonKj9R9Yt0F1+wPL8WpodFciAzhAF+w7hMhJxpddTH4tMDq/NWBk/n0YgKiJxVGGJZQhfcxR2iJyPIszuy2qmI3RePwuMXKe/KqsiPcbJaKc2dF+d82lBFklHw2dAZQZkrxjDka3EEbeDo8bkU7rbfQmNX+BGZKrIl9nqcSYANFSZHJob1EIxNJOsYwnRkMB0B+pkhQlcfUHqWezeu4/K1gpSpYkZJUNYBGt5qq9S4vKQNecqQ4gHyizzvNnAgJ96a8F+WjyEmc3IaPObsvEItEOY6q5vSic0Dj5YXSyLZTQun3xaFiTWmckd1fCAToruu9GrgVG1wEH0Dm4ohhCON48OuqRLzIUyRh6pxOHHLelRkmzqlifHq0nSaoAwCoANQWRtyqkQ6L54F9UJOMhSk5Y1YekmacSXPu/TCXx9fqZUIhB77iFD3eH4udePSHUTo453MB+g1clc36LrB0HIX8R7WdcXrbkmhBOqnSNHVIsBxNq9LGdJLXKodQkA4wXurTAqqWvFjMQznMG7K9QyPqn7akPSWlcxkz//dBINLrEB9LM8v+HufCq/T8hv5gYZP4FOd6xMQpgkdjOMpKDSdma+F31JK0Ly/RQYzphQVAJeHR3yI2P0YkE8IVa2XL2HDkTcXQp4sIdAqGNu9kRzbppY42+aKSurr3AMu284rlpPvyRD6ir91A7OVY5lh8OaBFxp9pU7bBBjIYg11poYXgRQ+GarE6PZC8EhbOypgi5a5sgfzLonTa4OLzQC2Hcn+TQ9HHrJnf+3OwebbIaERlWs6FDOBoWsfry2krNTvh2tL2lNBxb0gx7JdIK+GjxwaE9I91opZdIVMAGsbXN6SDKB7QGk1BegFo1ivWpc4+gAFqYIZW/4G/AZHZC3jtwCSZgCh77z1h7qDeDdqhdsl8QFTaAUIlNWBpiIXsDMOPCL6YQHO0FljmYU5YnjxkcePTXvTV6BpDMqZ5bmt/Ii2Ec9ZXfgqwQV3H3B0LyJb8fyJ/E0pcuZLzSZSS74PXgFndE3rz1yaaxhQYIpXbQ52cfpjq1Pd4OasPI48/JaW6yA5GAGX581uTQcdQ7M0PBBWihoADgjduUOKQgFO9nuNfzG6mYRsB4a3Mat1SZvqnsxlfFU27LDw+73w0eJzZh6rBCf/ZoY4W+UK/4+y29KmsbAiwNRcARlY6o9DjzHfnwcDc/92hLwyB0Cb2wGYUi4X+tUIRlm8sxcFhEGPqw0gERo3aqA1g0qsMuGEKA9mS7jy6qZv8kO9352ZqJ+AOfcltolpVhYTfvTyacRpLmWzpVo38vW4AGwh7NvO28yzvAgpfALX6P202MdDAmq91LoofaYHsbRVIBTor2y77d776fN62lTOWZ5FKopO7Mhe3iJ19L0RW+2kX0b8JSoMt7vmilK5P6Pk3MHuifIjny67K4Mv58c9z50OlwLTH9+ISp5aDNIhD+OkLXJVUeWo9xbUeZQkW+3r6pC/+iEYayAFhs84fwvka7EojAtHPWyHaBx+BMnghMOv1OAg2UyWXZwtUa9iJUh0xo8+/LJGwgjwnTtNaH/UXIjTKblv9Uy8QVjuvWEa2b+7/VQOJfYA5lA6qgIQRM/9iVL2qeenndmosQexnXWg7De/z42sGqWpCjm80ov9rP0lxc2cWZnHRaLihvqvQU1PfVnOj9Ve7L8So7C/xEOdO/iINvsv4xnxVBBHrmsHyW/ZSiCCxOHPLRhiPRTMIYWvzk9/RRp786p8GMaKfQhtpVXrJN6uKppdMiumC+ddxDdi36Bh7J8KGIfuoM27KdMAYV4ROsJKaOs7bfYnKaG8EPgEpzS54XJsVsdQ6Ksy3r2KnVYXY3HKgJjJoUt5/r7ra5l0JuFbTZ7CCr0XldLbmvfc5F570byM/QH1xHlNK2J6M0Mv6tRjTmj9TKoeNYQVDK4JZMmjne7Mv/fBZmhS7ncMLFL4HPH9id7+NbmAL0swf4bsJs2OwpGS9elz/LY332WjuSL6O3lbDEoTZjnF8Jp9AmlJ/dBw+XVTThSYXteJsKZ9mRpMESGUo99FIAchGXY07T7fJg/4EYFBj6CTOQ4vwtnWAN6oNEMe/HITKeQKCQ6aGrvX3l0mu7gO78kRgnwm4U8aVk66vCvVjpyQL2fCiOfNtEoCz61ccf5VgsbZzH5gihsZBaEy1SN0SQp5S/IqKj3ofj0YCTac05oNPXtLUkf/9SeOaVX8EtbsDUZN+ymXaXeVxAqDaIp5rH6AsYVE8M/vTjLnUYN9qHsSVSWGOaaYROuVz0k5oqjfyfDM4PQzfGfJ8Y2PQuDN909WGo2PEI0tj9dqYIzDR/oP+PwtRwfOB8mquOrE/MzBIJlSxJ5/xuHvS0MaDkK8GBjuvODubLk53qLugGu3+xVui5z/Ms8Z4D4VnyH4IFiCVbHoB/KdMvtFMdD9rvGmBBld4bqaHUzu+LGFIfMiiTeUegDSDN1Y4MXm8CEVlWCk/CafH7WO+RpSmirXh5hHW9hHqqZdceQzSvbu1fw+mOTyFg76TSYLa+Ca7+OQCGa8sv2cpkKt3XaODcXuLTMHFNmjR7hL2DTOSaZlIMNVopC8W1mYEjJJDs/8smO9LrhhF2b8SwHeCdnIGuw/vBudSAG0sgAqxn+0bxeMb2kmTNO3MPj3RZJj3TdXB2LmLXAbKsLE6NX0yyWKVuVR6ckt8avetqk09PQnK/BZLvVuWSQAXgqGnkQOGpLPcc3oHqawPNHonfcl5bGtkRBEVkW7co/JZRYiqcOi/vm4LZY4MBwDSfQaoxnABXr35+SdsSvSXWlWR2gPwBVKxtoBEyZawbdS6Rryqd4lyV0rhG2fmKyk7Iw91hMT7SvvSnGK+1rVu4LJn07PLLo/mZsZB2WgytIVDQtKZZRaXUQnR0gCyxrxDDm5gPa8Jzmdst2x9QV4doTl0mAi7H/h8EhbQkKUfc5rJ4MWzbW+LPHbZEETYrDsYzLEPTEiLXs7tvAc2pLRy91Lfo2eGlPnJk9hLmHZTnNPkkoOMSDwv+BVZAlZaKmz2zrTwIbj5y8N4qRvjSe3SNc/NMG4feZ1WnaqsRUITewtBnh0cRJk2ZBKTnJQijllCHDeMjJhPEyerCMR3LJ0AOwovQfn5UYgITYY3SZeHE9WSScoakEopTWPzJpu9LY4pugIe45/PaWGzddKFdepTlnDmlX14Wbgpusca7Mu7Bs+dyXEnt3R7K5N9xxxNt6s5re8DdgAhK/hViVZFakKSyhny/N2DuQFshbPK9VpME5swZ6NpXzahnxFOMYa9KFtb3SJyfuXO7v31nbKHjM5+85UNpFkrSiGFduj8uX3a/EONbPMJ5ij0hOEh3SULT1c4i36TuYWQvfjy9LP+fqzr7VCLJmFpsbZVkJhpe6MVxWsmesC3YAWIjr7k+4DhuJwPi7E49jbzFhlKfWRV3q9sO8SSGkRoR3A1fQAP4h4VNQUpKa4V5xOle9VgPwv+CWLykYuGQyA5coqS0dfTY31hD1hjihT9vYA/t7IuOy2NpiXhVreneXny/ua4fDZUzfdw2nNwTjmHCmlt33m7zUobRiWo8f9HbFNz8uZ/LI/FMUAcS2pJYjvV/hhU8gxFTntngCIm/xHxWx+X8TAOrhBVW5LIpahmwreP2NPMRVsu0oACizxh7EzomVi/m/eybM0PMWfQbZLBbLKtI92RPuX8gFZ+p8NqOYPUTdzjam13IVdWnhdmpAI7wGUfKYOWPd6HGKWh5pF7SGwin4ogOEWQSddUchTQme8p/yCOyWgu9z+624GCj1OQYLfI0MCBqsi+4wU9RXxce1O6Ms12mJvcj8zQ+SWAnQlCONyAuL7xb2EmJtBVddPu2mUmZEwAUAdCqvvAB+utiXutaFMywk7YOMCg/K+WvWGHtNLgP7Fr3o0Bbi2IpNB+tAcUl17u4KtpuorWJJZBrger2/HoRXVL5JoSWoJLYnp4JCyL5lTJ9qEbu3SA2XKiBMW/xRDxzBFLlWqqWOqepx02xioHyK/jElZGbeQC2GTb15GOetRPzFpF6IYhf/6uDrWjOn5uGAa9Abub2Jwp53vr1jXA0YPLMU/A39sBeUS99MolJOjevjjW14JmkWoESr+DsFcG7eo0omsXh4la9uwnJUMmjUAbHwiKoL+B2OLJfrefgelunPKgxvFqy6qShE1gUpabbWfWGYTltPadvZ8Z33FSDl1WVJmOS0ZOIglciQu+fiErK2XRI7+h7SLHpGP6LjYOIdl+fLIxz7zg8OMgbSqfxRtSNWTSCcIISYdGREcSsbo9w6Kojyfd/swDwspa9neQHPwxF31KNmvfhmY/RU9hYNjUwKK5/N3BKmBM10lr0UvnoQ3cNDi0oIcBEGycucup/cpcdK+WQ1fBo6O7EeSpDYbrloqxWJ5Y93DPvlddKg39YMGecdbh5VHUREM9Ql9Xub+Zh/Labh+/OKGXQQxjKjEDKz3EH6gVuoYTPsKa43fntP6RkozxE3Okxy1ztO0mMFhrTCJeV85YO0sB4qhzk+cJwduoCG6r/kpWDlr4J/cMajG+LdYorwGhi+xeeUElW5QuhVVVLlwiEHM6tV0zcmbfBK8OqYboPLXBzF52Po6V38lph4JdbhxVoKTdSNwJfBzwU4E61I2zwxa/O1H3ihW/VP/lUOfPX6Jp/9lmZniHKebZxD6ylW5MAKk57cPY7Vbyp/4jkGfs1a2tgvCgMaChDCKyVYLoZIsivfCWcTqQ+L3zRfMfyMT09O9crJHhTO+RwQ4q0Q6YbFJzyl57P5HhCiKkZKXTXtmMFRd/JAGqVkBqkLhc4wLQL2hJ5bhfDpSEk91Af6J2mcujVlSzqMaY9WlT7hZKEsJSuIymtKkFv5JvhmjAIke1YRXFUUGOFURe9izwcmGfJkMTTxz7FsQlAk4d0LzL5QqEvMztotHq9xAKcrryNTOgUnnRmhWRibQo1rIPrd7BzE74CU2JqGdwJJJHXiXXifr3lffTEof0fs5zS0OTsGL3NlbwJGL8lqhfXhJs5AfIGOqrRC9j7XboBCx4phI6no+pnTepd7LLpDjxccg2BQGVVDx9AIoVa0lNIfSC8GGNId9W5ghmF26KrL+Pdp3GUDrJ/fxad36ls/8HG6qSPUKsCki6t9iMZzk0yzsUNWfCNv1drIQg0LIlyJZ+F0leWzgerd2B/Sho+RR7RwLg0dxm3eolWJLuX8Jz4kDd4w5Yd9ZeE69ywmkwne8t5Eyctdvx5LMVrmVIZ+j+Jn7s4TqbTyyM+YrCeIAb9Ho5/pc2qC8rF70l7UfRF9/c0BDgGml0ekfPVz0I3phsXgmRt1KJpkJhdvQkHl5NVw4H9HtlEdTG6UGqchlnh2Dfl7aBisFPWKFyCXFfwlM8odL/FHPwXB9jcuJwseks85+hgj45M3Blh916G5WVquH5+iH61JyXs9GghJCRNClv3mvmGCHT3yD3EANtOEbc+7J7rlkI6Q6VdRphBpQ09eG03EQ2kccG4le9xVB8NfFXMbXay4+bWwtz8szbr4xpuAfM03RWcb6VVuB+7XSpxmaQh8GDt1YpYMsWIvJOEL5cyxkzgFYs2x64yU9ud97uSDHeZQMsm/IPF4rkIkQ1Cxws8Dv996MlZ+PpmPMBwIArN4nnbFFF9JDRDeajCnlXsjApuhnQL/QlJhlCCwt93fBRLqvpinmwvAL08FNrQ9Iqnt1/+dwCJSZrR7FIxIy6FcpRXdjaqCLknieuyDT25AB+JNQafQeBdAJolJDmj7D2SC3J4rcg5pDjMfHKbtBzMIija/9cRlaN4CYUoXF9C9KF35XXDKghibtT5RyKgU1odiY2BWYSd0Ppe1gt2vNBmpmQKviXexbJH3K5PqMblU9f9gjV7rRFjJ77bhr0T4oaBDYxRKBozvEUD13LySqNEpE0ey++ZYeZjrWaG0yRO6GMCag2wvsmRUvAXA/cOXhv7w69y3wV9u95SAtz8tQYSoYopU4UXJTp6XX1lLwpNXL5/1RmMXya/y7POtFABXvi6kK17hGJZFUQ+J1MgcaIdNqUPUXycLG/b9KNUlCH4SAeBQVdbytpXr5x3BPwogFD0wAPVRF5WY5+2lQkCrZL+E814cgEWUOZ1s/COsRrDnNG46q6NAHfSL2WKmeyB1TvJkLcDeT5l/t96fi/7JZBYfMBoBUEwXjIcLjW8nG0wiRqkCb9U7+NChrAIZrUWBX30qelVOX97OfqttCGhUVJn3t4+yREUfCU3f87OB3JcX7qERhdiny+qHwNEYbH/QuthRIkRVv9Thww1PaUnHm4CBzBP0+h17F7nWfeOwzdw2j2uEsLOFSPRpFT6ApxTtVYWK1QFHeLOVpjo5iXmHasHyvawiQy2+/U/YZ1WoK+UAVtR/LKTP0H8Ef4NhpB9kanwo2o46iNnTH8oIhpInHtPoGIdeKi7OGrhXlsql8HEeVqYWDts7UKCvLr+O5Xdu2sg/4++67OvxbGRFwngmlITYpX/MkskvrjyI1De2Bav6J7bBlxhIsHMjWKs/HRGeR4iplcJwMbHxNL/KkSK0kxKhkb17RyjzkQENT/D/iS2mNDSU5GhTb/sT6gK06p8hqIzJ32xMRHLSC6XDalVF/AAn/3hjAEmPCC5guiqG3UZGi8LhB8t4l2KyH1J2FQpWrEFmUsJ92IQCjMdG0ZZgx/anp2tUpnnP4SPOb7o8X1mKCd02E8B3h5h6JixJjrz/9uBDg3LDW694pvRDtlbLjto9y1yjVnQXkzv025QJ19cFa7mucDALZNBKaW3Dv2u3A3sl7R7tOsM/T2JSD0eOj6kdRq0asI+MPl5mOB9gX7iQ+JfFvewRvA1ePeBeGb0yr9HmtTVudJbnzvnR0SpEwE/wGaVhV2gAe9H+i6thdeO+Hh7E0YS3ZR3uhr2sw/2sqtveDknHxS8sjsxxAU/L0/0rDuu3rHSgXzmnyrdmH/v+2vVp87wPVwOx4YGXzzujlgXl69AyUNI6uzOPmEyVHUcMYEd4zdA/HLKEq/PgCxNy43BEueAmEd1Tgwxx6wJ4rscsVHc9DL5P74AOQLMWttpNMEEop7a7A2d7HIXaTkG1kVqzueLEH1ebUpBWlGh/3ALMVTR7gflwAvY6Jg4tUjV1tJHCA96yk8rzgvGIkyW6jaLe+CKDWADNTRLagI/U8KAbdK0dpbyQWUXtKjt9rXmiuvOBE1DOnPW8UnPQLhBHJajY/3zPoQknatnn+xhIFmj1BpjN9uVg5HBVe4w8ZbbXGQnRrirRVvWn6pdZ9MJmJkJnuRsivN3roOGdA/00EvrZ5MmkmDAntbHViVwKfY6YtfIjSnRzlAgDL43zq2ygk36m+GBIgibXP9WDhvhblK/bUTtBtSMs5N2mJHGqwfONfZ9dFZ1sR5iIrBduFHAAk5RiPz9NrkPK4cC6wMHTUCdBkUrW5Z8MZiAMY+rSjiu2iEJjWHanOhQcUaYbLdhVvOmMpjq1lWDR3BJ8KkYg07HHw17HV6QoXY4jNX+3zUpMuG/nU8mfAU6W8VMYVpmMP75Aeg4zLdmUdDUsrgSIMfbx3jWV/m8Z2mx1RrE1tqc1YVlIlKRGCf/ClD3FsVWZ3pwp45AXQOFHGELnBqmOjrg84Ev04WcVdK7AyHhBk4+2dOiArz6eupTWr38WEKiUYZzLNFjv0uPunknZt1iBIDdRfuF9c3tIm8hJiVEeqElaCEJy5qenbfAycwaGvXsifzU8W0uNMxWM8sPaqP/wlSYxLUoQGxIafnmDX7gc9GhcCkm96bojZFJPnT6uaoWzi+gjM8E/3sL4u0jDxdSAUJzJz7JXRTkkMWDdyJwbgfaVBFWfX01igL6RnJQ0p2/Tt2da/59O2m2plAKfj2iuVGd1R/9MEuTEiPkDBpzxUu+aVKsrfwiwOuSiBRtO/8lZh/1RScC0PZ+muFCfaERBwwlKjjr6xMrM/TJgmPjCt7IZHxZXYpx2tvn9OpW8XJTCq4iiWySXIdy/2bfCJifHvDsp1flmoi1Ri5cXwHpxjB8ckvjvbHrl0Dvo2BdgleOFzCIXPkR35fTuGPMDF+raIHVRklu0lBzMuVrbeNNmQhkSl0uLTFGfWR7wzrWJvRNCb1KsSlvgQquJlFXRudtIir5xc5jXhz0pncN6+1KyMkiEA8JbRT8UjsvoPtUaqai3JBbjckPm9fLEGn/6WkwN1oRIpojrKE/2ze0JGmpnx2tvCpGjzTmdiHodatnK9JfNgmQwBKmHHg0ddGS6OYndzoRj0orSxMhYuvQ8sehXeZ4yI1ozEwZgRUp+eIC0pgqGQ5uleM4pABVbtS33ID1+wAG/C3Dm3iPIZhgvU6uQ7Bo/0UPudXLkl+66n+ZIr/A7xuBw/O2e/OP1/LH9o3n9iks4Xkn61HZ4VLQxGO1xmLr8EithMbzZgVBi2wlK3JoFrta3O7HTnsaRJFQMre3Fn9v7kWvhalBBa/wPpYMg5w4yFxHU5Mmqyn/kjukPKddMA8wEm535UzrkF0wTiZ2mJcrso6vuTPhF2BCfGA9NHMNsIzu46P2+FHWgzBfckh3SUwJoRExHLwQ1B0SlecCioArRj10lwC3jgCz0mO2IelIRwdoH5Xv7NQewilnRYHSQq4+KjSZhK2BNL5p0UmLErXLjn1wI9/McSlKCh2fMJa6IoGDP9BnJxBuTUxOPxyAKYCevwIpYEy7hMbpqThOQ8WwBUEgBGlnf1dl7u2rsB7b/2COJUFVv2h+Bzb9QRQwNrOci5O/MC6wxj/9wUe2jtbRHb4Jswajp3CkCaQRkwj++ta+8cqjxhuMbor1GRRavATRnILoqmxMCwZUFtU3sLAq7yzv9luYpVVd9p38rBTFONfuYQipZXKKVXvhfaQPYjc1fFstSBvGv3dY6ej40k5dQ2wvn6Q5FI/cqJUzfnI47JIVp6SvapkACEGivmOiOL26mjG9yLyV6xkuicsE5PqVh9qH9yw+cVhcnc+8comMK4YmNFhKnrfZ0kDdXW9dwv8L/EaXIocBG4oqAr9g5kUIA8EJkt2w6iT8K6n+JfnLRBC20jnr22k1k8OG3uLXQWYjI4kDohKQdrnTsfaTbM8Y9mAS90IxMUOd+f503pdjwpFsYPglaOP4CWpqPnBb3khXD7U2JCG2XF4I4wP3ekL2AAFXiRf6kyOTIPc5XmhHijHXPgbZGVfXkfvH+C4dBpgEquWJAeVggYHAph7rGoLXRVOjcSAKSgrlNlbhMDF5fQFqXW0u70Leiy0rFfUfGJntAZRlZqzZTbw3NskW+CA7vJK54CvbvRc8Zp6dQOCp/PSaFsB3czLNo6zog6SaCt3gh6nTNrT8quXgs9u0WUeBxFBA95tCTxT5LZCr621ecSljdJLKYsOhoE+7rmTSGsJ+E2ZCLQxMV9wnq3VAg1TAFZrHjbeN7u7xHunLUaj+ruVY9jFKzrnmC0rVANSkl1g4blggcaWLlB4XBOKv7yB5ONXzg8NIljzyLzBwLuVZhbhRVHlFzUMCjWwboAUVEzFyQ4B/zuOgV6DdB0FqTeHr3fNsoGszsfDo7TPLRb2bdm+MmA40QW/ueEbd+yrFxgvjfH0DlHNAdZpDQ8IjOg5k8lLBsMtAgDUVUUUwDmPZM/lXUpz10tdX6Lp6Z/sOeh1P+O12A0ghoOlUL9XtCmvAeToGCvUQqf8ivBS9N50mww5bJY5A/iRRHV2+0SZ61T0ehJ3v7m0L5K6ZwVHLmoDOp5txg2szgldz2/hzO2BiPBbB9rzhMt2+4pMMS6CylkUXcGIghFo0OCVarIp87VU/h0YhexlPjJ1+JWzKeScahp6f5eJBQ1FATJQz40McQl6UtooeoZLDIs9s7CV7QioaWsVw/nIJQynZsCmJJNJ9yUkXjk6j73UaMx/gBgBlKeQmE2e4nk5K2scyVlfmGR5dJrW17cWiel3cjSpjtO+N7wxuB04dOVFZENpxXsIXAZDJjw8uzF0z2TU+Lhwla6I+D5jLXF1AKyqqTI2yZB1/UGu22OXlA+uBH7pVcJqagqTCihfFh+K6HkLrFySLv6kZXgFjjaaLXXD8bkijpH7RLL8z71WHgFoxuD5oWkrPw/y5y71Bs9jrItlV+k/kTdHxxnh2eHfJQfj7VBalU3cTZFoTNwWSn2n+rvzRvCXdoZ/IkA8FOF7YHTt8z1L2PB7+byDN585/ZLneKgnx1zfuWwGM2CvjJ0cUUKUH+dXXoIlBnHfmC66WXRldtCOaBr3Als5t9nh3eVcKDIO/uWdDOrfTmNLf5YC28IDnQn9NT82IjMYFPSmbXDpP4gnOTaBq8ROffYByLcn6xhpF1btXd3fqdHupEetV5GNN9Fk+qqrAlu0580CgE8L9r4xntN5DxXjlfrTKJa/GbOkjCeO4ZIs+5R6vkXrG9uSL18l6Z88nlYBovdJ7wiIcLNbRau7D7x6hKpSLJJRbJsAlt4SzuOvQO2tOZ3gVtIeqQBFR6p/ouK3N1d4ru/QKu6JwkkNZDqTpd7LZn+ADDU/Y7wV81YXSU0oLdu3c8zUCOGjFSnpHp4lAp76T7ZJ5xSu5SxBrDryWwm8Ps693SSoyrmcZW28pSVxT/4UXzk8mTBVSS8z7e11a7lPG1cBGbkf6OCaK1xFuWg+xxDy4RfZNBbfaYgXDYOwLFSeUB0SoblgEOT5/Cj2lLOUzUs1K0Z4EZDIg4/eCx/eCoh/T55u3jwV0NQl/wVxYyZLKc/UguNHVBXX3CFSn50BUQQ0dV/OjNhTOYtYQf1OpPuqWW6H1FSnnblQMIUwKSftUXBOsRN9k/WWDTDZxaN869ZIqv7b5Y9RIGjiozizSUqnqziUfn8JLeXZ9nL9nivcc8AqOjq92bkJuy8fOQFeqbQfXxAgHjA9u/T/ZerJQnwpmXQJeKsvmWHeNSbdsC62Nr0O0vZCPbwfMpzJ9J5w+Khk1nTCzdR0tjg8N/iBSfRzdh61sTRUgmY8JSXcp/Y4B3uOA6uMraWlEMDBloaFMyTSMUZX2OZk53Q4AT2p7m8t+WjmWzQQ65o7qAn+PiAjsvqN8vsNwwuHOUpdljG3cbJT5cmtSN6o+LX/sTkuCn7JnnXa0GvWdVPvDQnqw98VW1ememMLQZAZJrMosJlhdYluK2JuxMp+YEW7ZKeImkeUCCvDD6GeWGA7TtOMbWBHkX1KykcK8JvDZo/tdCnZ7mDv74/HwEuv4SYxlpz+S9/E6ZzfvYervPjuQ55yGHvVGupzmnnSiIaaMzZfb3EN1mNO2grka/Tfb6MZuLzm5vFL75qm9ZvTXxArP17g0a2IB/+2R46OsUDtPtrfzm4jgy5t79gZODImDOS6zqzadgyjDK7oSpgymcfv2Ub71XiZUQ5ZBvl3oTXmw+bxmKjC2uQE6obhwleRE+aU1P5bFLRMgfl2/xWx9Zcf3mJy5GFxCUhee1BpaDoVAv4Ycev8CLLc+Z9RXvZP3GJcKHJZaGwarlcm22JACowj5Q6i4nLwE6puqT3QyQtfpxQaH6JVJ5vkLpbWYo0AOM630q3Jeh9v5BYjJEC9FMBaJcW+n/60Us1/FILhz4kJLNbExm7YhVc1cQHpSPO4j0DtQZx71i1OzIXjs/Ln81W38lHgif7LshMQsQkre1F3WHcKboLGHPd7PWDBo6B5XUp4xIcX9HzgYAfJbYD9g6gxa3STRAP9CbL3pGQmSXcdGzmPrVDL72lIaCnss28XzbpjeF/ogHifuD8irRkho/HkTgx0OXIDaIv/EINTdrrQRbvAGBiLN0e9NwmxFSX38slBn3TtUQY+BNFMhevq71aUeJpCi/XDObK+nhYIYm53hAg6/YD9SAellP0gjbSb5lBkxgi9X3BVxGN6lsFucAwG6FcUr+edZg3vDtXrZeo1wh97ci0GZLp4a9KyYDdxM32/qFdv21ak+X3dhAWPtUptbNpm1+tmeDy/gq3siEZkVBJJ4jgvgZTIb/aGjRAbCERZ8LsZi8UF3FwlnY7uWppuuGmbIzmvC9Zd6FzHBkY3ep2eeEsFzqcni2/fO8ob4UF5ccxFgMj3irBZ2Bply5HQGB7SOf+kqjwWb1btKEyhh8i2/3xLpXb6bNvhSLIrTzzlYDRwVM9FrbRS7lJBrJkeZox6myFunTYMK6giMeRBHsVQ1FU/Zo3O/u9b4UiLwAWRRqXPB3wVoxTMvtWENMZWKWetrPkVZZTcMfcifCCq3EnrlKFGZCuI5V6YfmilyaNasJjttzQ+da1mKzZl/Z09qniUwIodUeet6GlnplwTo3fKYiePC2r+H70vorqEuXkGNVdyLVTIIo9oYXC+3ef7smntCUGSm8m3rCEmoP9ShiED8IAvpkefEAHsd6YH8AoevxY9dQ831ZaxJXLF2UeeTVLf8RRC/Jh8dDkHz8asnCyniC5VZwWTyy5qaeESIOgdzbrEtNvidN1mGh8n6+tLxxSCRUqzc0cDJAwGFLqROom+oJCsMG0xwfvdz8MmSnnjj3iG75ZN7D4ZEmwX4W6QCkLucq4hzRzI6QSHuldeCv3y0biJghhNcnyadhosZAPkHedEC+o9cGbh2zTE18qkf5/4Hl70rFZQZagH96AEoKXifkAV9si8UFq6+1qC4sMZMsxRex7pyAF57lqVykRlOjR3iw+LdAJ8XF5CBn0dn6jxvJKH7pZlkk/acvG7ySaY9ZOmx4DNtAzUfVlpEPKdGHybaVWBSjw5ZBPEwgtSiH4ILs8WhBYndNhQVhdfF6JctFkMY5z8KCf+fST5uQKrttKBxDoZp0EfY/kcglfAflArje6GkeS88c+k4VsDCzRF5vPad46u2C5X/feIcGOFDHMsbos2BPowAUFm1rlgmiRBtsLytzlK4UgxebEg4qjQacmukSD8oOYKl4Ddif7QxZcKo3IQlNjYDb3We4TO37AdovwuIZfW9coGHnXHTzD7ye4J4HNVd4kWqxRqa+4sFcMZNYSLM7g935qDUkXz7g+pmXBrZkPaE23GAtGv/yRUdv5vQwhX6Sfz4Ql+Oz9NJ/cty3yTxWbprZb/TLaZvksHmr3HRuVtJN5IvS+eKj5tzyF7PeBEv/XF+ubU2Oak5yeP1IqjZPKRgYXv2ByqvLS1MdEgnRN0PUhwknZVxviYJJBRbAfEfnd5sT1zMpjuUcvoFH2H0igz6koLLBmFSP4vgidZsX7/6y6rOVC6qc08i5idvPH1kMjlnLWgDZHH6wbberMYwlrVZTNOqPFTWOk/YhOZGnk6lwx/Bs7vZNsiCJM7LFstY1ewvIaHnY5rBN6uBELKm1gta874YE+DyeuR23lSh1lv3zIy0q/LCpHSB1W1DW4Md3UWdIxqW4jJZWLKDuLwdGknK7hZ9iki68znIw/Xviszrh+YrMyA6Cj5zXlfkDON3Q0F0p8NKRANzzYydKYyTJeiA9PjbCCjW2zJcyHNjt6QujjbCUDlZM7UIchKrn649Ro6FJCfa1GB8UohSU6C7sRSoJfszNDntWU/QqJSr7nn+0ZXTZVUEGSLvqxAI7JYPHvGAffY26UZ3ldEHbaQ72Vl9TdtGEm2sJrlHNVVetD1A55RZWBi6zQkswnunJ6xYV5+D7kbtGLPloObyCRnx+NsPs0lp2nlo2KkjdzcH4tjMgbLOhoMspkFv/y3cWNDtvYi5tn97udBuF03DMhlyK5ejL4SlLbEbrssMZibmP37v3eypRL48kLtmpgoEj7y03DYbN/ozJ9ZS9aMge/cDGpB+nRuPlCstvIm91N4d8fh817GauXNflVPonJ6R1OCvZr8hFQmLzDFAKNCoVW/qtOT5qufpd6DO/uUslP3Y0AYScChvKXZ9ZfYgMf7/RX8F8XcdnXB4m0dV1WZPqSSm1h3RgCHQTMgGI8B76SpdLcsXrbW956BfXF+4mxgtj0C68JCD+x1ptpa1wHM6kIFyU1FzJPDSFjBCpQlc6q+GB2mW6rtzOQLlGhY6iAtzi3gBnNuOdcJUyLdd1oJWU29stgo7zMwHXXoDOPJoxhL90/qOFMb5FOnCXShTbp0JvHPbantB6qN1igSaM63AhhcxvyNq5L75wPhbvOs+1OQQ4Fy8sdWkegNwExVXXzXZi3axl2flZiEqw62AaxyCJAeZH2jMDX4f2JcKzmM2exrqs/uLBqySVR67ZNJ6cVMLRs/rz8c0ccNSr0JMV+jvEmEMwh3SzS7y28R6tSpJC8/KFBOZ5J10vI3tAD7JnRzjDCcJlWOAxHtxnjYeeXYBUxC9PKjD0ieL8kTRJ/w+tOYVgiJSK4FuGcl/O/a/A/zMGDJN39UFNXTHAYCSh8jfgp1SZ2+JUY1nt0kquPShfMSdJJVtku828ju6HUO1mkGKLCuBhrSJfcxai8kPtp3ZFRFZ2NA9QQw1esOJXIXY6ktJenZj0TPHqcLM49OL2lwc/oT1oVTZe4fPMh/juVQJYl1jiGKKwQlzE/I8DyED8KwR6uSnSjr5wZQaLGjliv9DY4m91pHlQKXcybGRIfGplNTXOXMZZLdXsAuKD012ZS3H3+8+A0HoVKoQvT/cnNRwp5JJ2ZjASp2AlvlsKBNJ68YKnjCgF0jdtT0HZGYCtiWJ/5RuBy+ck3SZ/XeM7yFtwb3dEzfzzt9vKF0BZQqPmcFwJAkqHpiic/gixefKNGLCWKhqN5E8rfSSgwHV40B6U87oNHJgCeNlqL9IBypBEJPAUO6/nCdd1DG8gfrrvbZuZye177g9Hb/jT7Z2msXf5nV0AvFYRlk0F1Zf5/NUv9FuVYOxKgfQz8DlnQhfPVNhosbAujqrf4f6WG6gc+Ii8DU/cZkvIiLMpKVZ7u1nq3M94EuGLUEZ0P+zVR7dOpCs/NKyWDF7OOShz6NlQQBXmxE81n3wrJ16ao4HG8acHBAm1e6A6xaFD2C96vYkfevk1DHtaG257N0UDa1IPlX90ynJwO47GAk14Go5LlmjWNFPBb5BT6Q49rsRSAJ5CqOSHa4eFfqIjWBB3ynxdCUO59iRxh8v3NVpzyUPBVArrCjlGt0OgdASP6xpKbDBPkSkFo4xb35sBtqgQfK9qaYDglgipZW9hwRiv6CivCd2rTE4lsGYg+XimdlJ8U90uDj/lPn1L2+VytgqV+XUc4m3XPQJWiwZ0BFdzrz9XFcT1UrkFaR2LHq7CLVnmIFr9vVYhO86i4ZisxZE1D9TFt7F85n60Ay19QMzYCc8kq7eIG69JUHGo0nvEoYRTAj598aPpLKFRFUARQB5ThX4cnKp4iON5Jsq+YDsqzLZ70AyBcN9T8Y4BGCkrpr+FMHqfGxjOJSpvmoIiC7+IE9Xqf944SnPENg4pSxbormfcDWIwpk/Sthk+tyv9qkt+Ari/cT5DjoP1EHeNPQjhlQ26wbxRc3jPAsCL1muTkxrO6AB7hopRnEER3u8phjWY4wMACwMbgHhp6nHHll1beiNjWtQHUiOGvzEZK8l4nD8DrzKpTH4hK3FJijzBOnRDeacO08FosIQk3+QMRV/ao19EnyyT4ReC7Vi9OSN9S4DnRclvW53ay+13IkSjJIlnpmLo8VHIg4BccoVAVO04m6L/9FauQE1oWBXG3wMG948J0OGZESUSXg2hgWdsoE/SBFhfrIQZO65TzEnrBALF6QXk5pGkmae72sDWLSn9+GESjhuXlzHvhyQkAuPvKLQ05IAuO9uVtSpa89t2SBdRBbbDAkZ1mhLAWDDzkpVAhnyK8rpTlfm/MnseDnAoQPskNeNn76TFO9zPfyXL+FuSE9ALqdnwc5Zt3yqUTIkRXZ04rDTXRDrGeSkidNfZtqMVhQcpeWNpxJjsRr24tCxaw8IiEEGJlDipD7RqvQLcBFhQKBqq1BgBM4PnH02Q9Od1wgwvlrTn+5D1wvotfq6WNBX/oy5wlbNPw7bQY263IEguVj09fwdNqijBp9TjKe8zB7r213TXXxe2+vc2PzzIR+6AL1Onk09nPqUfZuGHZfzLyA4T6Rdj7y7a2hvcJSZlJDuTOWGnEx8TnlRF14TdGJaAWqzkgsOXv5wQ3WIFRdBYcTcg5rKWGfvi4KQyJWSYOwQpD0SeO/eqy7bFYfZIakt5g8CJsvZRJ4YRHJ7VNjvdBmjtorw/6T9Iu18dNjkz5/M0FwlgYgCos3FlIfNqazckd6kDwjLb4z9gjlXgmpvG2P1qBWO0CzovVNONNj20Rkrr8tYoG0a4VH6MZ8bXoysN4DmiHoI1BtFI8eX0wDwUhhAASIMvp7NAU9tQwG/PdrdQ28plW580wzRaj0PRmGX56pQTQgHS7DH/YEb4Ou2kqzSv8Zj1Z64F5uX6LtOIAB1rWC0zQKHRHyjNjYzvpsiSuzlwlSoGkJlFbJPmlguCLO/ShJsF2ULlMNEMu2x5u1H7eLfejeYRHIqSlPw6ugWIwM5OvX5ehScDodtNMqzl+aw5lUPWtyZW27QsyW6+09tdSJhj3twgT4+WyGSe+6y0S5bH8nu/dWeVUfVLhU8stX5Dq8+Br5DgESP8GwqHOJf6mo3kGMxK8y02Mvh3Qs2sXYip7akgSMbf/diQFmWIDLDl2CZdeIjxbaT07w76wzeHaexxg/fkWWxiwMaRAvI7oVugHKy7tkCNzWS2/h7Nf9H71kpPmo47xthJ7QfWzzBHoGycplydUsi+ikmR6CQskucGdfrsS2K6C9Qfg0vFbOkqGactpRFg7PK6dpgbtCTzU+KmOPD6z+bZY1ntdyGSmvVg+0FwM/r+RKK96OIqyJ6iCcBXQsZ53fQdvKoicmdZp+Zy2Mg+GzTwglhJpb5jN8hfQrBKJWpTEQM6eBYp5Q/9QbSY5Ga/ZkLcpACC0c9KiLDt8BVJqRh4uFyNVBUpKbJhht7LirtBjfiIp57dPeY1WhKLjoqoQfG3RDTv1WzXs7fa9SzBdrK6niV52CHTaUifoKXXQd+8iEuQYnAcKBD3f7jfWHIdxBPgoTNN1uBES1H0lGAc9tbvSl/EgwpKoTHJMqBAMPDlPz+cNn2WvEgeck3WOvf70zCYesNNv0MlGGvoL9/8K/bXMEQ76/B+wugJWD3nc+f68f2K9u08MZuilA1Up363/H+J4NGaFpBdleQjK0W3qsDk0FcX3IAAs2eTr9Qr1uC4SL8RwhnEkRRB6ZmOVXNmU/1EqqBcRaX7KFo4n3ReKSBgwVLRDb+H/HnjCE1R6RwdlCa2OKtpjxfeqWWuBEkKd/NcuiDhqB6EPZCddy0Gd2ca0PmG+3n7xRtIwY5rWVr7wU+QqPkLQ/9gORfn+JjbSJCnuVTzDxs/IzQAoTWGtneJzvHKeEF2sdvKBhyHH4aAPz/8+Nz4f7y5W+ATPdj+zmKr93n9D6iGi7rEOCesMn9LXEkDpjrE09T5gpX9Pml380WYRaFt9sY/LJxYDibK1/o62Y9LlQgOB6PVOL/sUfL+r+Z7s4RNsPZACk9GXvaVMZEZfviuOdM1PX/oEcqPJptYLq+E4jFA85pWQzxexhJ0sX8LY8j4flm+k4be6BnATzX8bSm6qYgR9Q0T1rsXk/sWq9ejBufBvprbqSQ3UPh+JPu3bqpPsHmSziLSArH6fMKHkRgWiqx7PI7DVM89fgdk4eic1/0VOP9aHgPAXAdcGIIa3hptuh5XZAtM87wFkiWeZLSg7lEut91fQ3ftsQ4tnnj4sSqXHVY/2fdJ/LSt5f9586e/yBPl/d/6TB+cjWFV1IsTSb7zRf7EQ2Hc0yYwsp1CMJV6A4TEqqyWrFVCFbzZmKLFqdK2EYwd7oAxLbYnpigq7PZBFpquhF4+lyYab1UOvgvcoUpCFZaRVuSZlMsz+1Doo3ucZNAireoBtAszcJUyH16Y7XlYE/wfNRel2zCPfZhU4rv5M7ZeKj7WOaSQ44g/tjDUJr/DvQ1YIG0utVLD21jn2DT9N2BvFYJX5/5wW4CIyMpiw9/NxvM1cTdEecdcKA0Fkv8P4qyI1mNvCyz/Tt8U6DKw+/t5Z9s2G3sWEHnCftVWSIvY+S4EHnsDGh/nCFZkkf9pTJ/YoedJUTS8J4U8fFZ+YpDl/4QbMljuAH1JcyFqE/RJnowXQNEpPLkk/V0RTGxs4ut884Apek/HhlOeEW1LYU3Iz+eixlhqGSMUIXYPx0HbpNzg6PT/zn4NXQ+zzEpfPz8cv+WViDxbBrycG3v0MUop3eN1Jsi8yZzFQ8LcKoLqXDsowuT8fz/4CDHtt8CUzj0oOVedL5XByF3f/C4ZzQ0twgDUqGorBeQ+h8ctqhODxsOAn69/JT9iuoWaU5VjoxZ2u8ItiaPhTkgBEUKSWSJJ37EIC/5BUhsLsnQyajVsx4cnRadyW9N1TgBsToX1levQzwjjSsM/IPnxjG8Ehz3S2A1ZYsAiM7gkNS41ss8ajJnHpU6xJs/A4iNCPSnSE21m4btpGz7L85w2U4mub4PeL1hKwAoEb7EnjPrMmgKMauwnunPkIwBriwtc2Umz8skfhC1M60bvkBMo7jfYhin7HAdiFYePPPXYaupgcZ1J/xxWi0bZSaDmGucaWdLn7+iqgIQ7/dUW3r8CG6DqKaA4NnrRUKE7MjxRyb9nWrdC8fi0pTIaFMbmWLBPFKh8vismFVt7lAi4KjIogY8xcFNgv/K+vLmDVTkvA9DeuCnGA7kE+fScffRRdLOct/HkaAhbJOOpRvWJLrdztuXgm/shUyjiv3AMH5pgMv9G5XLA1TBbT9v3Fr2hffo3j1IJtjb0YcCkmyhOUieYlWKKqbfrJF0CgWKU0ape7vtAsM5VCXuopFEnkA6P7NoOqjHDG4NP2Dr1kUSCzoL1lcegFozmRbE2VukCf4//WlnpVDggY3RcK4sTiZNrpXrjCXMQy2HaDomxJCIHq3yF+WdBR4HgReEHo8f96LSm/IEJzdmB0ClW+2QE/L16TWXuWkaifSCpy3RcuEpFYJ/JIeRNNZ7M4X6UM7FI4HOk40HyiKGzNAGiWDqLXwBXhu0mh2oG56PhFLOh3kpNW0kkxuCEGuenIRINrQiHLEhf7SB40brSessnlA7tb1GAD6Uy4q4334AMcX0EsvPWWgWnDFI9Mzk0qi7DEe7kyQNBs+w6OkGMUSorEBovHNJ2xM5PrGznyEqbOsXntwVg8GFDi8+wrIf3dSt7GDQ/N2oyHFUAjQy8FRtovwFIL3W74PUJr4WcrEK+jYWyl4gHbzzbaoK+8FUymrp6Q690qsFwV0IazYlGiMi8nUfK3IELXPfKjdcIalxkf5v78LDHcSpNzPMmRYPrQBXmiJWgA3HO42vyQMN1u4xTyQcLySRjHKdmucPcz9O2uyC6UhnJC5DWWHU4VCJoqIi3FC8K4uKJ8LflwVX9Gg7G/oOyT7HZTJhzmr2spt8OI5vp5tHM8y4bhP2W2VN6WSuKQswH9vkrkLO7JJa1yNCbLmIQgq41CRs6hJa58NQFM00UdKM1gsEQE0fYt4uaXEY6g8dSERVXzcLUy/tk1m2fq2zHBM2QvdloLxj/IcCXzmbH/YDCYa27p+vpj4ig0gm+qpfgVzyk2A5fKK8fmWUyrBnWYOXXFzsJcGKeyTXZIKbDoIT0hTpNORzVQ88QzaYJMZp33IIbz01HU1BrWx2yzB6cNjK1I8ivXhZGOrhYGWEg61MHFUke3TD8Zbk97xVTSpPpBrqFTIz1qChd6KvZ6H6UqM0fdVq/zY/pciH+lx6tVhSUzObggLKg+4uV3W2P6nNEyEzF3Xb3fNAfZVwwBBQX3ZmcMNM03JYutzBt/9pdrr43sFikrf2hHjeFVXC5/Px5O9q9WmgHN56tnZBs5iJIPJPxAJtUhqHY21H12iH/y1sP96g1jCviRbSdAosMqYEyr7W4/PQgDK5GBzidrwqFDVIidz8T/DbqqPYUXQZyz6v+JrWR9my2BMny7EytN2JWC0yUfDurz0glFqxvmF67SE5IJbv/ODkNz+xbGjAV3iKO1uiJ5tUaoPYYq/wRtpwOOpXD4TIZXF9TbJLnnsJ7bx0aa8XNMZb3kWdMJON5npcHbNeTdaNf7Q/iHJx9k9A5uPIcKps+gzFTCzICPPfSvz+q1czGuT7aPFMfR1zPQYDTx3F6IMG9MWCW6yfUiYz2lFyUs78sbaAeElp5OwN+zhdvN6MwCeJRgJbYlXfKUz3ZhdWwtK3uedvyLaRZ/mHWcWkgYVsV8X/lFCGGneTp5hCsUeqpLNqAFF6zDsDE7o0Ss8H1QVIY56x5MeHnN8++dSSYMv3C+s6EBNPqvIu0O+iuYFx5WEtbF8OxZWD9wEiJMcI/ayeijQBNFdZStfcT5q6mRakP3PydNnqXh3f5q+JEuZ0H5WoD6OhhYT6ZkBeimNi48VPtntaAPQMETQjXEr5BO87csT0TQwX64MjR7WHyTQYIucdE8WYOAH5S5DLjMlbANoMwu4YYK9x/yErSeImujYJXW92aQ5ur03inh8GezjK2aZRKxUuGV2hU/aw20jJLEtv5/g5kGnONj6n0puRQ9JVndd6Trj9NDX5Fq7Z2lUWJSIA6g1BTt/2EPwqvLIWVZDK9/vdr1duO3D8LmUJQK2LaRCocqOSxdxgi9eE+WNrYZIRzXddI/XwI6mvuCv63Z/BiI9pa1MxHUJwfSeD2HChtzZrCaxJLi/g9mAXOjM1TQ4tQN8Ba8ZI5YeX252VGRRvhzXY7Ir6O2tAbQGIUN0xlE2b0yBeKSDKb3vkGKHYN51T1OhWcWAcuW/f1LIVhz4apT1ofi3NO79kGfqXdh+4SWgyeGx8G7ve11UwNK5c0eimggT8W88YrlOmRecmQRz62MMqYInNnWWcvyfD5JWwSU5OEzPj8UMH+vo4rfoVdnlTSVaShQuJUzhBNzSLhyYb7pwHst2uVS5knjjFnwuwdoHt92hJSMVIm8ce823Kb/9NVm5IGtzVm9WaCdzSN1p1stVMn6mqZfJjCs93RDJ9SFB+6b0sQF480TPp4oD3njpg8PYaNnW5ZKKn2coVd2P8ecivBXMink8+MK3dOcJivc8SI0NoD5p4OCPU13nEktYDpc4U+Y2wXWfjLKpLm8LL/TSx+80PCrsO9jW6Ph11o3cDCUbUGyFOOYkqOAhgm8yVXa6IGKMKaYjlrtHlGLUGdCUMNDA8UiaaWOLQXh4gd1navghZ5dkIGZYWz9DxtI9gWEnfjywAOm8Jc97cl5aM3tG8zOeIlVOocvPSVtgmJN2PctWhErsStaRYHNxo9ZjCznolxqHno45oLjSxCgZDGes4334OQO/ElMbxz2rcK7vZyptDHv8opG+eGnC6q1lwajSRnN36pCEo4O2eNHQAJ/du/aoZq79jnrFMqJNzDERdpmAhcMnWj9/12pYsL40ss+8sV9GS0ULAcUJ8qerb4CwmXaqsDKhAhQEVdbS9CyDPOTNtfedss9ErXtzAG8ECOXGC0YrlZ6Ao/KNmgIJgymZ9btRhcwMRYjQxRniyo5KQQzTtGl0gAlzjVirfdrbihsEYaH9Lf9K2hY3PbpB5MA2zAgi5IPcuZQsi4C5bna/gIk5lXBWXKcsoGp7MSRdQdur+S6yygkoDH5NOipBAhYnJf6vwZcsfUeX+B04gJ5W6sCVbd5JYWjo5iiJcbwIrfmig2m/NeriuqdPScLPOpIt1fm+fGSCDAV3fbZ9UB/p6pXV/8tShLQ/pqyzrwYP/txHMLGA4A+R5ZOwSEAEbj7tvAGp+a0StL+WH93M87deyUngtp68pI9Mr3F29NyQZqxUzuBGdlFSZP1ODYBeAEDOJK22DjJAlJLtLa2dd8WRDQUENuowMLDicXMC6LeQpEuuw26+nzVAsTPtZPfCKuBdybYRtE4v+PxfK4llix7ttldd6aTxWMAE/a5U+9k08Yl0gVwVOeCo7rFSt71jOJpKkjFXjesOtwWqymsJwiw6T2MS8XHR/SXRQ0ZzP1SEK9oGLX+PHd6i27tR9DAzbZsldcQBjCRv+Hy6hmFHV6aw2/O8qtJritE1ywqgWs2scHnFy+C5igTPJ2tWHmM2piLBLlvyZQdbY2hzA1UaKTns6/9HR+05mZFFJnp/AVIbmnCs+fZOYzi/fMqKU8F5RwBzAFlYuxe/sfrfBQkYNwkBoH7X12TvWRHU5OXccX4oi6SlghqGVDD6TCe6k5eufkJdKu7yj/7BAiNPSttSnSPRVsfbC80RJEzV7lSL7ZZcQqtjxgl3hsZ3cUWzybXBOfh81NDPLnuZyYHjJ6DqN6bNhAwABzHA5f81fLyJr1IeGR3RRtJBMM0NVpVH1I/1t/rCWleKK7UEMZmiQRjbxuVljlf+mWGupypqdep/CFgCN/zk7GUpGrlt0lA8cD/AUWJzov72CgwYsa/qeUPavZ01dvRYJKStZIldnnny/upsDFkJI0XCBybb9uIC6IbPgBdkPO/nvU6wDjThaJFNpoj0M5XyQJ6HYhyGdTlcy0gwK2ov5x6y8P+2X/sy8JOknVUTe6fZP+/rTNc0s4a+UBXjlssLEu3Ba/rS66YkJ2LC5vzUNw0PSLy65PQZIIyzcSRsRgQiJ6mx0juqSmSkReLzxMkGOWDeRcTufk9EJA0RniXfiUj1UQr2WH7tHowQZaIXIZOAAsIJn3Pc7cicaLbcnefjn0Q4LjZadYsLSTo9vrJePFKwDVwt2WCxdhLqULU98eRWp94LUZEdFYfd17UBgpI98WnFwP+b1VpAztD5KG8PIBiFSCm3gsBbScDLEOvzGgMf119FVxTNG/mH/hKh0FpxIgnn7sOnqJn1FzaklbqrYINRLw4rDcDAiNwInhX0aejyqGUFwh4oqOCH+8ZS/pRCJjmYXiwcMZuPVXWtfAkKcgKBEBz/dq832N2cWBJH5IU3iUK0tEMuw80xrueNXq/AZc9+UKncyVnHPNSLcKc+RJTMQAAzc1LEIV06va9OFHMhMwXvSI77Vm8jbUHqjXTebudu7nxP4Qc7C2km1Xa3YcGL/F38T2Udc4OL/BycGzdeaboD8MUGrD1cztYrC1NEnj9G8q+pcYCUBfOuf03q3kgWeBhdUpYfi9QZAQh1ilSeTfCh5HEux+SmLIEE+g2xK/chvZHd4c2V3HfZXgJQPOcSrNIQ2+5QxmSVvHVzhpVGtzmd5m9J4/znoNXg+BnedwTtgcy2/CIyJY3xdkd/B05kZHzIkNaBdslIhqjAO86aZemNcysAteo/Z2ZsSpcfrtqo+WpnnlyE4o82y3xyhpTJZGVX7SBdh1wWd4tsCee0xv+agKYglnMhlCuhGZuO8Ma+8qhcON49Gl3nkzkxfolzRqPfC/uYNQUUOOKhcovhU4vWPmHiwXqWnF27nusGdIcyIxsmkqyCkrltBw9A4KlzySWjjGNTYaB3ijBB+fbSylNiFWI2vVcWL5s4DS889EjApNmU2GlVbd1YjqAft9N1cAfGJ/8syfIxg/yjqiMnOpmFs3yGR0oSmYU3dmtwexMv06upFAZG0mxU96ZwMGmePmhfJFWNzgRa3h8oAo2PqDHeCVl1/2Yu8jRl4HKdg+5fc81Y1fF8G8sM+ZiijJgPFQ4F6+ACzTQGGcu92UUlr6hXDAOAfLlP6uh2DxGJlF2za1x9dlNtAAyBYdH3ZPIBqMOUrdW7qOSYmR254cYru8YnGFlJu+LFM5p+Fmq83610PZsVP6weBGExZB674Vd2ThCSC/IPPgf7VkUUyDjbVb6o2jHuFmjECMsFLwH0+wRwHYwbjZU4ZcLh5UgkSxnlZxdxl3ZhsG42DzWbeBWfnbCaFK8zSxY9YJRY2LzUeH5+2SPxAMiCAv0XfYs31Qq7inj1Qdtob8Dx1CWSq9vpUVInk/g8bcLczPg9P/qDuN7noWv7ufiUY2aRd3OZ0rBpGCfOXl18JTalECOAYeaHmVXEliPCpYKWVqhtZ6ezbstmpyySoUq470+QXyTMlGRIHrtmMB273Oc25EHjJY7RWiQsiDPw9BpyFdfLFX/AFQIOriQO0RTAyhCD9YknX3V/jD2BEXEgAkldkaAdGFjSmNg0m95Lh4DPc7Cz49AZdkx5JmsakNC8btnlVnR4lElK3QxJKE6f47Bf8hnrFC2PvuHtqfc3cE1s2xqTwpRZBkjxDBItDN3E6OeELswkxl5V39vY1l2JaNm3rGXFMyySw4sWCCqwLG5RLmZ9YyF/ODu6zD5rs50A6wT5+T0w1GGrUnhbuIABZmjKwg5Boif1Zpb3I8F1+hgoRf3KhOEnNH8JfgSuXHyzOCEVOHBm0LR7OS4KYASvgIMh90xXmXWi8m0tIwaCmWkatrZWH91LjoP8iDilr1E6yYUwdw2AKVdZciIR19OBEgHa22NOFwXAMOTCbn5y58Rho9/4/qbY0nnhsXdbWW6g5DiDdNn1dIR/DiJrpjfuGaODmmStjkF4v5nWz8LtJzH79PI/BoM3ABs2twkyaAATPGa0XpyQ3A8YICMA29VM9z1S5DcinC7Om/qUXtnozslGsfz6gmUXR6FchCrk2EUg1J67GbjdLeVwi11hl7mGNvdjHcdu41P4lJy6yFElJ1jdAW/QtIw8GCC/t8X4tfellKgqlJuRJfrjydUa8FrvSF+zVOiL7Kiv4CLEv8KI2Zd3iKACgY00et0qky8ofI6BDKGv+4N5OSPSORGBjg+csOoTzLmT33LN8k3NFLkD2xulvxY3k9Iu0bEvRgsTATjGpGKFj/P5c3uyJ7O2rwgcZql0meLxzyyGxpQkgLkFPu51KF5oninh+Zqy6+0HOFeA9RJOX3tLaRFYr/GQ/lJlZH2k+y+T9iEeJIsR7q81yiSkkMoaKC3kNa76jI9WrOO4gLpQY47AM80cAdd0FUbwe/v6ClkPBgIIPV50VGkY5jGBToUnN6EkBy6TG3Qra6P8FqC60AhVLaaCxWFrhMo0gScs4x1vPFdguGw/efVY0dJ02nWMJUfEKadtt9Nyny7H+grwZXfY8GTYGFWYrU9wcJV6PeNexiphp8kWQ91h9gi/xxXoqB8mRYSZH9HzQpxCz+m8hKPUPUPKEw++D6D4DaHrvmojVUUc2gj0jrq6FJlsAqCq1oOkSeFiyG7qg0/3tbFaQzY4t4wCIVKh4Ba20uTRPhLSqbue1hE7cJNb+DFLj7VI9stHzwjFzqhsVnzvydCnNaxAsc4Og+95oB3PpOuG+vNQ1Rr9sa5Noo1sSuxinsNDMUiJHoC//pFmOEnzyAKswvkJwyPJDVfHx1i6iXuw4GEmgXDTJija/PTg+TN4GunL8EtAkPtgJTqO4bUWyeaDqUa+CttT03WYW+QojSDBqiR1cfk/PL4QMdKUcL5oTBd6Q9dPYufSvBUzC7BG8a9bXTo+Y0XGkITwAP7SZAirJrqZNwh/DdAauoQt+VcDCzno4pR4WcZTmd3ZZZUr1GYoHTEUdJXREnb/Gh2XFg3jVGq9G7P0NjEvmjku8eJD/hLe+201IKZUybT8gdPROLmF9rlxiTGE1svntUnx54vnphg9rpm2VA/QILrrbpX5xIY8X+X/2WYNhY0UHZ/XjTfxfWuZlMBXZhNJvC2BuqbOZAEIVN7wogM9nRh7/wEJ1c3265Y2w/jaua9JVAZ6U/o09wXMmvB75YZWC2llHzOT55oyYEZfHSt0EBm7Tcb928woalUeJgorWnOdbR1nwBvjUc7VsGlnf+rPcmmvTe0wlPsSqul3E7CJVCwu2yj/nMtOXayl7DU93I5A8kuURd+AQXv47DJ/qZxPxNgMbkRRjiUVusVOtbVfIglIAjdESw+x7It8ZyE+FyzoajjzObf3iAE7A0iM7lMDGVtCdQzPl/Eqrulauf7ro7tK5L3ibb0s0sAeYnunvC8VP6my7v7/pPiIlAjGXLKvqcOunD9dpFFWeMu+Dc5l4YfHKl2uorisN6LACVgHZaXz5BK1w65+PHdHwzQAJFghP75Ka/fSHrG0HI/5taZVBM+ejNWWHy7PDQ5gMslOKaVpYYBKt+Y4ZdfEOF+C/vjtJ2x/liraDNazE6+tbVy5202SkLiH7aQNUdGOgRt1IItWUYS/YHCFnmm3tw2811OOoq1dSINwuT5HGHSDCu19YUwgzaCtpgA+ivCVta9EmLz2o2Kpan/qjU//QaEKeuYTDmoGba7sUW70uatpOsigeixCK4/J1NkTORpWwh+nCFX3rvHZWi2eyQG6UKyHNs2F2Mgw6gTWx6sqG/o/K6rgYI1G38XxIK3GOsAyVdrA73bgXnX62xX09mdWwvChBcCrrNUcILBnwReUKQl/3qb9GIelyWOxOYjBSodc0XLH8qx87CMwpVXyjg8fKHM8N/X6N02wW+0i+AehH6jjDVANoO6XLYhL4mu7dxedk1uFLj3E5pqpBCb+Z8VZNmyftEpZtp9xT7kUL6FeAlBOgZiLubeKVnOOtRDH4djSnWtKHN5vEhs5N77DVVNoyr6ERZitVXBcnEkVosQvohLtGOZmsKSWeqoOQFnJ+FhSxf72uTMd7iPSoe9IlqAwJ8GE6xXJ4gyG3x5wOg8SlQHaUZgb5JsrQXAWvuDJEGSromoIjXV3k59pmUyokNCHyVZ4OlDcFcueXSqvYnuYy4h3hpwdDoVADFj/pku+ocaW8hb6SmmA/cHhgF2XP5PeV60gzFIm4odlBNEvJc9X7Ht9n9xBvkXPlHNZ+W3Zh8NTRHKAHZDDSkOflb/6KBorB0hX1U/a8b4+2Ob++Gqiw/GzLymsuyERTDg1kfyMdfYVPqQz+drn0TeZWG+NCZOVTBJeDcvlRoZ7xusjK/ad63PsRmPfBLcOO4UNVYZXUjV4HUS8umJeBUmXCPP6DvjPDZkbcfTtw1sYggV1ohqJO6IA6N7yuOEiteHxPmYD2g2JRUryZmQrD3HlDi66uSSz+ZNT4xJBwX04xMKznK+RQIKYziLcs5U1e6Ij/4yg8UhEJup9A7hyaNbh72fmA7wlJNcqmKwaonVJe7gYJ07ltXfPHZndHOJJ06gQH0Qx2LchjFfo+FRxHYOU6PEl3cRzA9pOBDPujZjg9ZsLbwY0LMR3cScQ7wY/QTGr/IFGVifjfxbB3xfqXJg6XvCh84tvWsdiwixse7QcIK+ErHip9go5Ejiy2zzRrr1J3PZnGp8453+nq7MrNLy1M7YXQ3xa/YDcmentM7USwzJwOmYFwtoUfaNafouYyKYO+9mxWXizH43U4sEbnQvzcYkK0yjkgzEPCL8j1frBq0h6Oj7g6fVUpc/+0Cqe4+mbGGLX8D833wUmeENKTJWocedgfk+3oS3Gz3D6zM1k0pD4EqyvkxbGgDlYmR10gXLed30aeQL0nflMiwYbZ1bVnHoLGa2U/hOK6Q80KJcKIOglbJ3mCDmmBxk8RVbcsgopJqdqslMAODe+NYRU7YMOAzEDwtYThYumMGy7NTDuAkSTLRtPZyndLKG4WnBpORuILqlj4RGVX7my6KfNaGwLH0puD4DAyMrm1HvhtHYj0wn2baWEdBogKfR7YTdUn7WWXS6RM2pCLGb5bj0a0xHZI+4vrGY4PDdwItT2+706nxsFE/jhffN3i9+C0fi0dbedUYhghyrSafCbLaw2iNGTBSG5NAdjgbl1Ztid4FaQ1hxIwnPz1wTlGMU69mNkxEFBQmcl/oVOjZEo9lyhU+BEDMIx/URtjLW1Jcr1GrcjKArAc1I+CrFXibA2UThR34IOCPeDizQR8jTsxvjco5AgVgAG7K2wzQ9u+//ie9wrWGKKgC72X3VjAk0nIXbP5zwOMsyHQ1oHol6hcA7SxUWnUo8UGXEOesthtV43WV9yDuvgEa3ec9X8akS8puO5824Q2sUpsZoqJlI0k0Mw/fPn2vApZagS2R4NLoBBTDCzS5noAuibdTtoFdPAedawkuuVMSVXCukCz6ZnLxTiEEvIAPqjpe4f3CvzVOhBIGxpMoAfgqwdjHXpcbhnnWNYTpLWIICNBW3hWWzB2jWrTD9UqbSpg0kQwi8jqgOjP7CeglijCOisuuinMKtKko4PxoIKjjOmA3JOJZDb1AP97X38VET4ZLPQ9bkaP3ch70LgKihDLV9ABK0PTX+Xi0lBrbkTgHcRGqd0E1ZiIfp2IVdc4TRlMZ9VIVz0YnoLfo0RGsZ/c2E54OihyC6KsYaryUgztKJL0H0ybNHrTN+c/h8sNwNW01rEBCeiNbdye90C0ZrhrSGTZZ1bhA3/GZAb5slNPLDn6AJdwsPTAblLJ0mgIXTInIHGkkbGvOmS6FUu45Nre7Daq33FUf7LUGSv1sxxhw3SU0pW6gf8g0o/2hYKMhhxx3kLvoPRTHuwKj/C5vZvPRMUw13MJv8ZEeIoH/VuoXjwQBf8F8INjVfD0/GEdYmA28AfSLQ4Y8/0V4OvX5r9h5ZnMxCihZkoJU9IVk820hRqvAjY7cESteiabkxgOfNQcBkMA4toG+Iv0QXboTxbde8Pqw/QLLwJekKaoo5Remxuxz+MnSiQDABvw4MEZu0pN2PN1Ausy7ubIh5sFL8twrq8hu60R+msZ2Yt9a4Wgf7kXNao+Zo1rYBNsq6Hinl7zHuOWiPZ1RwhuHtfHUNpfNluLQGCTIjltlm3j8TTg7LyXURPzCfxbqZZ4vmTjzpu0qZ2UL8Hl5obQvgmMkP+mBE+o4aVu05jOx6+e+g5NwbOTu+4Y5dLlzUsNuq2YHfNePZH+uNIrcSDKF5hbK3IRuvKNQNlAnvQb+ZYI3zAmOx5/B4TwchlS7Li7RRyDnTghSR8OIBIf7tgGfwQ7sSV/xNum93afqtSQuqfIejr2xCjxE97gs0IhE4JhCEF+xtXtgbTml7yfzZ/1UT5wMvYTEw/IJ3pBeD7SnzLyctzA4lblBe19CE9Qxj/Rl5gWqQQG21c6Dqr6J2b/Wm5SKZ9Aov+Y8e9qJ1pr9vwy9crs3cAQ5l0eudgShR0+uoO9BXu8siclU8cAZroJHyJ+u2VmErNvn9tDqfRt0C82JRFApK9MWW4zm1tZAfym5weEQI3lWJPbtBhukShfO6WWY5FHj0ZdpELCejVwcz4uiVm4h0bLTUEQQd329MmGnxQDa+s/Y5QAXF++zykRP2xbeTD9JsWAux7MldcgHGK+U3rd+j9F3Wi8UcXBPQz4msVhzJVaI5bcvBrF1elibhCFSGVpnQCFwwg5+OCTa43dWJ/3xd2pVDklLZbzIzpRIj4JIJe2ewSz19MWoXCMIUAczc4yFv2M2Ur4BT+FE/xGSjaSB+9UtB2rbTMGYeuZ5LJivc1u9VGbdUYs1CqO6TD5khDMl/PRjRZNLH9OssnUeqaBPTw9Z+zS1B4MB3VA1PA4hQ8ObCB3Wmqyop/O+S/9CN4SETTNVWiT/rHZux5qr27+eJ5qdu5R60BwGh9PccwgpxpsAFR1Iq2Y8O4+1emXxhPSlWECkQaSLG95ml2u1EDXsVeA9Kv4+zl3Za1DvaTqdMaACSbR//tcYb1uPdUv76saevaxDmCFdvjNOR7jfcin3uYIbw+C7SRestc0N+koYHofsIXwXLVDSDsEqtN6BVN8wOEgAh9ywY8cFLF6kgDn0/8sbCwoOHjCgrxEtz3E5O585UOmuPlCfz0rte9/vLAp1u6kYjWUrXQh5rhr8bxo0Fv8quOPdVdW1YiAVigZl5iyJxj1poyboPPdr+jK7/GE5pSOk908Dy4Le0VLcHvm+ed3cE2zVyDPFlQqoBdrccB3Lf0BlwM7Pbx0yWtFR2wEd80IsPDaPo4MXhbgqw46K6BikSVpli5UIwl9hLBm9hMGOwE3PrZfvmsDp44lIsst3K1wny6N0lqMbuLvIJtNw4BNpPxdpop0jCdmlRDu+wkipjqlMkst9epFawzloo8tYRN4zXf2eONBBXO2J0CTgYnubp0RZgGgVUZo1h4O0ulO/yQub1k+Hne+5QDymPoaWITWNo+CWuWVHhUpK2+nPOupUPmgd5+wv0hvwD9Smrc+pdL2juXtLp65i9WzHE8JicnXLrK9dn+7mkJG1R/mE32T9ChX4EDBrkV2Xl23R20ZUePJm496h/EGDf+rwSqK3RdB7oEiWu9tqPzM/m6FIDpeGZAsegsA+VWFjt0DwvV9CLlxKoRT2ZzJpC5NuVWbPZfueUhag/77U1HLe2jHxjIiiVHuwoD73XusCRqJjuTKlROsf8Mmy8Y/8CsXCAhXRNv/FFFQf5NQf9yBmfZjktNLEztMP+IPUYxytu8Qg6zsXRiHk2+byC0O9qeoorqutVO8qYrbHMRES6KJNNkVpK3xbEjxoJoEusDvUOkMfn5jtyeQTsmzqRs90a0oqBIxbKmj19XSF63xYUlbaf+BjZpnA0WH+oqnAaZy5ugueCUnACmz6J9JdSvdkaOSQLlvK2pYHoQrxi4zfu/ujPAHEBloUgsZuixXeh7PbZVY2x5904x4S/2QNxfwl2roV9wjP6lcNvfnIp26cd8Fk2pL4xbFVl7daO0TCdjwd19Rl7NsP/ur3kLbmsjzRlPjQwxn0aI9QbvasmJWfqBZ5Sj0NKQYrS9+C1xNx/sETix7hM3pBrWtqpg6Q8ZiHdUJfJbQtApHM7hNXOGklID0wJlB3dEmH2Ch9mG53IqXstuuQ3ie4+96HjFdNhnpxNHJ1aKEEmVp0GPwnF7Wk2gQdmXuIYVhFmsR2eUJcW8SBX+ro7fvNJO2aWOic7+M6uNGZl/PRdRjl2UeuE77Oh4KmPobilG36YJartg9tXCP65TZ3kJ3xfap7Lb3x76ZcHG0EzS1NgRCdH6FYc3H+Kc4N91EiKaA8f2LJQGTaPSeGvwhl7D5QN2gCOvfMGzyokSDupDGMUhM702QbXtVwaE4vy9/R0JqixPka55janhgy6laYXypQ5G5siE/JjrU9rQHxTndD8RF5d4L0uN8fSakSNxrKvKhdgE+Q2Hii4TRms5xfb3ndEOkbPm5saSYT5iTexK6JaYo6LqRfXnpRizLDDaa0ckcWEJgpY9RBrOOiCl9qAVbEVv6IDaTB99+811AgUvvHmmd7+v4qizJLNILg2o7xhBdLKHRQIB7f7fB4r/nEZHtyJN+23ghngeTfNSs0ksaR+YgBe+AwFceUNu5L6Q1kfJkyG8KeBv6C/hZCUpGSihtZg/HCtX61PgxpVHR12DcR9zdngmONDt+8I9GfYiTycMHwQFJMDq8Fz+/8NawWbbP6ODAV397D1Ow1I8F99tnzkEmgoVECjAA5LSdPNIi6ft4TclIwNcXAa69V2kL+4YJFrbFxDUMfPvY3RCS/ssAVF8/VXuqIwcSphryfIm1uFWx2eZcxhd5b4GOdLEmg6Zg1BT9p30DPbng1ATP/mkXiUwEwTxKCHiLy5HqdB1VmHiHXcz2qUZQpAF2Hh2n4+M8G6AAXxMS8Xeh/5CJ4cJG2TY3nzdjO88UmHWgDXpoVPC4lRZP2DZBJC9slR6QPaEV1tIgdYYYjnAQSMO8iUbVZwSRSx9PdPYYrQeABUBIFa8HAoBcIsAd9U4pGpE32vjF0MtVgv/5XflCF2ih0vNSzoo2/YXpWnJrRyZwNKMWU/OjMOFQsKRzivLl/txcA28vrpr87E/Y5f1XFJm7kNi8zlIyK2CuCJR6LzTg1PcjMAxPGLwKd0F5xb4ipqfusj0JACUPgbXkHCDxoct8C8v8zcalXu7lYLqcQWOrBhDWH4tckrXocKt1c3amlW/q9PY5jUf5waz9gUXspKzdB6d8KqGqufv16xiqg/G5neCFYOkq0xesYwT3WrO5fOJS3+Er4m7rdjdqcAiw1Ns59g/A1RjmgK2MISHoO3A2tpNlb1ON8Vvdjrha7deOOAVt9JDr1ppB57pIIj9p943q/SRaD3D6UnJC1tctxAObgLdRERw9s5IvAzlJgDk3xTLKz4WPug4Xvby2m5enhjwopmvpLuT9TI2zjYpM3Z6OOB7x+w2NrtwKrH9i8BINO9ENADXTKjVl3dV5qKExcrgFAq1ePst97k8PfLrInzbZgWh7htU7PS94wbIdnXk7EkAEu9JdT74MODLA4VWXH26vfGlFNuKJGcYVjt7HnuYDHvHRlSUNXmHz5y1ki6sXSZ1nmqUJQ+ipuHdRBaYP6thV/YCbtVcV85neQ5EaOAYgbJhbl1KIrsDJqEk8eUAX82cX/E67r853+uO32NexjpfdlGYQUjE51I9qxzmMFu8X84v3whQFvP2N/oeGGsEretieqM1/kWbzniHc78kk1Co9GZmv/rwHCqThTlRkU4G0Esv5zVEMEnF47QqetcN4IPq+abQtiJvo/37iJst3Ia+JN+HIv/EgVvt9V9MHcrWXTUr+46F6GWjeDZlBoV/p2I7GczkabLMQovuAXJ0d+az0eQloN9KJASk8z3yfYnTlP/f9yYxF8FywOeUw+ehc6RMf9J8YasAPx0fUdKIpS1IQVOh8ldBbAoDO5S1XzA5MPaQtV2TjTHT9aaxEexAQT4nQQDaECa9O3AIXC20UuHhuoyr6R1gprFDJpdBXRRVYPQamMo7sGDSz8GALrl/zMAngxVOpsd6Dfw+mfHkFmRNHdUix6+zzM1uohkJcw1RelGAgfmZrEbSY4bvBzkYHyTZ7Vyj9ZYfwPx2TPX5y4Pkl2vB7mwt0RmVaRpo+a8cDDFD8pzZmQj5Thn2ed9hyyiQ4j1pCrSjW5dK2SQSCck+yxOZhMiYF2NX6FmhCbYDfYe2GwGrMyUI7aqMfznJ8en7rL73RYvrhrMSXHMF92wukZhhvNTHGrwq21Xxbr5YMkezxZwHWbQZwTye6rGTakD7HHTTK2Jk32Z8xPz+ATLVkI1WzclRNQ2w0d5u3dBZjIHCVbhhUAGB5ib3CQCuzXAUy9uDFMGBUjAbZ0umu8g5iLLsc/dk89uIitN8+swhPL1OJBQJuyygEfZORcH4E2YZLRaqZ4NB/DMJsZ8tKfsXY7WlZdj+O/Rj8Au6nxrr/Gdhkm3BmKBmyqaCWgCPpQdjosKLtPpwueN+z2+xibzHBGMSBu+9iP5tyr1kIrGaFRK1IeRUshccfhuBnOqXEfKgoN43mwtHJSdr+/AFrlh5RqKkuOVIqn2UOjjCEVWbdTqd76QGIT4L5oVGeZL+2ap/B4a8PelPMCYIjV4+jK5YvCe1eQjPXpObzDvt5ZnMuQMLr8ednkGoNQM4xF/+WHSfS2E/GyFCpw5fc9BjL2wjdY8wCajiSGIPIl72gBVh3+TqpHvmRMI4mb6/NfEC+b5MZrChpPSTLqA5uI6GpFnqkeY/2H9pRwatiumpuUJuCUVg34s/vf7wAhDFlINgfo+YImvmQNDktXH0vg1HdZhqqiumEGpYwiAU/mCU3mCwkpGHgIVoZ0/ObYNMjYTOE2XKwfdAvHUyXD2hIqduarGPiS4AYoS1AhbX5nexpYtknexkRzc8sN6oikr6C+l9yGnoDYMP6dPix2XQtqjXgCgr36UK9vhTGm59krXV9AgC3I8yOJwrDbF4cv1HbOfDy88+j2T1JIrtObNm6ZT1FyHqigsMOdMzLhbBsf1MoGM7mFPeZ92phqYGfw/B4Oct40HfDCxUH89CuDYhYwfEiK37ZWJH+0O2nLL0FBUXiTzvcCMmtz6VsuNOo0aOcHV2DYWAT++9F4MeXEXQ2Y/wEF7KSfskzW4nNCNEpXrsi5QFYf6LilOHuM4iidciMXOsXIBWnH+KSZ/qvwpwSwarKU7QaJpblOoSTIGYqfEKTYXvJR0bkXcbRVJg4sb+AJmHWaul0GrUHHW395aBgrdbITu4zGNWtS/d8Zvo6IQ2ZymW+e3yc9gzpQp9U4ZRykGRiW3curoRIYnBtvErq1NSvMVf7VRAcTIKbAAqB8vCdLgQO9s2/wqXuNWOxX8QLREpvqVxIBZD7b29N5SBYl5aGGbNnNgvJsT1Q7PB9AfErTDtqU2/ULXFOnLhd+WyWCyOOuVEnNnKTGQAF+2y/5fFQZ5tFaROFw1MYp6yGxr/gXJ5rA8EKXsB8LDi2mVk1f171XTuuZ7h3mSnCneKJLXBG2PNtxL6r8XyUGtrEdIT2pvi4fVkdxosVpQpcPaRUWEDZLZkfrFcZU1IOMj4rV6eAvJpI2mo0u9UJ8Uv3rGE/VV0zm7ryAt+sVNEltsF7d9zbtPuQa9m2A0hZxUVwnxgLabzapKRTRVu4thg/ZfAXLE4kRratPVll3TRAgNgVOpPPrb+UnYqc9s0MEgBOsQYmJyDB/mMwP7nAEhz9UBUCuRVNkUHR3yZ9Y0At/X/vRbHIWy+kc0xhlv233Fj8LG/H7UUwnUMC3SXqRbcPRjebVUWAx38GsYtNE8DQQ2pH+Dj9bKNTanHzahfwEEDmcCZB+y45fjy0eo/+qWpYAMX2C7YT9244OO1qV0vN6wmno1+nu9hSMWE8/GTqhSsMuEU9KSwdJ4V+GJAjYs/AoHuFU11Ims44U7YjqVJW+LoTNSg8iGAj1BO+C+zAWkywk/J+FXYMQ2TI4/MTH/YlR/YE06qFJWTjE+3XxOeIqEKtOwk7VZ/TF0ktBYRhEbdM5m5b7RmEw4ZIs5/i8SDN2VqUke/QyGsCTfP7lGe6hJmHEw/Arh/SO1PFEniLNF7Ho7xaPNCUEKETWLQOYtFetoHSVrP1rD6kpobpsyrzQy/O8PUYWaFyBMd2Me+V6dkv9I5IeXzDFZjcYN+4aJd6FO5K+zgyYU92fkvq11PFOu1iMJdcahykJ8NUXAWh8mZbUvDQ/cUYfrgaWrJAsAyoTvHf9DPyr3zGaNMee7dFvcjbYXfDisMHhdpK/noq3atGd4Zd7GRDxyO1NT+7aAMHZ2L5qRXmmexTiudqhHbVH5SbkOC0mJ8MK8AaP3zj8WLyhv4DBIg4wgYdgHfNhW5HjmGNvmCoimJPTnPppOIs/FR9BQ7jLUjhtvkS7lqDZZzFJeTqOaaN6soBFguYf6Iun7JSrWVntldZhmL9Z1L7UAfT8JyIjimoNHMrssr6VWLN2w0FaWGhP5BVS1M1A61HGoEyDJOxap0BKUHljmnhw4R0Zdi+nDg/yOVcMP4ppNW3I0Hyz5NCbZhx/zsLeOmMeKvrU2Ve+e38kqu1t9rMqofwa6zTPozdol/EX6Kdf5C2HTKLAKMyr2RZUhzTW4I3vlEic3Ppy5JQhx3e5I4mMTeH5c2kCS39BQeKfe0NHcH0VAhCB4SIAlb/eIUC7sCh82tuWB70Kmp3IXomXsZrQVn9B340829sakGAKQTDIMg9EYhFlJpAsVEgcGn9en1+885c+F8/zwJx6IQ7ajjt2OZhYEJkbYKMCffDuxJ2pxaj7nA9fhb4bonziXomwVEREHG0am7ergZNYR3FY+C1qduFLe8F0xCRwCts4esgaYot2AT+fKokH3O7zwNwAvYKDTjEOv6Xz0XGLpMUS9XqmXq/Yi6/Wt9K3JbWxPo39JZYmpUQyERbFXBbV9dzs5nSkoCGqkacj6/7y22YvYmVlEf9bbEDOmJAU7Ri/32ktv3k8yQWKuCnVC6ED9phda70bmcIsq1poGcxKrzOAfGaE/BlJ9BOpgpocx9a/2tzFZd1Q8/HLx2K/utUPFHMhXyG5IAc6/XpWN+GTvIZ95X3BzBF5GbsjbT+RIwiTuq3hb1RMkpPQC8pM7EDpiRc7JYbiw+/iSJdt5rbffu3uq3dfNyAgUUA+cjdb3Yp6cWB8zFupkr/DiRj+wsdeue/+PgWLa00o5q6XCAmqQOeVGe7JsQGukPjji8qTcxSOYntxAMDdTARlHv2UhQ65em+plZhLkscw73rAij8bG3Yu0hSMKMwXGLOU1FYO8rQlgRZFrnNXDA923H+fDJwmpCZnR18GfFJJxgMTyU17KcPRqsk+x4E7YmBaRRGpL8Ha+Qodvm85D87irs/ZSUuO2DZlJWiC80KpbeHz6VlWwdi/6kS+cNn6Ooc0cDCT7WfqMve/atxYqrvorhEFI4cP/zVuAmXFmwnB/vpR0UXkTb3oGSSnKgIOuXim4m59CBTPaP5/PSMDuRUFIPQW+EQVuFEDAb46cjUvTUpv+ags1SzJIBuQ21+bVfXJxvEP3miv1zJL5pH1o9/sRbVnIWt8gr29qBgkaehwM8i1y/0PtGXBSdxKq53JMvvvO15P+2v6MSZv1TuhfQS3H5bFEFcSxheFdnoHWPXUtvM/713hZdh6L3Lm3ojedZjnf4C3nYc7FlBhFdiXIBxs8Lp5u1OR34kpacUttuLbNtno5dUS1vSoDKGtdQwsdAc6Wd5saCl0rxAsom1WyJduE52s3iHUC/jh9ExmgciZOCnOZa7307LH3HGdYGzxrGaK0JwA4a2cZGQmJ0ICD0H2AQTg+YxKe7jT9MZ5OY5itHWje9sz9FKUTYlZfBZEvAbJkEAptT4UMxT73Uu1oaEuNclYaMa8uloYnBrV9kEZsrSC5bWP5JwX1vpFucPGTB1vMidmWPZspPBZjlVBHvrGMOjlazTCEdOYgod1vx0P4iHdqvfFTm0xA3vDpwihKovHMObLyA2zHawdgNa8cqrvpRVRhFOeP/fyO1113MtCCiPr/tx9mOwCSjmDDicD3tA6KAEbffMrNbYjZXNu/yoCHyANU31EwqutVAoGTrXSPtNvz+Vw8gS5NBEuOc182Xk0OwqmP/bUSfnTEwM1IamIOh7vV4xNFg7AxhgTmY6t9tnF7UmroFAqEJqorS/NPbW63jNX+lDgvG0Y8zksTvcw65L9viq1OvICPSkYBTWiUutWSGlYy1+7C7h6AOvrkgWxCZHy7XbPIUPlc2PrJICTPqc7/yDvbHOQ52XYd6WaQNaOmFLC18UPwQ==">
            <a:extLst>
              <a:ext uri="{FF2B5EF4-FFF2-40B4-BE49-F238E27FC236}">
                <a16:creationId xmlns:a16="http://schemas.microsoft.com/office/drawing/2014/main" id="{74F29026-BCB4-4EFC-9F2D-B41D98806B2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493329" y="3965716"/>
            <a:ext cx="4917915" cy="2318395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Retângulo 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vZzcH/7jHn0qbg0YJZHacRNwFkc/0hWo97AIPcAIbfyRDtS19YZYF+F0x1K7xlQN7PgdzEPkoxIKz5HfHuLJqjGJ/1bx9gMaBlzF9lO5iHcBfkOZ6ctVUSVIgb44WhNqJDHyTuAqUPHb1AIk/Bkltw7UXfmDj2fsNJtSe9oaFobn2Ia4AlJYb9FFuaMr+3Oxi+Tt5Huzkj0iHRBJvUhd06TJoO9DW27f/qBXfNm5HYKV3+fFZ3gyhDzxiP+lJKEgwvhCU5oCyss943AXlXzBxR1PCTvGc9SG5Y/+JossGrDwzmv8iVgralszqfhorgyfKK2cnC2Oltx4fthvdSRK6nrx+PQP425cZ3yVuLOLflmeVVxiaBLZTHScx2lgdvPeUSmwtq+iCjfFZgJ+mHjKz7eyG70BF1UaQd5x69FB+W/U0M+CslfpOKD0s/Fo017+KeHL7aBLk9OKI7o/B2dEtMcNzY7gxSqb8GDWfo2AGPfZ8XmG/D+SiSr7dqoOPvggu/k3tfZCuW5EbxBJtAT+liy5juQxD7vqruASKL+tM8gto+HGkDS1w0kpyxeSZd7xPca0RAA4rDkpyE5XtujmBe/rMhmxNQ62/mkKgq1ESLgXccN5dh/sInPItpjkTGFSjPBizlpjmAd7NAXQ0A2K7VsMYoquzxH32VF/iIFDxwu7w94dfeiNBdt3OAsOhOtLYYbr45UHduzDcqeCd1OaRLzZACOgchMrbEIN1XgvQI0ZkIJ/67gOtnz2tkm/DqXc0lPqTSg8A946Gp4TEIZUTo2rw65JEtraj2qNf+B0hSqtcdpU59/Ls3C5zPkKrXzajkqUZfulaKAFauc8ZnvvaSyf+hlLlF0kUO0+CC40IJic50/AKLHYrNKmmMaVcmTGEe+7GU7yOxqyGFwWQ9FVsTZX9XAvA4kcn3fxlrXpSUsMfFCu3jS3dcXa9rq4KGaVBLwukFQ4yFf4zz7mdiEI1rL+8p2qk19/IK3R4YDuzK6saL1FnmxPw6Zgj2QVgtSTvciCV9xJDwOMyQLpkKqviJrMMLtSmGtthgbWZ+R4awXpOAgWsJywYeyqTPPHz8JFqm6KthICRbRnoLt9hSp2bM9N+e4JlRTR26uh2nrB5pWaFQVLA84qtrzEQp1SzL2CHFQ+ZNvx3iTa82CSMS5oozko8bRHkwk0Ims40n91NLuYNZYSpzSwObO+g3sWaKBMPY+vJQdcbeRyLFVX4Tx0HXmyhdGmmSARZx7AhAszD/uKJxxVH/XyHmkua0lyg3LDxj3isKHri5bTqBqYYygg8GK6ZfK66v08UQGKzTq8THvfmbF5JS6q1g8gKZk2iHLxki/oYj1VGwDlWkJlo7DCh1lVQHWnllwUGqRGU+5PXG6k6zIvyT6FkABzFICIf5L7ShTqWDQLU99ve3iSXenOEj9KYgBLcyLKcnXC3AU86QzLrE2j1DVMA2qm//SXcMN66NCMk2foX5RR73gmsNKBZaF6MF33WkOyqZ+QBIbn3X5sQXB40Ggm6QldbjbhZIROEXa9UhoV1OUvjJx23YE/1j+0jeBXKenBSP9AnuhfqBG9k+6X3mRkiw40QTSN+RtFv6LfNgkwDG6rhtqhB+Z324vlTpd/xdz//brPXqOVxr663/eDz2HDZESXvP3OiENIrfl+5uyOGiNM8CU33EbmE9zI9vzh6UGrgccXYjv8JqwS/9tQN8V57+8YyLUuNdNS5F6wP3dcelJbtGeKgR8UsDs1NJPretWDy9vLX0b/pBaTCvdygGPpaj97xr+P/9ALF+TPom4x8UliXJSfYlx/qeL8kLS+Z2dz5XsCFRarntzzGS4xAdmgiR25M4YWMU3oNnEWJeVRGoFugX0bio7UumnefF9/5F1XYLcUhXJ5cjL/CJgxJW3NDIbZJTlzpxAWVuYYbCR0gAHEsD6R+4apUaTzhkODQlcg6s5hYlyc7YlvdZnslrWH61yGLKGL2kr5HI2t4/IICyBxU/xDUp1iOpkc1KadQGNRBwVL0FbPo1Y2e8osA/Q3Qo996JjD1U1+Q0vJrmxZQA8/o0Fv32lslgcZ3kK1f6CNowttzzeCbgEhUu0+7GAL8jRwrjgFQBCnvhw5anIFem1u0Kjk0Wb51OD/YJdOSbrWabcQ9ved+PEHeIkL2AtF+iG0UCGaRYyvKqAvTOWheh550cvfXUzObSnTFMOrI+9HKszCLQ9FIxmKZp8oek6BbYHukplPzF0nTzkqckdW9cu7UtQyDfXReUDdXNbyji2oCb7kbCXYDUoDInxsu9Tj7m7fkjnQCIE4dWYyl/xUm3NaWk57hOJKfIpSAG9V9jNLgWjzkjDMaeSHFQQ8JnMFaDAzyJ+afNk9EdLqLRrXUTzrYZZWIEALHuLEkHt7/draWY67Yru8gcmBDG9ztl5a9Fgm511Wl1LDcUGJkwyzJWmW0nGXFYsUjHjolJfNTwpKHN8t+U1nGQpe5HsfM7I5cpFdYj5mlTFL6m03kkMZr6dCFNZmprMHD/FSokkD9rkHSo3Tp2lHNWDwAom97NKWVkO1AktXlo0oiJZVwD8dFdV3DR4IlVqzMp0GLslsV/auqlo+5dTRdMXzTNncqAoJeZqan9aZcCB5+hWGuTzdJgHYF7qvxwvqIhrNklQ8mmPhMEW0UQyHyQOwpWVo0TLV0fOAvWvnneTfZmTTl9DWGZggUviqzuSLPqi5mYY9E5k5n+2NboHE3iqjSqn0OqD/cUdvuSqZ3oXnEG6jh10l86Nkxuy7vlsrofK0NuUzbxMRoxTQlzpBAURIqaH6BjVsi6gKVELCfQiQtOexaVfo93inA2XAkg0R/r4nPQ8dfxK0LrwWGCdYeOyB044/LwjusHNc7K2aKAoij8+hbgD00LHEUdNc5rnI/+/BPKDNIGyVXKEYIn0w6Cyo7bG1hHiChsXX5XQ4tCO5nA95sEBUAx+pmlSP8Sp2XBXSEcK18aE+8yntGLRwToxIVu3lPT5zAB47Be9x9l9weHFx7t6bZ2YxX9Cfcv75jFPNkAy81xdRvBvxiRlbJdYz/+YI8MpFWKCkcP4ZfSDBJ/8rK6GxXIwNI0i3h9FGEh4hKSmui7WAQuPtemg1ifjZJpDy+boMoUkMYRa/sDPQN000odwikAvFnoazx5Vp0dsyfneuHYkiDcxiYdF3sCSyjHL1Xq6AhMdk0g7FTwk7WQQr+AO8+XHJhEMcVUSe0BWdKUqjXH9UTXSDFREXtInx0waLVpM8T9lAABdXma6d9xhjbvmg2pczLXB26G/Wo0p1AYX3VsY/QrXzqB58tCX5fDNsiMgMqwqzkp/UuEf7+07bZyVrdtw3D5ZSF/kpmUkfw3xGxxgIAUCnLBb/HoclgYU3zgSeKqTtJS/tG1fnk5prdQoALJ+dQY7AFGwVAWjFPojbVYutGEnj6qc+Z5mdwwTy4tcS+h3H9KQzZaJ243+Bt+o5a//4X7+eJ8es6RbalognwFo+K7R0Qx4mJW7zRafc6Zo0tgSiwmTI5tg9jQ2yKi+Wm3Q10jta7W7bDFhoxhyYvFghJmLT01FrNt1WuisNDhe9IL6Y29wkAwoKWqQcbZCdbJbSuy4Q0iGtTJ68XpfDT2e8xibX1/TeQcJkY1t/JMbbw9+PCQLOwy1DW/l2ttanUKwyaYgzo+Fwq2qvfk/xZUMhDRfMpPiUNSn/areo+iR9DcmNkwGHZ1lmJDz7NPt1H47WLTPp25BhLAEu5uXa8pg/0glE2S+2pARwPbKfID9nceIzUxxRJYyZdTDyYzUtGxAIA7Qqk0yw21UfdR/Q5Nf9kVkCmmvION3jsiH8qk9THXWT5/EcHIcJHv1Bghz6ymZa0+A2n9wXsSOoZhVugWrfq2ovOR8/FJuoC54ABIAjxqWoY6gmZ1Pv61PmyxFiI6++hVv6WF+ajCmmfs8MxiLo4exj5EEdITy3RBoBFiiA5aFasBn7fIGoyp1GPyh5OHan9GkFzyHc46vXsuG/+NgHwdN/HqphjLPTHUcsnSjDeAgawT5wO7HHbmMnznysqgMcxNsKre86ppa9YnM0Z8qq2CubO1YXSMFZNM+qWLp1RvUGlc0oIdkpu+jfjYSAwFAfpN+blwZ7yWupr44BvH2PriWdy8QTFjipOu3kQUqYzhHH8BpDmQfTKX4n0993Bii6hnUAwe6ukn/PUTa5aF/GMVYQ7ObQOZkKZobsDQQCRbywyYrjE4AhSpiBmM996+b4BUm8UZvrU7Ld27RYgM1Nqz+oPxFMJRW/JB3upVq1Lm6psGosWIKo7oBFYaQQNV37846iwv+6k1tCbpmiqkuaIVXML5xIm5KftQqtkAjwuK0hksb7F4QNkb5BziweQF3U/d+ZS9C5Lm712y4wLJb1pMwwnf34209iSZn3VHPxH6mcMhzt+te6CmFrVwy9OC47N1Kivk5i9jv4qLgifXMETyhL7rpCRfIbER4dIfnZhJ6gM9D8s/CwKMdSJjnbglgbp5bdXX2URoYR3zY8uGaKb4s9UsOS/zVx/9X6Uck1QDvDZHukXx9pu6KeWn8TaQNjMMvegFcbeMecRqsA11JtgBVAbW5aCwN5wI6ZOIbc6TbHYvAUpDAlUFKnN4N8+lxw8n4oA9x3eN+sVNHcsqSb3I3TR9es4zMoE8g+zZPCZO0qgwamgHAxlqy0uMNzuirjbumSWWq878tepB0Rn4t0dUb371EUM+dwhE9rb/5R59H6sRzhRIg8fznKdFRfJE4IBFXC8mEJUCS3xRwkfa3weg6b3FUY5yiJQCgW1TMeP6I221oQvS1S2SQ/lleJhULKGLGwIiitlbDCw6ErBC1T4HTReeWTif6O4RKKkn57gH0641tG6b4kdxKW88GiwJYQMULthENsmZ77FmD0qv3Tc4y+72XM4bdChkJ4v2GPKSY2ae2uYPjOTu2TqC1vhdyCdeb2z8youTWiSUGNN7TaOj7EZhma8Kazok3kJsgIhwxeZMvUKah1plyBiFvn7vx8JHOjQ3IWjP5uYzGr8DnkF4uWjpfc9cgVD0Wt56m9Iqw6vecztQYKtQar0ZKft6Bi67n+XJ94rAmBRsI/aGmVhs/KL9uMvTDktIa+AG3Qmx01Y162lhnecjCxIp5cMthmlzFMDJ6yegaR8qlMCVdY/msn99ixU+yWmtbknwETAiTXSIBt/oPbpfUki8XysxuveOnIehBYHynKCK3Q+aoJTflkSaoUe2iQM93nRgSWJ/aTzuq7BXs4iDUaf1jOduuxJgjGLDqZZ19Hl8KPyMQidOYSvSi9N/Codp31wqSnRvjlI9n6JTdmCRKOGzY+n+emSreqjkX28QP9VLkLXT832+l/KwYsj+qAInJkHByaK+q7KyPaj2ywTt2QA4TCC0Fyqa8q0H6OTHQH/3RsFxfA7HGMCEqAi796sVOa1fpUKT2ZeaQsuzWTKqoa7Tg8Mr5oirBaXRU5Xxtenv3bxEqOmFr5Jx+eELthEtxrT/wKRPzP5+eHhVwrQmgxD0U+BFJOi5THrSrwDqzmPZ6zEtw0H1UwjuCZd9Dn5jzK9YaIOSkvqV27fIZGvJMoHg2WxwcVgm4TxdxxrAL9SWUGgMfcH7c6tVa3zAd1W37YRLSKuLUx/jKGtqqGiIyWY5x63Bfo2hEluMR6mrxdfhKNMFxyKBlIQ9kOO9b4ck3W37z6o1snDIw1tKOnvZNQFWfBYZd5zV55RBQCXZ9thUhnq5ct9c1SZwsYnPh1jbBeGLw1iROJYzfRTe17dgiEkbcgZ9AH9AL8c6wR2TNNtWOtLyGzsBH5aG9s7Per64F/x4NXl46vV1MV2wxQ9uIpudwSHSpQ36lXUyLJy1CMbxYYSfvFuJJZgLlx9Qd/JNRZs5FS7aAjggWz/nfUs3GScL/2lMbovmir9t94InJ6WMPSBtlg1y9KALEFtXGuvnH1q+1m+yNXq8Eu3AQ0igDveU6NLvRMkfYB/T/s5pZdYqWgLsP1iGI87L9WkgHnulcEwg5kS8fp89MQgXU5Cx23h6FCYtb4wZqkoH3YJfTw0V/sBTLwaukl1RzG/2NE8d6b+hcbzhccix6MEfyPXNg6lWmcKO0lDamJC5K1szkFSzGMo/sD7gdU2hLnZJ/bLhwHr0o9doJHQoLbnThi2KIo6yCbOrySydRpNZDipsYSq9m77aHGFcClppkg7E21ttFz5SN2C+sERJ5jVlShEV0qM5c5dvPFha66tqtBuELjR9spYFv8eP8H4SxrvHIucj7FYc/t9xUzTyDXcm0YfIvpJ1hL4OzBqkCXeL8jSIrXz3Jv9G8Nh5973s2fxphnbM1VKhzH9WvVLh5/Q+YhCx89fqOHVtk/KGpOHKKqrDoDNsjV9GwigjZOHKjPWGbhEOs51U9ySQLRUiYRhcK8Is0MJeDEQlxaqr3FaIEK2JNXb0XsNARGBuEkBjGVufRpcv1JZTnhuvSfDOFh/vUald1cRSoDrmhqqoHGjioG02lz7bfWNMVVysGiZl4hwGT6hz2oTDQ/vzc2sM4liTF3lTtlJyUhyFDaMyVenDypx/H7csQ8itDAARZCbJPH4QfIqcnVeoQPEvAOOxRLTeSJtY0W7kb7Yt1c3CW8BlRjX3/TF3OoJXrgoBEvHugckxCYMacdgVK8fq+vJaorSMRiVAximUiJJ8+X7Fs85uV0KSS+zW7piyJhklvIctgRm97Ea/6P91HVGhDhWbeEwYJ/L5eKIGZrTJ1l+MFFkJMa5TNkZaXPN5UOtJVeqRFrpDVuGuKZShM1kXfVoCpZFA/6efPhRaHR7y6GNMvSDJ2ICPX48S5By7b7iY0suzLqMAhUYnRvSraYZTYdEAYj5P5E30lKRuWOV/CooJNUBr6WhggmzLlvffGNvPT8rAOddTBV1j7ZCbNUIURc+uIa9gMsx0LuRkQkwTui5a4p+6GOBLTrrudzjzeM5HvS6gFJYSohmDttpoaG2HL8DJ+EobiD4qXXpLuoM9nCacPDk5MBzD13mkNYab/lSodm0xHIKkdTOlo4IcmKTWCAzxDMqRGodBl+udkIGbVEq9n/HYCALiJSZhPM3F1ADtGcAUukdipb4sSoQzOmiU+FyafXdpN/j8oBk4FQgW1CjoAKY4ie1tCsPr4hkc9CzRTxfszLU2ClMbH5S0yddrimKdXy5hPEJGhLDjY7CHNRXZ8m5a/+L01lzT5btf6FpVMzs7mlApVXheNzXJ0a3QrvecxvW6rZ6NEu3KkNFuvekIuLPVO9cCfq8RbcCpvwmS6/dzgHSl3yrGQWjh1Z/b1/m742FfkghAz011Rd7lEGOFSvcBAuzfu5ddTWFTmdoPFgEQ2WSy74LZPoASDZnFW2WNqp5WQ53oUKD47ywqeCKep1hMrDfkjpfRnbucaTkyLVFX1S5JdAo1v/RxcOqDOeWBt+hdOmP1qcOsotEM6TvJQcfUcyV3Uwfy0W43/7aalEVC7vuPK0CRrE5GVOiiA93Vr0vnpZ8Txctw4BWbHPtrI3YZAWGG2Tfk6I2mkA1AjmIBlkx+/TyfUDZHTW5kpUGUe7gPAszqvLRA6RPxsN416arWzcCbsK0MFSNKOY8kKgUL1UCK4TjD8Vlp90hvyn92sxz7/iuSJDRzQ8+GkdYmPtNlvZ91DTgItQZ4l7/sxA6s2DObl1MPxpAq4oX5kv9cOI9sHVav7aiD+reLI3VJ5VkhhzXvkcTbLww8CwUyJw0VIFVzSfC4YoaJuAsH4qRIIMj1AyX/akKPRe73XH+vOu65Wuy1+3tx/IlJo9DxhnCzbphr3hOChTn4SywgGRYgfy8ptkfSV3iHGDdXqYdhk9MNZidy/t/SglE/5lIz5bt384BJqTDdOVVndKSS6CWvq1BCTOuOTUvRw63/E1Qk8oQkE0r00wooKTZw5C37AFCfFCGkuvYmjj5BtbO2Azf6fjb5BTP1HxW/ocbRsdP2QNODvtQCzHoC1N0ZHyFZijIMfOps1anmXVeKShG7Ry0nEejyaqEUPdlzqKHtsLMs6kT8Vp0k9Ch/XSqcDVjvrjxjhkVI5csuFAkPDkWwHyogKSf77GqPHdmLSK6UThkSNCqOE1eOEvmRKD7Gv0aG2yId27/T1sBRdz5/PkPZOzHIiaSYK7Fj5FZGtnABm+150hw9jlUImar/tDDnb8vKCV41M9sHhjYXIJlosKhDekY67WHLS3UFoiqU204h5vLdVZNf2n+s0QUuGQyMl7ooml1CwcDWgoPEZgAzzv8ERQD6xIME8Qx/uPf9Sc0tgcKzWXv+O0Ao5Z596zKEqUsUHTJpqAx1RCwbynPTnLa2ISjaM3KJshrb1a1IW3/0QIjbOpTN/+M88f/q9vLaIlcR21KxHlyZ3xDbr47xhhRQFVh5+zpcRDZMumTwB4szMnqHFecUD3s8WpKZ8Wr2Gah+rosjpSM7slEto8iZ/hqNnIUfhw9Ua09khbaVp1eccdYHGXqJASnS8XEbXoHcqNYHx7q5fxA7vH/9h7J9ogOsIIa6Nh03IrB1B0KYxzMq2n7fOBJWLiYPorbqQsXvx7TfkuHBHszU0ESTRDbx6CbEDll+8f1ErRB+8HZaOjiO9LvIMIOXwkrf7A4dYwnkwa1g5an8n4kWkWanAPreRq7hSyjrUqiBtP3e49kPh9hKFpAo7sMGPDJcaensuLxubJfVcicn0M6pp/ecnOjYeKNxqkyd3kn90cI/VQHosmmxRD3XZxSrOhdmDlTrLK2Eic3uxVYfMeIjFoMAwk5/sLZgkUrVnPD1m0lxq4hXrBewlkKH8CJbKH34sqSuDZbHFqNndlParfktXc9QO17XILn08PrmoOPk+cIksqWhGIgRqG3E5xEviY0rf/EQl6DqveYiaMBLK4o0ORvyTATT2xPGWmJxpiEZDmslFFYUMo5bpqJP2+EKbGby8XyW1NgylGd+KMQfVf5UUzsWyOMXsPOqMkQjB6Vs32hQB2qXYRlYtqZ/+jE6QCIWF8wWKbFW1Xzb2VNNWIZTEF8nwb5TiTfIZYEAkZWb57bjIVUl2fzOnm/Qs2xe8zmXiNFPWvqW3IITXWK6E8fQ/oUdNvS3fdIjI5Ggs5XAG2C/sJ1KKXH/DhdrcFF4Lxd5wvSJugCegjZi/uhbKgjyBozXfjhETzKpDCW2tZlggTuqlC1AKhFj7rIUtLNDRqGMa1JnEpu3x6AsRLoFBBUSjBXxLXET5n52c0QLONiSAH5wsIYG7SuRQG+DGmRc4UXYwDpvu7s32y5Ym7EQZ8ngHQ5ljkUdl05nmdiHcwyNAbntyDIChzTfXDpta6lUnKC1uim0eST9KhFpSyiadIpCAW3Eksob7DgMPh/2LsYg9C35jgVUmoH+QFSJWoXVvT+P4xtUXYbqSLoTrc1mFJjnfcbdEABmCLhuUmDGO4ZKVA3E+dfqBR87YmQYRTY4K5iJUGNXIeEX6TSxoFHQHmBnalBKspahhzfKCnNIDADlvPaz2Wtx646+lkBlS9IbCPQ3vsdHLYB9yfRXJIHfJdo7N5fqjNNx9touD2PL8/uNWm2llSQTCF+vHNrMPSe0UcnmfBQW08mvJvaZDieyY11IFU49DdiTkoDmmU68F3i3yrATye9ZntB0jKjWQoqrunMYxsCvzHMd8ckbBYwMZ/2WOYy08+VB6bw68uPTeFNP1GzIpUxBPR6us6mJXtTZz4LH4OYqik4TJU6I82WqgZ1KUQ3Q8N+lHjEXp7VcElfGSHI6qjG7jW9wJ/f0evAzsUuIl7AgWg75dvGm6+olkUIAIc60/+bAl9FoaFECzMRTeCPvVpc9tTNaFzqTrVtg/tJmZGkg5wqTfPM1+H1172KTRROREeGOFnZr0wcC2i6ShtrUxUOT6Eef1WNj2KFU4p+i+zHU0Q2Ko9a7O9jy2B+4kIshYnHDWUbFfwa70untFf90EYv4em3BrJGy1e6STFuD1GD5ymTpI9SGy4X8QdmO3YLiuBjygH7+5xVU1+5jAhbfykBif4OwpHGxbMlnHWGURUdjJ14WjwQmAlsSe1MqN/7yPHV14kN18bi04kzl/xNdcc4c/Hyc58yr4HxKnINY60vMaIciadv7Xw2RWZJF39TURAGLE8ogOXpq9IPm5qN8YNiTwwaRdEX3ltgvQN01Ui527h3SNU2rSaQWJiAGf3B2ViTg3q0wGV3aAId/XZmiyH2tg+3Bb/SFBGUrapcCPI8q+qYlPMmINxXTuPHfUn/u1jI3wtaEfIM1ITTg7NXYq7ohHF46Aa6istuk/THFNrVrEMXw6Erxjs9oY/qEkarc4IZaB3aF8r4NR87dNuiplq6N5QjJCh89nzRz8wZDhZb3h9dB6w6SgIr3azc7gWU7CB54XWRE8Qj8af5mdKw0XhVk225YTYANJLwu9syRhG7tMgTnOkYj4zB4rUsFjVluCQj2lgTmXpxWJFZklxd91W52IQY58j2wW0EYGGFyELn4/t1ZUZjZjZdT/y2x3ezUywOr4/QqWaNo8vbPko2CrYv0OLdxq2/RwyLMcEghdTPjRWP9YjhH1QWE4evNaxrv6SNRoMcyZraLogwdYn41cxsuZ8R1sSfwhl0C4oEDtqP/xh4MVL/IRqMtDBiBs3pbyjIcIS4WIxEX15gatdcNSEhp2XYn4qNdP3gC42y+zzSFu4agZnGiNVRefcw3FPF2iHvo7u0Kg/xsjtI4KnARTaHrRVvDP9XL7ySg3z4yRq1hJSvHOs0nL5svH4PVeY693QXnIDekcNCgRa/kHes7OkBHSyo7dR+RWppwOzLO0LKvz3Jdn6bEXrwmSHnt5jXUeYxRrxUZTUfKbXbIoAVnKkyuJe0uJIApg1x4KiKvIzSTzSHwRdA1Cg3ABgx6AoQD9RsnaY8BnVXLWKW/ezFaOeq4Wab2D7+8DuOY9HV9hQ0fPWPJBKm1veN7B83/Q4kl6PZXDv+xetYTe13AYACMDLYHx0V6JO3umNsSaW9gXiaoeUJW2u12V2BP2UjQdka49TsTURv7MKirJq6mbMlbFmwMLuhdh+tz2MlkRVPFVfm3gN2ysefSdVitRMd1e33GW6P8gsAmc+QXZ8yikmdc2uvR9YcQIpht7bwVVg7MoOJIvxAljNr39+lEPGF+gjZ736GzY8a6phGKpsKwzSpAMogLmlsRH0/outA3D44oTeTdLoV8Y/h/poCQT3ROLMU1tPxwhJEqbEyxKKKS+aBW4oG6yD7j68mZJqh3Cawk9E50y5OFek1yLmQY+n2ar8PH6oPcdWocR+XcQNbL/oHzEh64QJorB/1w4KdlBEnCN4AGD1S+ON/3lK9fQ8EVVqi58dAH8lxhkTSo8Uk5+KYQoTh5iweGSQw1HJSR64o4sy98mkpaL+h3DCyYHwGPd5hAsb49EDBlKm0upo6ofcB8hq3sxLTZtGdzbrX5F7cHUatmmJyxwnHjH5lpCoh+XgqrQHts/OH7lDFZ+HPgU7evxx+F4bNuvsrmvaY2FgZdCbXIIvoR4PD5naHjkuNo6mGc4+H5TMAq2OEhtNpnZIdb6f9tnGNKE+7XgEESOV6tww3iB9hvThMdxOWcm095pgOX147L1VAxr9y0ssT7gSIo1UwN+uxbu2FqYuL9n25v9d4uwgOs7QEZQAYWYpkQlN3lnw4E7ayjBRJJCxiry5xmStiNFI9+dLZjJJBMAJD+b8OJKNMFSxiBb39ttr+JuLY5OY9LQbBiZ/hcifawEatR4clkvfLkYsK60EyznWqmnNhC1doRhfHYvqYDuDomXu0aa1X5LAmNfE5sGz1cYfqD7ovoa5zRG9lX/tpWE4t3Q0L1fEpxsKfvYZkT3+s7ZiWqJKrwBgYhalkXdZxEV+uhGdMFv9SjtGvUnfZvZ0uyEH+dwNJQBLkNBAYIb08eWPG8lUSv3UONY2XPCQU7h6K7se4b/iamPhtmsMzMyEyBF7IAJth58PGjn8XOoaxnU5XJ6TlrqweJO9g0GkmyXHOYspEUcQrxbjjbnhcKiEHKOj5nElc0RJ2u0BAR9XKvAqh1htPCSQTsLlzIvt2p9HrJh01W7VPdlQAxEJtjOX5E0moEFsG3alc7UYFIL+WH3cjNxLk33M+2katA73iH6F1S6NdeaefQjv9ljWa+XXuBqG0X7EbXhQUX8ivU1voUK7SAyQC4I1T8Q5sQuqTwqlKGXoYlBAzqavrQnQiTzdQXj8AgElg9RenUcUcFBFerDvPNsWM4Frt8inbSaAzTMoMHRi+CZ89e4jvi/s+OQjfjkJra8kZNylqMT1J+5ugor4A7zvrHizk6tyBs6SlvCEVw1GRoV6Z5KmArkAXFarmZQROM97W6OZX/NI6lilFzrNfVENhWm7uYfEM7vOxb1UE9zurQYzBKDR4MHx8s7KkhVuCgo8nwyOdNU8UUYJjtkozTxPU0bO/Fw8GQ8sA4UWwAVHbxnHI9UZG3oZOvGlUxf5MHKawwHbwOZ9j5d20FoOdg1cxb1DZIVke/Md4wZ5XknE1597ad/UEQqqdGzANTurnAW87PgKKyRlh7bVkHrCZW8JxUK8KO9SCY+qhkXfySXG4RDP5rhnDjCbCQB4oWoBz2aAwdDFoi/idT4C3JjiCDz2VdeU93SkRKYBlh5RwQKMYtfpTL5KmJSdDsVCCV+xUSa6/K0LODTcbjHr2EtLADWoubn+nKByzRQh/9x8wGA8i6DUB9xdaOVdhNb/5M9t/Y6f9oqjO5lPT+IMV3O5+LkHrQAqyEDS74cmWp5ClQalmTu6LukBVS02LEkIlz0OUGvK7x0mBJNkumaL5f1xPCdiEvHNi3+uCiubrP/K6xsK3ZOyfcyCZ0i0+eUKuldKC7JLgfo9NP0PgGHCgGR8fS5x9IPlQKyCpD1CimuZaSmb3Pon82CtRqIyvJsVhyCxyTeFvh+UkqnbELEb/uF695KujOnCkgNLkhoKgeKF5Ji64833WS+G8DEvoEQ7I3iuxBgngXLtgwtlM5Ec0bPCaLkEhuTkd9I+eofcQFrgOT+2GpKS7yR1x7W7vHGpOjFVS5lHr0aN7LSq7cKLOcRcD5528pma+4QjMGI5O++QZufQkXTAFLWnP2l3wfB/0kmeSLapxaAU2UcDDSgD4PaQ2wk4HMa7tow7cYh3dXSYqn1WLaNMAz8P6iHshBg5z/7G9gLllKEUvUom3d0erv4gr+dhoGMxzADnTrrpMda89Z2Jj1lksq3nZo/VXehl5omPRK7qIbUnTcOZ5U7TaA8KEcQRX+MimPwNq0LNZjLSxLMSOPKxTtWEdVbTAJejrhs3HQFtdxHMIwQ2pJbF+Qm/U0lN92awZxLYRtrv/Utl+Fg92iQdnF/EnKyco7mJNhg19xQUBSlcmc+DuR3TmTv1PUat/J6ji+HY0w7jMtOqcoavHQvd2Om8jHaEMSSWDnulaPgcoaM7x7HQhBBC+DKV0l9jwVNnzNI9ctvs7s2zXd0tmHJIvQysXbYUt1ZB0gJLDt7DtffklLZoiULbjb/nSHjhPy/lqczE3SEXpaRhZ3623W3UigfLCl2QUENtOW2wmYQclgQnzR6/OzNKoNMbsD3ApGmGnc9CwibFeCr/8VoKvAJ8v3MsfqQlWX5WuHnHZOzYyGgScoYTLfXCRiu/TqnsLldjyWjZFB5UofY07TtbFFwfy97QPjt20FzBn7k3aDNKYqPHdTFjAR67Jjesw5A5jdOrhlf09JRkbAFTrfyrFtdFxTEQgEIDG75W7UL9h9dqRZXRuEvz0AT7qiia5SWwwA0Hg7m+P4Bgjt+kwEAs2xG9I7Mw8E/6warCfujzxeV0uQIskrB84Q+xqg2iU6Za20GfuUAvtyPMsgTLJ4J5kCU4HylJdk0Wj/Jjnq0qNe4r9LnPx9Yio1kUM+WApSsqSnQSdv/2NvnBhYI8exBSRAZ+NQoQKQXu/D+t5gfhdgV7BNPK1I2zeKUfkT+vznFUWS7IraTeJ5vEcLPyZ4afe3ooGzehkihFb8oCisnysFFBpUiDnu4Gz8hweIjgyG3CjRp6TPZFBLf4vUBkzexIIK5tGf2B31fx9MZsb+bQqphVVPhQT39o8BowQ3svE5mWiv/L2IqCAis4S4NLMFLVQ+nbghh98BANRATKThVuE3EBDBqCu4hL3+XAWtLHDRYu3GiRyHURtUjxuH2MEivOhaS5LBeJAPLC4umoLdkokhmqv4nx1AI25yy1Eu8NYq49ZzBtT0h0XLnSZJlH0n1//rK66epJVRCBtGRuIsTtbvzMeCa4p/COXW+3HBomc0fzPm+nK880j88DpzAaEtJzqW357qdWh6L71oW2SlswDlyggG2pguRv/0ulsGLdE7rWO5eWtGCsI4DsIlApFey7gd2U0dZDRX9bAQ5SuGYMYfvxHUaRfScVg+nuIVK41JnZwwWfY751YpLBYrJkOQ1HYzoydinfUpemcyNNi2h+q5cL7DhWmZjI/hlU8OM24xbQpBp6Y4jzKTilZfUIGleq9ZHPewJoJTvIoKlx5Ujyw93XuJCZ3LIuEuLMJ9Uno4D5zXlYto/T363E4EF1rq54gpc+p3VzgAe8ocZDHuCJrb+1BztqY/7Jxvam+o2C5j0jTunfijrcWd7QGOdNw6bY46B+wt5NyuK6ILbNb6Itz5ygeFHfT1LQxUO07VjeGYhfK3UMOZOfhyRMvXIAI2AhBeCEkaQx9Xtc37ytvOEFFWf+2DYYEz2IpF8S84d5VULQLEp3HqPo2VeRrm9vUXc3FnpOSiDPMrC3CMbmASWpmeUaOax8VQUsXZCGANJ9XYfCQv1y4GYwzSn/5rgL8MA6PjCozkxdVWInztM43jc6VFRFAruHSP2Ib3rTBqS0kymzjuYKWSddafaCDJucSJ877Typ5xUVFigLjPMlb62vPIkoORnvwMJBj6cusOINpW1n07wcT43frOcOzbJL8/y3J8AxRs8NlOtdl80P1EjaFzWC/MH+jfe7CdYPDcZdulOGYfxeltrpihdtazLJsGgbPpaYcxQQ2cm2VeEqO3JicU0uE3doM1txxQB7B50DV9VChEZ59ONUkR7B1vg50jxJM4pqyNKdsp2zgJiU6oUbQBeKqYn+lYo7e/TiVJvuYLPk1J/qsN7zg3hLcrnZnfvV6RIiClc3BGkuJgkm2zm5R+XSCvGiLEFxjERTuv2VGppaZiSjuAtNnQOnoE6S0BdebFT9A0rpzkPrAWRXkbbkugA2pkHTSncOY4fR4cC82e9o7M6rw605k8aw2uOl6UEYwI70H03v5VI9+PRx5Hc2ok0ieB6qM8kTCnq/iCAPNW9ZuY7mJVcDspxoMtAy85uUgPiW58vQQ3mnLXBJFX/Oo7z/4mm4YPBoXDknpuViFXIV1ev7CZ40SyBX2y+rZX1Y3Uqbl5fNRMA9Srx/6PgKyi0nai/F2ttsJm7z9CphtSPFfUxyyfrzmnIXWCFsjUjwr9jpcI3jYftkE9ZhCcG9wfwzjZ7SB7YmzJr2EUXgYzozNUux+xTwFPn2EkBlkXx0HMdnNQSWjzycQSyAlh0pcGV/WiJZyq4pqHoCGGmdr/lPjmNIg3mJrVnhf2F2VrFnb4pFWTA+TkE9qpmww8O5RxbWOrwsX6lW/9HV5p51lk/aZEAmhKpmO+cqwYj2YEEG98qBwkBTmtUUoUkxOP8ArgEtbwUVslIbfUT9O1t+g4f6PlJhkuOT0VPzjWB3ajpZ6Fi0qoXIZ6aTe9Mbsrpo5YS/QZVejd/TyKd4YRoJpxqQs0Vo0Lmny5HIcVRFy0CBxxAKzrFT95xLHsgAd4Ty9Fue7h5SS++Ssi1l6gxVTe2uF+Agobu3X5OKJEJMSwp9Qo31J4v7elMHaFzVtiqosrBfx5avU5a4Qh15BpEKC25RPvAgSlgb+RI/1SLA3ZkodnqUNxC6nkFP3Fy9nPPKiuql/ht8C+qCCXbxGzazSv1JHqB9pzer8LeEkfPg9sMuN7NET2dNbwceJXMjFpaYcp+cDHEzwZQZRODam1RgAaNfmmG/dYehDsE+T18+25YUpZZxjSD6DZGql3I94DQbKuW5WYRkdqJehLQkkl/vFOJJu/YleJEd2Z4KbEJUsV+QetELGMYc15i8MfDRLwrl6KGxySL5vKoc78d3oBo1GwQY25tvEYKxyGU4T+xJhMCs5TtOimBO+3lRxySU84p05gptrjcODLnUuM5t7I1s/g7NpVUccYfFoecrH6ZRF99PqA1qI6yz1z47FWn5t6G2bBoboT65j15jqJQdDVYMkBE4bONkqYmRYQfIWutwj1T1gxwSErJaf3sx6hToPrdj9OWm5Z3/nnM7QA9WP1SVTctHXSm43NNnJD/VSoXLXPLeHgg4tH2XYt2zR+ce9/ZJw9rLlgc6dpUVRDv4y70yJ3Fzept4hoxpSH6fh5Cnu5Zz2P3WcJawKLv8Bf6wqnKUYdGvDyTZ0Ok2MMjeOWK41cD+L/rVOmG1r+b327fOrDllMWJ1vZP9Tne+DeYx+tztsL3yEW7ZwG1sVgWwyY3gOVl9R8f0sOnStaf7Jv270R1wkEGVfQfTGNbWLvvAaAvSVvJBESCwAgyGpKi6jigYLdQ/w3ecu5JAr2FXm405g8LPI4Ikdg3h4WUJ4uMZINtrxcewrx3OcSrk3NZRqfq33/8uKD8gcgcj7Q3PfF+ni1lfhl+msrKigTuJr3axjpmDx1WFwGg4a/wEgvPtIScvr5CyO92bGEBHxLgntkL6Yij4acKdAg5M07a9H8ACfN8d8gQSnK3tTM/gDIeZwqQfwegeW1xaXaQ2kjulKkA7m5bx/OImVulhn3gyJ19KF8y7Ea6ecxIW8OmDJviubR+g3SbR4zs1Suygn4k3YlFuYlxLPctKiPzLH6gd1yhcfujHZgH5HeEnfqsj9QhcaZVVvkbX9LJZ7WI+hu9cvJeHh5wIrWPYqtRA6ZxseNRYCS09EtBdeu8ZAyg2H0fcbhmoNk/bHMsskadpT2d+sbqOP3gxCpSfmPHjsMI4QBQHP980K7OCpdCVxyLsHVPNGZMThX9mx2/kL3UyKc41fA6Q+T7yQ08rCvE8eQb9Y50qtFPl8sBtOtdyBwhc+TNVugk8xdDbEJZrTnQrySFT2Jdm4jae9wgJjtD4Y6ngFb8xBWQZNi98h2sGkAUhaDK6pTLGHW+y5BTciRdv9FRyJv6npNIpSc9qlCgensyQp/CwcUbvg6RkILosYEX7KhAuCyx9I22NIDkYK1u1nY+YcJoEX9L4JPkzr3phCDTkiDaX1tCR2Ih6o329ugBmbz/L5bZ7xCI6X6Mc/HuIEvr9vlPE4FCynwv4BCPgSUt2ht+ov1wntSLn+kB03vUkNNo61/3I2IKU0NvGGMnGybUCkYJCs2+Y4CxaANSoWfeS7mjyjgNxptMSj7nOOHkpQJ/r+nGGuSo2nP3ZRq/lhCvV1m+3nftSQBhCwlhm5Uef6/cDwY08kp+vk19WIHqSiUHQO6KYuyqdgrBik6QGk2U/+HzlYAkRcaeY7sztRa2F3wTTbgfGoHgtO1uFPmEU8R++2OJvQHU9sIcckjZwA+CKKnpve7z+Nzy6Ku58QVsVVICNQO/CEiletOwocAaV+fnRgADaIMCJfNY6s0LaiDUzPRJZbv+nxHuNV4o67CJDxEwmn0Z/zxsnCD5xkgG9ycTYWHERWSP9TIom/fm9dU+saPhdKe6XpFQ3AAH2H6VKT+3eqZ3D/EQPbB8SYSs/b3d4LHhxxL5lL1teU/hMm5MFOcqho8YhdP+P5wT68BgxcWFCd13zrq6RLVu+mFLe/cvSzQNL9LjrMsZLiH07uVfXE4DP7ChzIaCbb5bcI22m4fPIqC8qPjAQm2dGpGsoCSu0Ye6J82SryW+AABY2ry//+/pHTlolFGUwKw163/fut4LlWgtczFxBVqppNUwYN3Q94/Fmeuk9gXaVJC3hq0fR5p+jKNXUYL0+T6WmM+HWUL/g2N79YJ1YmtWMdsGpG+9BVSLSSzI1rry4+RtXMW9EjvXrYUi7fo5GbhJFfJ/A4MaDA7YCdira66S0p0KdYHdEHteMwj3rQwuUda1Ia75EVrA5AvKF+1I8D/mG4uYH2ZQt0Q9pmuQ+FIMLOJukzZ0mgR0zHbM2MhD9JAqX2KgQxezLzbm1qlFwpz3kPpt4NuwUsUNzeDOrisPW0hXCA5zZKYTiuFB64ByT4MgisVfJv5AWbokmYth/8J3qey1nmvUGRNWyanF8WdIOvL13iC0YMMLO2QqULJ5BaPJkifmcxUt/zQ4xuk2h5LGYkYOCU9QC9snlidvuEIX68AHlgOll4b92hhhQk1pCaJf3R+qxpUEFavYs16qy5Ir0+JXMm2+qwLET1BzyxVd4kOyYcPsrZKDEePGexWVbRR2ocIRky4mNt9IsCvqtwp6hvOqdqxLGmDcvxA/0gGHOP3xymDkm8dqIIxktG22gfsOpLu8aYdA9xOtUiN3cyMA/fKSW6fXxjCqIzTftu7hkjCEr9NvaOysFB3vJYAMKa4J9wrgJebbscQWviTqOgtVuEN+i2dn8zlp0zmWuMeQZTHSnquGDm6QRx/t5mD7GagqYFLvamfubRReyp9XvAtVoU/vXteuhSW8PrUOhjedDMnaoyEPl9Ikj/s5QYqL2FKnJwozoWk/GnzW6sE05wxTfOd5S5teB/kvbEVMYzv/oWJ+Ciky3CYqp9by2TeXyCb5gxLuvQFWgGBin+A2mM8Nfc1XEWRc+GkvNkNv/A0wpqU5vgtmOTJ5Nytmy0B9QM7xEuD6KeaF01wEKRLAZpIJnUEUEmSmMe5w9DzqaVKRYZQ8t3Hbya1e93zF1I2H+YXJmg2pzjn5KlEEF6InbnK7Dkvn0IJn+aqZEaiBIY7vZu6wKEPCu3U9cIQ8Kor+XdsAoWBNuuLHzZTxNYJHmW0PW3AsaXY5GqlHCVh+7R++1YqoeEkf0qadZCH1zQ52VnNO/EazNu8OdfmHz/p8C2mSkQWOVic79wTuEZz2rHej46mvMTMNOVEoDd7eilu5CwwFbS1QK1a23uELTsc6iZprdtRb5pe+nZYtp0CuhRWtVaS+W9t7IldPjuy2d2wx39KMznPWIS4IQKMCDFnluw/f/sdtQ8qPnU33WM72O1E3Xg7jGumNe2L7XEu7vhCOHB+bJaQgz5QbPjxx/NtAbib0MJI2az1UW90ItDM7D4mmORJC6HbPHEbD1WiFjNZ+sOsmfCz14j2gzgxuLGsH9s2d4QGPiboll0/kIkTbWg+bwiaK2eZ0BPXsbezS1W9CcMU4zCC+yfqxnWTe1cKk/5OckSqa1dJ7vpSRBqkFkrcThc0uhzJlkEZiAIEvD4TsaM5BF9pa7lymPazh01gMlpneF6BftU4LrM17YH6nBFNu4bdPiUsDWhrw2CAW38+yFSo/AsUeVd6whgCobctfHdXhKAIH2BbwQXzGKlfjTl5rLsrlgtJa/rWEGVdbnbxoemnSkNj1OAccgIFrEiv+g7MjT7dClmObr8kdzeaU279vsSq35tsJK6eS7SD4UCujLoyWQM+2lXlFR4LcgxGAamrFeceEaNxzCSanLqgE4zizsQ6/kXOl9JLOjykJlNmSXiXduDKfeqov8FjVr9Fv2xdurnTk203B1diTNI7OECI3+C4RFOGOLiGyj3bYO1tG5Xx99lcW8jr0aEhRcbo18Irv+fkfjCC9nBcxp9sjfwzWib4GA3RbCuhECD8inCMcomFVv8c1hakoyTXg+m/SXiXMsqPC6RWq7sCEcITzy/Fr7s5cV1Qn+PNgdV16N6jJQJ1DZ3l9o1zjjVzqj+9zO2REbdJPtpdasr6BW5zHB/fpecDjBECEqd4iA0hkkvIdZMy/AnfMDcxayg5SN0mJjMZ6S5McV6sQsVubXQAUrGpYin34ESk6wYE1qN51ec+6vJ7qSHIRgnLhEz98uhnzv7ETrERdXzmdDtfUKFuVb/ITcB+zIqpf50x50Zp9zi/1NiIBLJVtXW9FBm5SqZpt+OaFsw11RtdpQxXGZkFMftk/LSqBX+8JDryzMOm9I5q4w47mmFIzwCXF5Wlt8UJJjGlV06rjW+SPcxN849CrN3miFiFNTyVaY1+fs0Nmv5DsZ1Gt6bUO+l5n4xgPpYm62k7kVmLsYonZrVir4jVUD3AEH3iKqVNVwy1dMHzFDNmqVV0frTMVV33OwwmafOmeYnP5u944Mvled6bj6vHKU3HT0/b+yYhSVpTyFkIOFY9J7/NSRJfvLVKDyP5y5CcVQFSQeGUuZWz6Wz979h/EIW5+Zg5iSsz1frLsP+CY9nEplya11HroOacS8mZFMXh1FSiMgIYnBYdtUfkH22mJknPqvLFHY+uE9E5SRzyIc23cJHuS32VLoYq7hGbPWJLvhHEgX7NOyevQiEcjEEI4302QUC0vt11SoLSa898wqoFWK6ocjnq7z4jNpazCuDyde7wLZrsy3X2OhPC8LW9wbcvmb4E2P5mLZ1xGtKdV/Q8w+aOolTfaddYZOkDf04sFCYZQ99+n9mp/OGQHGowfIwGa3v75BgCK1PTnCBUJN9w0X9CaHsDx2MJtXBGxqImIUJ2jTcHjwX0aab17enmBYR6947FEHRKBlf1nLpe7jeBclZHrkMBLordS4/2Apj/KML6Pl2z9vf7TFSOoxY4LOU5NZm0nDZEBAknmGPSh+BhxHuBM453/2FG1SObFNV7Q79SoNJpXdlKbK6dasLXqYSdn0ZSufjfnGKbElZ8eznfWsP15x1QpttMLsgtKqyPIGgGugaomezXPHtyfo71ZqXCY3C/Q85Egli3UG7BKnOPgOLhAKpzsiJo4zs08hQjR3s5xkKDby/uHqxzfgI8mVPGE9uqYhClDsGa8/Jso71SO3a6Fx5rqFDVRrhh57h+yHMpOvj7eLeG/ydk7DKT8b25sA9LL+iLOJBRyHeGrpDV0/3MOscB9Zzv2wBdlT/tTOJ/GNxzEDvyeEh7hfjuTMPezA0Dd2B/4i9Ca7+C9YHFTXmt0V8/i0TBceWw6UsCOwuacSkN6HChYo8AjRKek3INDsw2XWF/YReJE0g5EzgrT5PiPBn5FTXyiDhfToP+GIGpryosOxlolDw6VOoY4qrzsiqR6Oy+oTXLU5A7+dtSsTFQn7bBu6LmZ/tpbyzmfOWAepV8NQBetT6cKUu7I96D9kXG3yNQdsu1Ng0IXe5kXQH6xAct6UOXQ4eeSm5PTBdmjwKxbmPKtIEX+zprne64GILSQFkfoncb+pocgizImKHnLQ/PARPYoyUkwocy+KoBJ1TvrDBw4xPiHJaxln4vUaGeOWevALnUxt8HYM04EK+K6NpY34R0Djaqha6l3C3c9p0qXZHVXNEaZmi24CB+3MIrP+0xGxf+lHM6cTIICPxbssJvRsGWSmgNtGojQJ2VAXwkzm8K6KFgqx3XYjxhpUGYm92ysMvpvUlxb/Jm6Xgj6chSUtX9usrIjPVmMx/fvnvSg5glaNy2F0s5732FHoDvbTWhTUF23OLGHGL2CirEvB/GREO1WkVcptZIgwcleht8itVfjOjAmxM0Hyhjz9nRvEUxAma6k+CV5PSCkcQO3VGNsNsu+4t31EplYoNGN1d07CiMGf93t6H2Lxam8vB4W+/powtvAmfH7Rk77wFuRM7b1PT3qcP37aNMymKB5p/esuOQ2HTj3qlo1xh/PbF5XGIj52vA5njqB3ZvLge6f0NzBKt9ewRHz3mOl8GHBdu4Kmw6dzFy3Ig88/CVKM7T6kGLsPrFIREKZ6e8a0YXHgKzs3jQweoLHW3/qYGHHGg0CsHKH/ybLrff3P38pXSK6CMWRMXUIQYq34ul142jpyXCWy6NiDHS/13f8BaI84GReHfH3MZtWygITPEbnHVXyRINx5dKNROSJnsDGH8227OzC1fluJ1QVDRYEbid/4ucUabnIx7qG5uUUOS+d6p/LEXLb/oeWH8GoZMDMdQQOpXVKMiJUR9w+eMtbXoO19N9qy2yXh4X7bvdz5yPORlRXqMXMonL3tSV2glrQ5qRkThahTFTqmLOmCfjIR3jGTWs5V/mFc0oT/iXMXZxusT1maFYpRQEEC1sLCbrsuTE8+/Xm8o2Xqg2oiNhp7UYraOhd5+6G0i7wV2DmDCvC6KyD1B6CUx+YYRZ/0xRIMIreh81ucqgrD4zu+s1RbqUogKyOEx9rOD/XrkRaHs4FWWEini4AljbgAFQwFMVeLbOOiwzYF44nYCzq50nZ46zrCIiDP+V9D35HelVP4ud1iYqCPw9JK4nhyjPM3miRgIYjAUcbXBWfOS5UgRY2RDho0tp6co7Z5+1J8c3+Zn3c0S1Bu52BQuCpbcR+U/2JKPjqJzf4H2LebV22PyrNSR1CgVmHR4KnXO730d3aLZP1hcfIccVtbpkJ0GIU5K5mVwqDFz4Qwde1ghuOA23Lx7sI0gj8IJ49hbGYi5KUe+IcMuV1WlJ2WfSWwCwAPdlX0T9Z9XwOPAn3rgyMkYzg1zOD5JgkyhFUzUBcQ//Yz2anUzfU0rgyx0CjYLmuTyu78QORetVdhmj7cJO98GHK5XxeysRhuwiLp3eaVhjgrNwLIZIF4QccTEqxkTh+bYLFpz78/rLhsBIYvTyrOUzYvlxvmvraEPva6W1s5/B8jgrhoozNuqg5qRnyIB5l8iSAn6eFm855ngrlUDpH3MHk3aM1W7iK5Y0sVe2Rlxx7vN3yrASNiXYRLy9E7c2GsngdAGKNl5y+51eDa0N8pm5OqVIourFzNBsHmWmE712WpD8wnBZR1Ww2M5R26IbMgT8CYUDRl05Yq1/UzbQ23EuLNZofFv+ysTv8XXoXMjaF82rs9t9xdhv237jMj6fpfVBT87eQOmIPqBuY5Nu4BS0dRPuXnyU/9imk2Y8xG4el/yqySSN09brx5dlDRzWUR+ZmPWK6jStCDGIvZFG3p9V7CKQLOcCmyhYBNqtM2hJ5G96UTA/pl8nHvpKidUFYtJzdf1TqBD5ewfEDmFagNP8DE0XMM5/0xLi8hDAH38lYymISszMKWz/5o2cevZjpK3U+djXWOtCJI1bre3zFsouxCN4IBJSl3FcoPiXHzSO17idj8M9x+75sbYsLI9EbO7TEo1LJdWlSFIPKhUjldwN5bDFc7Sp98MBpNkvTOZ8esz1sDhf3rmI2cjhzEP4KATJnpI6eoD6wNZ0CgmysO+0Art8zfL9ZRb13cLw+sLIsNt+Qruo6mh4pZ43Bc15EqDSvH4cF6jdRt2ENL4j6ar0iZ1FN4YJgTpfhtORZAj5CWRFQwsQGhlMa7RbSsktJzmtygZKL2w5ymYPv7dV+zMhb74nqFt8ZXIybNxCOOrVYqogG4u4HDJ9OYyUmZ+Z2KlKFmDmQ3p9Q6vUj4OyOGKx5CguJWEXOtNssteXjGlkXE96iHxtLM7oICoLp3slSiYUTBD1yGNMWB7QYKXQQizTZOwWhEUb36fsiM7YYxMTfCjZ9I5Z7uxSA834QDrNBxLWP60Vu6PZhAWPyZPjay/eZh2PYb043hryj+18l+xmymLzn/eznwhnlTNNdJdApov0f26eBAeZ/bMZmySGyMgCUr2oA+UeRPzzzhw3LpuM5FQYt3KiBXJIF6IcqEBREYxqIVXtGoNY2zEUc+VHCDcaif42kOLdqIjVI7t9Ii5MiznMEOYJqIhr81kzEtFtwLMBgHP3doqB+BpeFg2dP4xoIUMyxmHLg/lP8mkmxiL4yw8MIYcwYEEaNoUR+OWTgwnU2BUA5BStL0SLgjas6X3ipylzDD91shtxApq863pwK+zHoEpYZnaRgmEteBbJMGuzW46dJ6S+mjXhjlf2SwQv2THeTKxsao1tz54b141DGwhp+VnFWov1bPq2oVkaE1dWEC4uw7mTqZD/Q8jHUFHgbC5NvrxFHcuSqdsfHGO+dbrZnpCXtcXO/Hlp29LoYsY2xAoQwU9T+LHpMouJd2p+03TlSEHEVOJ2dhKIPhOQ5z7rH+Dz3NxpaXu3GGg22RGY2YGoRzlYIwo4ReQQtb9dSPCy1T32mMqrkaqzbJVslxTV0TYB3MdHqnsR8eGrROxWl05MJh/wz7gzfIZjQjszuJO8onPUeHKQdWfiLb+I7jXdD4Y0BpfwHFUcs2zBlpj+IfaWjWMgpWdpQJ4Cao3a0/4IgyhHRiBMmBUU2hj+l0kIIindKj9TRQDzWc/SblR3HdK3XB//xDq6vRNVp1Zz+P00fTx4HD5ku0dNgqCl4/MCIl738PwcfRV5NA9xqI5yKq4PYfNxDyA0OcGRPpErBy2ER20zQqy7i6UKQOCPkca8zmQqx91eVFfq1CHVPhtBa0PUedN0xh53o6AFmjdP7sMzjv4Lb63T9rGsJDGIH9W638PyFLV+DVELe86dr0cizaFIaOCWXXxx1fjKzRYhiauZ2+8u3+gP93tN2xegfC1xo+rCx0b09Zbn/SfaS6Uf+55+vscl7+P0l7Y+srDmgBIcYI5p0LnCNqC3rtCylLZti4HyzaOtk1Eo1dssYQVBMiYO5/aj3QIHDGjmc07FDuJlFOibgIVNgy1HZITfCokcula334/+KahYQFrunGL/QXmS4+pfxoh/BaAsP+4LJ0tbSXKqWYk7DLht1Ii1yj4hKOsbMr6sQTpSj7MBOaabyP0+QO4XNPZ3UKGNYShxc90PsmcUHV9TaECAk5XQrkzANGb2qOJkjBoE/FnFC3c9WIOMzVEJt6KC0OFAAQSLr3K09UtNqRtH5s9CsC0NcXpQE485qr7Fxid7WLuQFE7VNtSeaH52mDLbRh4DZ364bgdSB0ZndOJli/x8GELL/JeDsRCb3qi1yMitXFH1zS0cBFhXEI34u+gCWCo/mHPDA5qj/jQskqR3Y4mSVLk3PZ2WeePEioicR650YkeWeK9CXrBC1jmeV6iwstPEAZYO3qEm3KsL3wVPCdnBlsYtLDE12u0x+gtlsYcTGkz/obyMeCxvAXVSgPOUeHaGU1JsSu33/aCRJKOHGcONEuz47vD1zucYEfwirdlOvbKMjPD/IYYinWN5TeoFt9ZORu4cObg03ZNOQjYWStUu661EiC1S04yJcVLTHIyAloVa1qZ6nfzOHLAaWlDHr0h3vTtr080PWa2K8EsofS/H9g4nLhmbrlJ34FDDFQQTBlb/+nJTEik/EB367ulzlJFLHVJes70Gn1FRwfLdWrV/s5J84gsaeHDgPwebf1MCYExXVzYqPcrvAs5/7rtllabwtTwybVJPkKIxe455NtxIYTkv4/wTb/Tl6wWSWfadFHPA6fREz6Oye3ADERVMYRFLvjYKMBVT/t5iPxZY2BBllMpZT0hG8wMTY2xh3GX2movreu2G/ZZjiVHjWl3vG7LNiDQ51I2eSkofBpDyT0YrotMSnFGC2NcA/m9pxHuMEuGHfJERORv7YBPRBNmcJFbpGR4pj4v3I8gMmF6w/75ogTgDVoupL1zVPe4WnqhYBVkGVKjHVdb8E1qF5lAgg0wnxW3MkT8+XzOUEwid49ovyiVnNxRy9l71MTcuWc89rc8Z0CoooepggcQ1P87Av8f+DRycEkASnnz7wfqgXJlxBLOlB8YqmWsyOvjmMeEdVIvQOPI5tqUqwHbdCT3ssFYnezETO16c4lQju5JMstlmMByTqHVT2BeSpN2nW8xFJ78g+7ytFMpTb1Dqaqu2vG35U5q+Fbbvdx+uwtUL6jpkzC+ZYjp11r9dEIdcfejnRZL6jx56epyaRvhLqWtkwtSp6ZiyC3zDyUlyY1FQYm4Ne4a6jFAlnSocv2zouPFurAod2c4CIdOqDlrjsWJXQdH30kTCWkbolIXFT4yLnBSIVols0SiFuvT4etmfAsg1P782O7C0jJFJJZbX8pLBj0KlneXkb6haER6+VnJ7S1RKHWanvyESiG82cEkV8Rf1SFomuoL50AxGcCjO9Q6hv2xCysEblu/iRF7kn4XOeJmRaPwSW7q3blCduSho7DE7hFwCpYVSWty9lfzymvLysmjXzfYZuJp7SYIQEs85F8oDyKbvM6ccwRoj5KWUQJcMwI7xSFeD6JQKZD+9+UXCG/ZvAA9b4hjjg87+ls+kG9/cfEVao5Jod0+3RmB8BoKk3sJXxEWvb7ycHStR6Rj2/RCTLFhZI1vLcIMjae793gNWJj0FJsYEokQ0IRxAk8pufolCgYJh4UsEmmgTJlVP6m0WWrmcD+OsxryyqkbyNlUdc01IwCj+31v1mbjcjvWPw+LPWLT0dNpfTOO+vbCve4n6S+TDQAoM4qUWGkR+pZbKBgb5HQZoNPUAbwvZpyHP2BmHCWaBEZY6vQofgzcaTRJ3al4c3bf713BPt+tRBHCF4Uu7s7MzNFbTkKzw9JPEuUtKSDJ60eKZmiRS2uGRXfOKdvQhdpbB3YMvsbQuD57yi7lh88Zt5mRpAOefOD6Ml1k4MLFYpkWjioQs8u3sgAZkKaZSP6ioVjZBlVv61f+n1m8aR+6LJa2dPEDWtIcX5Qm3+madQrS/L0QcdpCN2pmJnvuZDmHsBRPy8eVGvwLHcIxbIJnqIbzO5FsUuXGSuXCrbqT3FCil8+uFrnrMh0w2XWMbiNrerbxK3KoS+VDpUl74s7KGCKwDQwiTyDrjkiYYo8uC0xn+7Cvs24PxHGXmA27PI32smM37L9uXoTHUbPF1JusZ+14pJc4199VdLY17N6+dTwn+5Tg/l6Ryu/RxneTZ2/q06EyzOMjHPeW7NOUT4Nm7XA55qo4R12I1pX0537tl0dRJJhDNdnnRZf2+GDkn+wm/Hu+Y31+DlXgFgAktNInGryNp0gGd9jUhCuL+JGtbL1P4aMTCD7hMu+XsW0GXnHtwrARnDHriL0ldYx8JWUU+vFidClr6l7MqFTWzuvD/wMtbbrO7W5JmpmxqoIxpOnEFicCHOYY+rZARylnwMUuWeAPBTqrOvqopkUO9JG8yIf7LG41Q5j5p+4UQnAD+7woUwq2sfDwq5RZIRLUe5uSoW4/TIV3+zTKm4VLtOEGxmSkcQsvx0+CxiATEhh/hxrLnhi4GLK5JT83UKaXRSsZ+iGrq2eTUFtFIWGznpf/0osI19njaMACmzllPNiopRpzu2hgWIoWEh3h001QejHMl3oX4zrNYjNXdq5clmRPyqAYpxaLyi6QQxTmc4KuVzzrdYVv5Rd6/Qc1waEcWEBb30gL/AWKUUThJhKuvzNZqQxHsTOX+I5mvtLM/aK5YSFLzJaKdsRNhwhPW0YSNtzFZkOpLZN0NDwUTIC6A4dMJ3BS7joKdPQdHuf+B9qc4QXt0TK75rPcr7iVLculZtqqk5On8RHXyW6UMcNzRrN6LDzlHDY8MCsf/1YkBQgkYgCXWh6h14Dcm0dIUCaf/RIkURKciILB5xt9K451/25xj5z1weDQJOXD2ULkBqgxdYTUjx/MFrJgL/29c5pvKpPzhrGcozsLvwpWtSpb+PqRUfuRxR+kzCXxMLKxayfcz0UIv7DQp9v8ycntqfPNQbfy1CZKrlFG8OI0T3Cl++bGbDfpZ5w+l5x2dd719Sw0zFsekmmeBiQ6VDZJH+gbujysP0vEeoxrolw9Zstb4lNg9zJQLl1f7KcW57f5aWPwqodj2YrkILcSsy4emcde2Ji7wG5MXQk4Ci/rX7MPTZ+32NZZHPb3ltxUILOOBKErI41XZv9/cEXfHkuvGqxULOAuPe9V98O6r1O/ic2rCVhKjGzKEKhJW6rRdgSs5yGl+6rcEZaXX2pGwEDlR+CW6YrndkASeFb0Fo8ZIiBOfkpbMLcujrOPj62sy1l/vnzSf7iL6WB2NtlzlpKXdH46aVGeEYKOCGnJoxTAshpGClwsSU95VB21P4LYqDaNiOK3nnUzfAB8+F4A0f5kil1e2v6ER24Qpat51xVrmQEF82JTMoAEkiFHPjk3jS6B4ZCLcX3sorOztZSLyjU1CCZZcAh/kWlGBxmsdZ566mhUDJzBoNpRRvaz7Y6unxT/alLCLz0hOo3GGvOVo1qqc4BM56BZHmxZVbWvakIG+Ewlv8QrKdxLvsGMjArYO+4zUSNejFYmghiVm7al0PzWnqTKbAKR4BnrWPax7QDbfmwkN7/d+XFE1QWKHBECJzIegIqklBs0PHC+CjRwST0GDR9MKwsTB1IaybxVdgw8KFDwSTWTGDaED7UXaEYq6SbpkTczJbUTRv5XaqENeNWM4Y2RYoAW/qGok/w3wYvtZwy8gQd0m4LyyvbsiC86aAMEjAR6RWWqYiGbSccBsXpqo8Zvjef25jUPd9d8sAbo/82a5ETxP8q2XbwfyHb8PoBjq842P89g3jwlWkmWR9+Kuf1M45QNSJRx3Hk1zAaBL8lTfZp4YKHVs3zvre+2NcJcZB2IYzsudis5c7sVLr8wA2XuQwTv1DVKZIU2AcncTPSSjfbuBPSqnYhsc0PT5N4H2eUofDgfYSAUy2UmCnHPfOtFS2tabpArPCpBTKaHMeOqcXa3glhQZEx8X+NZL5GGsP130gj2OrhBq9gwxMNq6a5jJTu8d1tUp5q1U7Iox+Ndx2dCUeOqBoWg8oUHwxAl3cdfEU5NhEXzk8M2ppBQGsr6LCYZ/Hek8em8y4z2P1GAjfv2eoJq7B0A0SsI8i3YpZ43fP5Enn2JQYCRzSh2kY7x1Qqu6ozvF11dyfxsGqfPD0UWW0QO04aPvhK8sfCEopP6vSJLaObR/kcg5KVwuo6BeV8vtWDfMGDMLcaXhQ5Jwp3Sb4IiHAGOHGDgXUm1v+I+JVtQ0DJyVyusmmR2jnQLNtL94LdF4uVP1Ag6OAJd7JBkJGrqqJOHnqVYO2zbhpEB5udnORU9JHVzUg4e2JBgKhJpb0/ilEi0MFgT00FCUfQhRGktMmgQDknymFxY/8REtlXivM1n1iRwVXQx1aLSzefNG7pFfKxFubBgvxLIj8GPLKXQj7ujJcteGhvyFWnv7RnEHmiIo3uIvSOljqqzIr882iyV1a4SkfrZrsTsawCMTO1iDCWnhWiWtc2symB2rFiPsw2TONM5RRLoDp1aXXrRseEPzI2G7gkyDpA3gjIm93cTDNtdfE2kKN/7RNeAdI8OjR0uJLXw97/faHGkJgpkru89JEmWaxyQMnPsBdgrwRjwxRM56ZyewzYBxsj5IPNsghO8KKlyR3k3EFqkuUBnGg1ZSWfA0Yj4xSKTVTADada9yKuPJzFiSyB/weAFbEN3NlmUP8G6xwWQnbnkH59gR2m8DvUFFmxdIPgPeLt7W/QZy5i6t+XwUtfbVdorv55XeimDaANo00lwocLfh8TaKXXEiCE7IaMip0hn31O3fqsCKObISp1HTvfmLr1QPBXARAudGSrTb16ssCzTQgRUvqYuCzed1Zo9WPNnpVWn47da9XYUMMh6huJzfEonZ9PYDYPY05TzyY/lvi7O4WZWsPFNeAm0DFXgB2y5n5CcuvENbI3TvGTmrf6O+e8UVdFwnkPh0hw7IN6L1Hjb9e61q6Mgor9fDUk4IzIIdWB0HHL7I96JdnWORSSEVDgXV1rmVYu8QSbTr6w9Z32UITZCSxWhSqZ7ZD5gzIpwtbQfPnBQoQ2bUeSwImB6To5iYfF4lktG6+zGknvf0VAUCHSIJLUckCHEJ+epCtJS91+DQqBw2RYGTzaqxBqS9nBV9wzcDf3Mt9g79Gztct2cZbMLnmVI2uX9Y+31OvooL1vxyvadaa9p+htyJwPkcHzeGG+wKeJxLsGX9FFFftKvic+NhGeolZAOdLsofLf3iouTNxKbutkCqaFntPhHCun6rTQjlIyWTF2gW+X1+Y4GQsqLfYo9upnP6zEfB8Dy2bjnY6yxIadsBrMnGP1HjjkZ3ibDIOS2k0tvLox2qQG/aGOuqjgUNszJpjQZFYSyf+29Ys7b+0pnKGMTvQmbQXfQKS8AinNWEJ+a5wnaxC3PgQ1ckQZ3CncGXFvtZ1UZhXtZYd58O3ZYpPzhfSuW3j2L5NPkBvInWc1V1Cj6oU6G6EFSzPWz0y72O051tfwQozXS4AQhb5qBiQXzNNJFG6XFPRT2YkVuPOAov29Koim+Kp3JgomumtmSacLrtyjYAXObuZLEKgZFoDi4VP4ucnjLK/O3n+TFvjIrNzHFnHlyywoUtELsOeljgtYVLzy+ojaLyZijGjqWbYaUn/CjdB7F15aBqGC3uAsU1a/W4uWqKT/+FOOIGKrDLzdWlI8zIzvOWpuZ9YmWoWzFSBke7LxYg21lglKT4bdibAimqeVmX3XI1Llw+65nsWdtR8+0XkyRCgyCMwcOWVrWYVsR+M3xIFo4WAj6HV4nHGMdD5Gi/y10DZ3Rc63aGZErYXUU+zcaJ+1gD3NSDHsnsl9ThiSiMjgLEfiWa9dYznIiBklqDkNuRumjdHTuCfaLfx8WlJubJLTaM1LMn5GjCM4qHnVRGnEBPh6e6qkHEokJVVlE+VC+Ie770bL76f+6zp0fWLgz+o81tkXt3D5yowC4kxclMuZ0PLkLrXlvdefo0WkBO9im3mdLkNAkgPtNjwjyP5p/hAbkWem7GNL+H4ALUkgSoL8WxPj4XTKNYzkVoN/SDDNhP+pEpAw1pK35EVrQDUDPkic9CM3jReBQuohU1qS62Pn+Na6ksH1dEclkC1GwFrqKj0Xkbt6Cmxyb/d6iBFJctfEIwyBWTyCmoCMS3YGKm/LQUr66AiKMEO6T5Mg8GvTEJRcZIXN2p57djUJRhsZPZAt5cYSLZ1Dk6VCWoWn8ND864uEY7Z0262BP0F5CQQPxzGK6mfbBPAcYTEYv3j8BiI/3UJs6kjcgFxAgIGt0TIWKYknNPd81V8pUSyOWxU9KFlk4iPcFRkuTY3enKREDNDI8LBeqOogDQsuUfxwjmHaQlJuCYEAY7MNDOl/NwGRPIRIykzA/KE8Xm9LRwNADTbD0r8dL/T4fXcRRdqkElXdx7M6TAZg+UHv/LKtBPfzPv2f9Yj64vhWgl8PMuOw/kQwSCQc58+OGnB1P337jl6U2VOrboh+WPpTfCwp/5v5YzL+kYTxIbjcF5Tdq/cs5LlLVRK5HVbMPbDkFttG/U1RpdqwsTIRoxC2hLbrFZqQ2xv43m4nG/yzicICgJYPXMXpnIpBKzD0oPbe0hQz24wS1XcZmmmuZZDKykEc+LJ98Q969MK2IC/ZRsuTyO3ZhEO4mCoaK8+SnSUeqxFCpGzGs7pezwVN0BopUXNGBrhOGZqwawc5+6T+U2mMdr9eUuhxy6nLsnmKnNznBfSAyxEez5JYdvOO6AJEj1ktIfKf/GpjUjPSsbG5rdOEtMagWMkamqMYFVjDtX0tTLBrYLK1aEQxcKsVLoKg+PvA22ELlIFiLbPFtr+PoAihRmgrLtH87vfuYhqwNuzH2Jue1lQFBGLyjNSHMgtl4zizoCghOLFxQAKNDocc5hWFKUk0tZkfydm7xkp4lc0i5Z+lFvrvPC//AEpZ/DhqDKl2IgD1Zl0tw2oQ8vSn4RpWxWpBGTkuMJWJDb6z5OJx3lGnQTH1ENWc3Oqd/hb6VlR8HxI7GdMlHLBIrG24IBuf9g+9VR97XX4bAIprFGGDLSoo8kHh0PjvI5zNB+NUdEK6X0TMHBRnnqmFYkDx7GIYRl010cbWc18EmCyODbq0Boya6SHkhgRzKzc4LBP0o2qsd5pXurQ1PQ5zP+lRSpcNZfXeZ3HRnD8pErtfbYHy39UfNkWYioHi16lo7/s1g4yFjEsQnFqtoRHNKwlGh/KmME5C6QF2+KohCvR3lm6b4mvJbP1gxmdtHmxNy3ft9AgiQ/x4Di6EOwJKculxnHz+s+MasulUT1MFkh0+ycfvpsYBLvo21e805RbFL1LqOgBFhNO4XOVMQNbOYxXrEwOrE7L/rMP6HQelOPYm1uJ7Ec/LtigohZLRJByTjwI7BU4f7ekKkNWHcEwwPpiUzyuTdsWpWzb8reaYtgecla2tqbGcC92ELbnCn+L2O81xzgRsJr0ppA3Wq2oe0D1/JzQJYxVvTysdrPvxQF048Dui+0OTNZYvZnj9VAxUyVR1q2Th288Xd76ZIE4D7KDuhOM7HzgLiFBMgCM+iMbvCwugp1T5QBqH7/DdAnANCeECARUZnhRio9zXQCApj3kvImmeJ3vkJO0Ip50m9sYyZqxXAF/HbZTYAgZRg5VzZGUE/Nlm+EUvIotbtAxgtl5aqrlsMy5qEcWouErAnHNFDiIhY4CzBxwSuBmXO8KlZd0bADvRENZ1jlpqo4gpANz+W7pFt9LnjbPbuhid7ptbg3KyGCgoLGeHyxZs1ZQWDIuRBhb6pRodcdOMcDJXxRIx1S95pDWJD+Z7QTvxc+Ik+VkhV575GN3ZLMAeN+2MOAv2ikD+0oZ22JrYXLtRJDCFwGBkVBba/bWL217svro2zBosyLGgKCtmkaEPMrICf1ZrkJexOzsLTMXTuJ7qjwPvVpJVW7x0llFonyWTv3i4wVEIP+Vsg3K5XxfowirQwcvU0MOWSC3SMPVC+m6v7V5mx1tJ91UgvvxaAcOsowGl2T+NSzp9dHdg/0+mkVGx4Bkw5heIpM8upoH2K0Z698+iHjOHGN7MjLJ8B+PyVDMJbeOjTK4Ydf6xr5zjMPxILXt+1zpI0Uvoq83XtH7migV1As9ax545WZN4LjkDiLQD84iw+5Atwyo4JPKZGzOb9sOYjtMBvw+p8YxL/uCzBW2MDbngyRH/qH8WttrPNVJSG5z31Gwh/10IpWmASvVOFJbWQr5R3y9JiiEvbpVDLBGYLd7F3KyadukPcjN3fj0kI12JaTDuRxpdOBpLMHEUpp637vaNDF/zu7qaUOP/TXQnoJ4iHiYVK+hL74LEW+O8MIdpnrYKkOI+37q0NfgXnTswu2mFBHaeXfiIpDkOVhwALN0g3YwXc1jAqSg5kiF5LW2gFm2PKvtBZGFPf/wMM4sbYQsfFgm+m+ueIbgHe38Cj15dER9SFRxD2HAVNl6KCQptqEfpNWEuHXGpUxjX5jhssg5PJtycdm6r+ur8/sbQvGw8ufyK71DX4RRGNpnOU2Fg2Xqd46dY8wjDaLMmWMT4qA97OOCTDEBruBybzX6ExfvTZZCHwzPQR7wso0WKd60k5LZVtHYsjDcByLgBoEFHm1t9x7/S2m+NBpDNs82pfQWkUNYIVBmmIrxqHSHvNUftZpfIwgK7zflDWt39CvGCHjLYJjUle/IQcheII/+WIz9lm3f5TTpdb8Ku2AzCQAmefdqTXzo/BN54T2ETJcpOVVE/rDPZfzZ2FD5y2uzzXWnmUSeaw7QWDkCNav42vtddnRtLrdgVjtrSH8GMlFVrFnSbN7ppJ94RFQLT8MmrY5l43/pgtK1il1RI4Ytgq0Fp6wNr4gCa9LdFUREa3JlcoyHSdqidZkQMXYA6gR5qu6ITpPN76qGqC0N7FZOVhAElwVmTJg6EFcRJ3poGXl79YT2bvIyFp4xeJlZ2cRRYI46cwMi+a7KooIGAdFUePmRmIgDQ+Vsszz3QXyV3QarHjJDHcFuyTEg5plX7ycyHSaD0GzWTX/7dvukGxiYhKOubTPs7XZCB5rEMb4HUbi7J/MJ61zN8XZX16N2scqEK2CRCk642Vzg3ZH5OhfqQpVlL4VZiV5u6rz3TIktD9+PZZz+LIyvzTwGGLaq6e3z5Fw9ZKTUmwGIcyWg2USf411zjeD8jHd4Ru/AY/GKHB7VIytIsRHbQcvPkA5HpGhI0u9U+Hz5qYM9o1mUEQYGOEygnUArLxjt/Ox5AJgDb1/Ypxaddcp5fHu41m4NJuodE3E+UynWERmFevLOSoa1QwsmU5Hnptu3kxnncel3zoiQ/mL+WeNn+S6NKGhDMTV0d1BAWNJ7PSsLnzxrM28qt01NrFDIO7isOrlwncefuqQlqWL38heFOu3QdHp/y+hjh9V+waLzOYBZ2by5Z5oJPfdLv5gWGPwBIitKS/Wnxdru8d0zXX6twapzQAX7UwowANXYMS/8mTtaMf+1w88hr/8g57+PXwQ4v53plbt+gvpBvx6csL8lf0mcHl+8ZCTBxCcJ4kTPHKcrBk+wqGMRyPNa8ElUinNHjqdFL7haJGft7wNju1yHWeBk7hSIvtqbq0o3tWVzRl633seIaGyFewmEqv5/TE/stNz6sD8g0LVSMCUiPcn8A4O25X4L1mgMjErbt6Uxiut6pY7ChnlpmnmxIbBOk+H/rU4suxvH35b43KgxYblp3IRyJ7jdKAcBOVa5AT/uH+oL5fEeIdlVWf74OX99m5gJME+QhPJQ2n2hJobLQWe81cgGoLsRe97l0jLCITBhI5QS7Xa1iKRAFVRJg5UqIGJh03GfIlIyJ3mR6XAnhKQTu938e5kc6oPoE6+14bm9dg1tK2krbywzu2eq8gLRgHUR06ZlotG7Y9jK1+mEPkNYtRSFkSurj34WW0S3cOHvKlHtC+TE6/rl4/5Scbddm/R8qUa+yAmOuANGBlH3yzduXEQipJD8YBNTdITJJOi5QGKWK70xM038XRWAKudGmmATjVKhQ8ycQ5CawPMkYn/xk48+jsb+QBPISU8T+2/4blYO6T4bgC98olaLcxTkENPQUNZS8IJ1gc994xFt4ZGuPVG4pEzIzYa83g0CRpgRTYBUGNzlOqpysLd9ekLmV0GND3ezaCpGg80dk2gN4w4NR/bIcJ1PA+lQzefX4GFMfuVHLyjKAhiJRJHqERyeAerABTCxrnbKFR1+8K7yAv8PHwI70E5OEgsc+RphvcpqR9XZ69ZM5vtZZhqjEdYVilJ4HhbG1zoF28EqlQ5b9aGo4vWN7xwBaEGP8mjl93MdFCdl641U3k+J0igAJDuI5BT2yyDsMCleO7fLOojy9SW5ubgEouQw8j7cczXmxs8nQUU0U/I+0Uxwb9N1+FaTLSVLUn8qMAWfe+zkSWaoYVK9zXk1423F/BL3PoVP/VBI1KNmqqqwWpBZGARfgx4PXYnENMlxjMSGgGprHxH++bgTkIvL4UECJ9/8Fs0qFPd1GbOT+nlkaJ/JvapCuWevBfBlnwgv3Lz64EYKqBcFpw16cxPjZgycWo84HVoIuFgr247MwpN1zvVbcHyJJQLk/fqq2EUmLuVv989k9I2X1tt0dmHAhRd/k6XJ+XiI5/IqxNr3KN25sMRcy6CLwVhy+Tx9ONoTFnAn6VEjjAEwrJ02fr2bczlCzOYUXfR6xxuzju1rr2CgVMhgZHOgHuye5P+Xqe0r+V90nr1ykknhNsaXBs5MYQcF/7Gn+7iBYZzZ8wX54/kkLsarLL+QzB+fAZkm5+9gyjeBkz61NB7UYGCw5H2TCTR9OX1CXhescFTVp1oSsA+5a6vg8RkTSTPJen4L4C5syviVk7tVV8Mlkaq749ZKgKAw9txv0OJCtaaTGWzZyLdybPTgL76oXmelOlJWn34y5hu0xJ8JWq9qvzuT6SKljVc+vZ9YNf5Jz3FdGWNAm7dLBwn667hc9YIEdIX9GdE1BPXlnJq5DoVboEPlScNXf4GlDYVgBGemVTB8NlL5pOE79jTpijsPVapGSl/xJIodO3JOft98DJ6gM85Z587R/vyIMp5UND785JwzbwmL/54QO5HtFywRwyZDxXSoHME5PTOA7HjHCI1iEd97+wxyqASQ31C7H7OU2g2OG8wnBDlDySYFHvWk1NHbDsHy86G7BrJILkja5PwLDlKHXs9LoRUIafktI7rU+R/O+rpePHy3alsN+8uv6lixnYmuzo4R0qJ6mHXuioOjbpbjWnuCcXclkPTN7urnXqXVUSK0U9OOGLjJDvFS7xbh5KERI9aMG7KRSVTVnvMEPZH3aLSlk1A9IJXLuLjDxMb47dIeDphMbarMFduQwtvaecp6fAJXUhNT3OFrunCJpqA7NV3Fg9VRjaU2cZiJA1Uxa079k3hC3Zlsojlg8Sqh+wtFmWh9GVgRenxYFWXqUEPCgFToFPMCZpSV/JpdX1VwGKL0M0zEfkeNGgf7dF7NBJukSeRrjmAx0U1AJV1b4fMRNo5sQiJvQg31HKN2+nG/Zb7QPaKimmUF4suPr2OwXRnIcmyAa96UuQJ9Nz9PqiUqX3wZSJ7bSWsNP9c3dA34nXHFKpAgL0un/VF+d2gEAfiOgvvtmpeQZ5iXZ+550vQN9NOyJxgk8a26jmSpbmWyMMcZrnvnkOYVbIgZSx+8oVO4m7cSCQurCuF880DNZUTkHYrcyH6MR43b2ssrjefkZcSTt1t/ut/bPJOzEDMQTzuzM08bsJwBCgE8Ya7SArsp2sPVM+u+cOPh3XK/gRJ8iOICtX0LNKS2mY4Ok/GBiQQVyORPf5zzgKKBIQPuLPiGETliuBlU65G80aKl4J8nXPNJ3peQ4RjZzjW9DPwJnBO9rj+yctRVYvQ6lVwIEPbgpIYZipur3u9ZH43QRtnoRff6bCdIO2MZGQjS5SQWHXaSk/YVmuGTJisU9S8r/FOBKtcgVxuZJkPOecvEMQamDs9yItivPXfiOAZqxELw6IikBM/JjQazNrYRH6iXQTGwh4R1WfgyXkbET+LEWEBSo78P+KOCIV83sjqnhVz24ZTRmBOyqSouEfO3Moxoi4jqL7tZVJMZ5Cm8kThAkfnkhT9H91dUQN1ZA83rlZJOkDNgAZAwRpcZR5xv+r9IqsjkGT+HC8HyGiI+a7DhD9UxT7367XD9IKTwHjPkOQnmJX3DyjiSaBtJfLfcYP18TJMd40A55t0jH6AlHBy2N0JD86pGPj9iQeFlUvLkjn/ZupQ+wwcWnkZuSS5GTfpn5G+cyNfNY3QJ6ZzRJWbkDabRIc5A74ylEsXtuhLv2KW4jJ7elSKUSE3FRSjgJM3OsHcyNSYY0n9fOk9TMhtQ+bgbbz3OhHDW16AzY/n8KplniiNOmWL6qlbKctiayos1/6Oa4EJA5jjPjGlfCsCrEzHZcZ2y7/gPjYHnBykyNsaMlZomYOhwiqZQoOkWnJ0lU+UKeIZYxEQjK9PrAShQtya7JCRxGcaO1yqscJ279tvei29BNin0F/RPGsuyyvyMSEBdAK7RHdI0nmbHrNrMwtKk6YfYLQckvO07fTUDuMaPHAHl/TFPZb/7A+lHpMkLjgyYvWKT5GA2FWuqjrStEJ0WK1evzyRl4P9mD8KRkz+CwItwgvVMsfYNDrmHX1cYX3TK6fpa2ojddpaZnNzE4MRN0VGPR6Ql9KPqmPDDAr87Cjr8GttaP+pRFcvmmSY9jkTKCti9doqsA7dECELeKEG5yn49juW+e5Odpji7ShZwS/7fgpl305yYnHNw+NNQENdJHGdjtDH0W4BH8RuzKbLtxq2rtuY9l180sUxRXCNfE3JRa1cCCOpAiP1zztWQlf5QQpLvH9U6MGN3z2LRcTdRKlLjG54NjgepT1M3lv9qW2RyA7gu01eZlMA3eqb21oKSa6xHpm6mdBb8e9dPaETVmt5l43D+clCyjmBJL9Y/3xqsFoBADIaxuRFsAdqRMI+wXV8wGP4jjvmLFn62pdp/fjiDqC5ljlVHTge902FTGS0VdMPMqBm/3pvaMUJ9E78tyn8qRXuKygLcqEs3ZQ+4TMPm69CAz3l7hq3MDnoMGUsQ3+FzhmQkmr7lVA+X1+l5AkcsHLWgVhy2B8cMsBK+acWpysjctECbOY5amJeMTGSqwXQqx2JYDrJ1eGWUHIRIsj10eLS1MFmMUMnAFdXvzv2XJmUyVPc7GsYmMEy5aMgA2WYvkPF2X1WwSoHxL1jx93FQu143e+tf4GwYDRNYCiSgSXRUGoEqC5m3MKvvcDTU1E7ILcvseV4goduSf2kjn0sB7pLXQFLVJRNIorqXx10IGxno/SFOoZSso2CBc5Qk+RthanbiBKL8balOcZbZNOoKu5HhnlEvxiYco3Tb7hvp0mjgQ8piWCPahnZmZC9I0kSGgDkWw1uLxJFOpxh9lOuNUQpJE1XzOjVWhmcHPm2vb/oTS716SrP26VPy+XEj7TNcpKej3X0yOhh65ZGzmt7mDb8FX2mY5I3DhVtIx1wo4yb5fHBPPALwkvtA3YKxVDB6rADJnqiI7fKoKl4B8QQFluBwE5WT2MfAPEj6bCEf8UCepqFZINa6RIxWK6awdoBMF8euNDmHoMG0HW1tBjCcrMVJgua/HnGsuUP4e5Ail1aqrM4JZrb4T0rryL55obTJWduw7bLT9CHrhc0alNEVw8VZJhvilF7UIh1o116VwcD2nzBVSNbjUi00MgBLA+4W5kru3H6FQK1glRaiCbmPvKPcdUW81cWvjalBIFGmVkBewg8k6mmmsOx3oosq4BgPjgp9Z2ndvLX+Q2Xxu4HHnh+vHP+94K7edPGvGo+3ulEM8fH0CKrhIc60kJokpRXacScbyknSatMVDlGCVNkCHMCLqQ2F9czpVGKSTlqfGZ6lqzfUn9Hkip5m86aK9ts4X1F5n8MK/9833zKKlL0IXQsXD8wwE1gO6UCy6R4zxvhmNB+aunxFmyS30WIlbcw4b9UW4+UqeCvxgBqiLNUym00c0y6xMjqZff9o4Mt7DnYk/DbMvgcmGeOW1FnB6NpwzVaZxHLQG07sHaY8vquqQi8fDscIdgz+vwmnJQmNg3oynELopqS8vaMD83z/oGG2EH43uaJQBScBynqQngGhYRw3GOAublSWGYDAG9nCRfJlaXKXaabHLq/hErSzOQNxmnLdcMmKUTT9ze5i0Wqpu9zsPMgtXOwg+I5HsNd1CLcsfMnse95ke61erfDtA/a7UNv2qKlxH0cehJ5S2c/k8j7D3bRysSr6T5lyDcJqh6pSKtip7bU8XSMrajRfke6wTbVsZve6Frh/Gf1VF1eXyNiOlIN2s+4bIjt3YMZXiG3XcKD2S9Xlmx6qWr5wXwvM8rn6jnJS6G7lPiww3CZ6kDM5zm0wXEnvXT4AcupTjKL/O40UE1uX6AV3BBw6UjmmmdfXIwyT6JbOmijf7oeCEunFaykC+Idke6mlFpRmXpvndZQHTgi/7x8DkGUKcP3zfyz4rJrDh9BhRm0sw4ICqTRcJx5bFPGuanZdUgyjHZl3ZZiabUwXT81MhYPqnMRTHFwnmY3uOVweJNe0nxz717+HF03Pzjf8HHnOEzKhqplT3chOscPWv/dmEAf24diamsMwHVXHHI4ma67c4z1XqINor6uxoX1SqPoHCRi/EGq04GD2daOt+LqplZBzQQ6UQUNZBXtTlrfgBkmMnjIR0uUmIe9tI7/97DE/PdXI2Bdrpwdx25HPhZb33DteK4Eof2YSjODL/sJJwLONwVZANP+azwZTrqZzQCe5T9a+YaL7K1vxQ51H4xk6j2jDzTafcwtGj/7uQxLwQgKKgfEy3JLc2LRmDczHCLuz0PWFGr+WKHwJ7bCl95Y4RaJw/nnPLdaQgam07KFV4iN7aHNZiU49MICMurol5BzU3QI9jaqzrH8ZXm1nvJb+Qv6te9Td7ta/392KFn3RseuLjJZTGDFkSjSEj9B/Z49GYzJKqn728RCUsx02PnOrgDD7KXyeceiU9T9eFZtEo5B7cPS0LyrSSqOnvxY0mrGE6CvGVW15V7+OGC8ee1KeFHKotTF32zeOK65hlT+YmPLmzd00eON74C7scgEsFRGL4sXmUYAb/iBg/m+nGAU2hA5u6OQpDcbNSztk/0Q1bUSgaFOeBWNAVyTBhOmUHjTiEk6BtklfHEBnDsJOMDyPFYR9okd6FvCsdviDesYITSwEmepmD3Pg/DtkySZe+xJVETYDF2kfHQVLT8r5zt4J66Yif4UhymvNE2JeuJaTYcbvIudIYQ9vH+oQatoTqWp8iOXJHA2TuSR3I+5n3nDLKF1seEZxuIECbiRjLBARhiKAXaj6e0hctR1yQoghe/Z8zqMkFN8R3dJBAt1SZ4rigaWOA2Jfj58Koh80U0L7V1sEJNek5rvUDwzrlbKevP26E4R/KIql0JcoygANqGz+L1tYMh84+cf+JVnbgtAY2jFRxP+Q41DFdAP43nyFes6YMs7Ia3PKR1L3l2dM5t2FVZsNLvNIqDNjVa1AYjTbcw4TCI/QBigNxJeBZ4rhF5kcI6BNr6jznrw2tSbmB">
            <a:extLst>
              <a:ext uri="{FF2B5EF4-FFF2-40B4-BE49-F238E27FC236}">
                <a16:creationId xmlns:a16="http://schemas.microsoft.com/office/drawing/2014/main" id="{1D37082A-BCD6-451A-AEF9-B4CDB56EC9D6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93304" y="1242222"/>
            <a:ext cx="2628221" cy="2317611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1053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PERFIL DE COMPRA: </a:t>
            </a:r>
            <a:r>
              <a:rPr lang="pt-BR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Qtd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 Média de Produtos por Cesta e Ticket Médio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67866D65-16F1-4483-87C5-AA442439330F}"/>
              </a:ext>
            </a:extLst>
          </p:cNvPr>
          <p:cNvCxnSpPr>
            <a:cxnSpLocks/>
          </p:cNvCxnSpPr>
          <p:nvPr/>
        </p:nvCxnSpPr>
        <p:spPr>
          <a:xfrm>
            <a:off x="9701842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42D8791-50B3-4465-A0D0-FB6EB1A6C92A}"/>
              </a:ext>
            </a:extLst>
          </p:cNvPr>
          <p:cNvSpPr txBox="1"/>
          <p:nvPr/>
        </p:nvSpPr>
        <p:spPr>
          <a:xfrm>
            <a:off x="9132498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1A60B9A-8293-4C65-A36E-6970F2999494}"/>
              </a:ext>
            </a:extLst>
          </p:cNvPr>
          <p:cNvSpPr txBox="1"/>
          <p:nvPr/>
        </p:nvSpPr>
        <p:spPr>
          <a:xfrm>
            <a:off x="408317" y="1175729"/>
            <a:ext cx="2685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/>
              <a:t>Qtd</a:t>
            </a:r>
            <a:r>
              <a:rPr lang="pt-BR" sz="1000" dirty="0"/>
              <a:t> de Produtos em Média por Cesta por ano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A68D825-6E47-4BC7-B717-7BD11DEB6B3E}"/>
              </a:ext>
            </a:extLst>
          </p:cNvPr>
          <p:cNvSpPr txBox="1"/>
          <p:nvPr/>
        </p:nvSpPr>
        <p:spPr>
          <a:xfrm>
            <a:off x="4701222" y="1180962"/>
            <a:ext cx="2999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/>
              <a:t>Qtd</a:t>
            </a:r>
            <a:r>
              <a:rPr lang="pt-BR" sz="1000" dirty="0"/>
              <a:t> de Produtos em Média por Cesta por semestre</a:t>
            </a: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7D3F8252-470C-4CC1-BD04-B0C62D721A21}"/>
              </a:ext>
            </a:extLst>
          </p:cNvPr>
          <p:cNvCxnSpPr>
            <a:cxnSpLocks/>
          </p:cNvCxnSpPr>
          <p:nvPr/>
        </p:nvCxnSpPr>
        <p:spPr>
          <a:xfrm>
            <a:off x="3293407" y="1344940"/>
            <a:ext cx="1" cy="522481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5C680B46-84BB-48A5-9841-9426C12819D0}"/>
              </a:ext>
            </a:extLst>
          </p:cNvPr>
          <p:cNvSpPr txBox="1"/>
          <p:nvPr/>
        </p:nvSpPr>
        <p:spPr>
          <a:xfrm>
            <a:off x="571752" y="391469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Ticket Médio por ano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7B457344-B7B0-43A7-945F-BE10E2B4118F}"/>
              </a:ext>
            </a:extLst>
          </p:cNvPr>
          <p:cNvSpPr txBox="1"/>
          <p:nvPr/>
        </p:nvSpPr>
        <p:spPr>
          <a:xfrm>
            <a:off x="5046391" y="391469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Ticket Médio por semestre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9172755" y="1558506"/>
            <a:ext cx="251891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Apesar de apresentar queda de 5% na média da quantidade de produtos nas cestas, quando analisados os valores absolutos e ao longo da série temporal, percebe-se que existe uma estabilidade de 7 a 8 produtos por pedi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O Ticket Médio sofre uma queda mais acentuada de 13%. Isso não afetou a receita total porque a quantidade de produtos cresceu.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32D8DAFC-78EF-44C2-AE0F-E4D095D0A91B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37394742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684421" y="1100888"/>
            <a:ext cx="11582341" cy="502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/>
              <a:t>Volume e Receit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Perfil de Compr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Produto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Clientes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Conclus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DFDDD11-AA3D-43CE-AC89-5060DC5A53C2}"/>
              </a:ext>
            </a:extLst>
          </p:cNvPr>
          <p:cNvSpPr/>
          <p:nvPr/>
        </p:nvSpPr>
        <p:spPr>
          <a:xfrm>
            <a:off x="333554" y="1138680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9C3E07D-5C65-40E2-981F-15B2D93B32AC}"/>
              </a:ext>
            </a:extLst>
          </p:cNvPr>
          <p:cNvSpPr/>
          <p:nvPr/>
        </p:nvSpPr>
        <p:spPr>
          <a:xfrm>
            <a:off x="333554" y="2230259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D448776-6C4B-4F59-8271-A567CC209E6F}"/>
              </a:ext>
            </a:extLst>
          </p:cNvPr>
          <p:cNvSpPr/>
          <p:nvPr/>
        </p:nvSpPr>
        <p:spPr>
          <a:xfrm>
            <a:off x="333554" y="3321838"/>
            <a:ext cx="115019" cy="720000"/>
          </a:xfrm>
          <a:prstGeom prst="rect">
            <a:avLst/>
          </a:prstGeom>
          <a:solidFill>
            <a:srgbClr val="CD357C"/>
          </a:solidFill>
          <a:ln>
            <a:solidFill>
              <a:srgbClr val="CD3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2D83625-CEEF-431F-B34A-C05B8B6C6CCD}"/>
              </a:ext>
            </a:extLst>
          </p:cNvPr>
          <p:cNvSpPr/>
          <p:nvPr/>
        </p:nvSpPr>
        <p:spPr>
          <a:xfrm>
            <a:off x="333553" y="441341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0CCE689-DE92-4608-B860-3CA2EB4CBCCC}"/>
              </a:ext>
            </a:extLst>
          </p:cNvPr>
          <p:cNvSpPr/>
          <p:nvPr/>
        </p:nvSpPr>
        <p:spPr>
          <a:xfrm>
            <a:off x="333552" y="5504997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26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2I+3INLHCuRE0anEFqcVFP/WbOl5yywtioTGayAzje2q6OeMkTMwkgV8+9+W5VVXiZoi428MUvOnHFyYUwFNS2ZHRfRtycqP9Hr0+qhooZk3p636MGcwX0GDbQ925/9pnRDPX4GxIDVzSBxWb6R+y03kJfzel6C0FTx1ObteV5WbFz6aCubyI/Zz/CznagiWfxXRidbs/VsWQQM9mK7DKSC+Sa6esprPHHIfguHh/cIt5AiNKsovfBtxMn/HzuaoZ13Gku5ctQ+l1n8HjORhLKmXU0k58rB6VsINArRDsgVAqYsXPt3HvhkLBUgNg2QHZl0Y1e3PENUQ3FVZWJw72zndrMyg1/lrncJuMnNifKyMhwaAMKSQioX8O8zx/7OGvdU6BcIvJoMfMGGnReE5N5X4s5y8CXr/bPqEm4MD3jUPJ28X8B9ogQx26iXrc0YduEDCsrw34iN3dODE+E875dDf1+sg+pBGSyl5dZMFwdStQTJRPccvY9zWbqU2lvGi1DEzDSbfDobL90q6JRZ/69zhpYM7aocC2+hBDdBFLCLYFJUAvidAM2RpySO6QhfOOSyHsORYQ88712EehDMgSdGvj9S+hGcQiPanaSN60tj027Mf4cn0Fl/igtvnsvGv19Ni08qPzzJSdf6y977S8VG38qh6csUKTltkuUE31GiG84060znM/gxMMdixwYaOLUqzCXhkGFfKAM/Qo4PHZSanx0CAUC76lUBPI2DZ4+9Gnw6q6sf6dfwO9KjHGUhHlmC6QyeF1WxpRKBdZGWzW1XhpTP/4eA+rE9nHqHaa9Xn9zXTan1sQjALlTHJO9IiGpraliiwK7SRoLz6yGyuaqvBzkUX5QjxdmbGMaNBDOy5LcnAbpnHbEGDYzaVOCVFlPZGxQ3FRe1LvkuWoBbBzLlDXRoD48UaGogn2oTNcOoLNnEzgcxT+GkPEVb5rvp/VXacnXCzTlgt0BGh/1MM7L4RkTdLrclhn6Hu3DqGPvWC/GKYgv45Co0YIUdCyIC2+Q42WRz7KSUaH4TRGvvuWq+OwTTtLAagh3O88O3Y4O2qj0z14G+zOw5XoCpwgOmR0iURWunDbLR6H+KvDKwfeYnaE4J3URb91YXBKyLGlNEueLB3ynfl8SkXfEjg6koxRWUwjDBly68X8t5eD2ns2M+0O4reyX3sNMyIOmcimswaf4fY3fKz3SKdBhTSXzSbjHltZ22pqi0/uDhaocjkpvdymJzjgSvc07+3N7vT+rf6dbeDks4uRJ3XGMXUVEvBE04a0BugfyhjU8qdWVsTGOJu/OTE+ZysOWHHsGuP7WR1HJZbmBZdNjJJo1bXAnaJiE7Bf0DmfibBJYNAbu6fwSCiCVeWcXboi3Fl21rtLT5MJEyLrKvrXYaJZ0rtYO57Z7xXrYwfbLuGgjtf/OCuWGz84ktm998z4fUmgk9M428gAfjKOZZuk1xuAg+xJv6XDopiQonYOoYWBKmssxxFhSmUsX7zh3kir6uhX/O8JLIsvBubSOeKplJ4Dv+XvwR+TRz0C6p2/5Isfn23RJ8NGiN1c4kHet3OlnTE7UfTCZ4VenEhLTPJSXuwhtVZB05uk/gJSi753qEE2Vz/efUDan5hU1jxx1SFeOivOfeHFkR5jKQXOKqgekjotiqiWmlKaqeZ4pgK9BD6abC/jfN/ajH3DFLlvkYXTfU2avgjubsNsZarvwGggis+Lyd3Du+5FZr17Ub6PaEoySlw4bZs+yMVkUaBA/P02dKGuPaXWZZfd/v5UyW1HYyNW9d7bImXnC7FfbgbAMFiBwpzd0sY5FOURbX6avEqAShoCfrNV6Pe/I6YGotHvhpS5PyAvYbv4V5MqIWWRQAjXDf3TUbgtJy71z86M8pyO/3HFepSqeZvRxKuHqN/n7/14qWPYikuXvzqe38T/aLHRNtkr0GJuZF8lb0G2Tz2ZGe+DDvx8fV9NcKbhEFUauI6EHHcWdZEXf8yKWS9hGN9DRH1rNglP1DTCIztkyx1DHy8YWD7JEvpMMWQyKB1ObNa6vAaQQPLLSgxQlF4J/7hwHwU9wub0EkslZM88XK+71zQYvje7CCYr33ECgMDxUyVSJrG8DGDZM8BrwqaCLKN3KW9a1pz4q9NUubfpt3pgGlpEKkMceEdjNS8QNWyngG8/EZmhd4ISFvks5udj7FkRvDnFvKQyDqZ2wz079rJtYs+UvVRcaHhCxqkJP26niYUaOJrJUKn/MEsT0cBmgdckiwP0TE0Dm7phNnR8REY+Whxzfang59zRmPRNlAarqoDtdPa5oU3ahX5ONYWe+UXoU3utJFd7iZ/z3J/cFBB/PuAhAAn7+oK+NaWR7Yma8nYvjCs/OZmlUk64FWPkkLwcstvbC/yr/qCx4V/jK7s3ReQm7d7NMlSTS2RE90iMBXrdXB+mXsVDBxHXCYkpbyetDd13n7Xzl2qyUtk46l1oROcfCjEUvhW+pDypeYyMmpeLhYr3nwub1UB5Oxg/fyyoWjw4rIUaMcWqj2Uq/FLdjOfEy/JNSC5KJceglm8W2niUsU18/6GRYNFOnGqoLAkEidtQkCGDqgArjGeIuv0K8kMHxN9jFaj3r7rvfAnIoBb95yQLQwA6NQzLuDhlfuO+riKkJTlo4WW+t6p42YPAHk4EKSFEekRjAr0jMvbqgMzMUDfAKhNiNThQoWWt9uzC9rG6yVTqwauwOZiIbkhpKtoZcR25Lj2i/k44WIRTz3qqmUV1A4RVopk3Y/wY4DChqx3CY1NfQSOWBc+HYX5HuG0FFCF+uVl+egzD9GsmVrIHHj0JeJcgC+3QAOT5Eff8JRkU+5Sd+WdpJf5OadB9/eqfH5i/wIsFt2WhnN6JfEB45rLV0gE4HLi1CWh/5o61OtywOeZYd21LD5MynmSXISOmCAw40uoj//Ma/n7A1ZDr4fO61EC6GAmpvZ0+zY0boRLULyph7866T+zNQxyJTX1nViSDXHaSRXqRsoYKElV1lbs1Led1NTXtATXpVTGBjTJHq0hP6963Zn+BrCDXkQazjv8Z7tYuFy+8Gu+GlrnpnqbBF9f4HhqKhx9nYzVSjU3YRv3yqNcfkGYl3c4NKcfJYyhQYYwSQyenRToasGuft4N1btATCGeo9sJwXLG06h9uqDNfKdGV6rx1q0oV5aC41Beyjzkx6r++4tGppkEM+5OB96BgeI9tKBx0CBuvtNx4gOIvYiPAvjFZJCQfYCNNP/WytlP32T7cyrO/MZjoEXkLtoQ1GLU4OchW5TyqlUu2crU0j4OoEnHAEFceBqRV0BFml22P9KJD9irHlJd16GnOh80lK9/W9ZcLC3ZIKtXrH8aw25w24RaSmshxCUy0XZp0mhIJCzvvpCgHI0Yk3EPFY6AW1CinTEp6HxpWh4JGvkDQfODZhSLKMLwq3+VZZOUBzypUqgWBYFlDgbc5SMU0Y5Gzmp5Mti+UXnFFcMe8JRxxiuFT7KBIUDKVlODZsjejCFVLJ79nxZSMCGjkM3HYLiJLePiGyxmMloGs9U1tZVGBPZ3gS7vAtLqV5JC6NK6r29JL3PmfAzFG26UqmH940tYUYnrJYx3h/6kLM8eab1IpTzcisntamKc6K7aqPV3AwbqTH3iuCR4TXmbhEfnuxWqNFysUmm/KqCrB69hV9Qc4RsQa6G5ffpDEShyxxU4ahGsHU3MteVTpf/Lp3ullHaRFwys0ZznvHvfh8vtDP8tyJaU3H9OOf12EeqMiANMFK/zrYl1Gguv6yXlwP+Fgo11htNn5JTLlrGbO2i/pdwFrFPvOEF7EKbVO2lRh8oyWmntAi0y4k6cjKSQ8O99UREjFHyVwmdAAvEU4wuTcOQE3PdGc7fyx9WJFOfcyzWnS7DYWq9ofG0gBeVIXpiQqAjUwN+hWPKJ9cS761AYlEXGKwlxPt6+6kvn/C7AjAhu91xXahKzoN9oi2lCT/vtZfTLBxHhknlH2CygzuhATz3id66sipqNh2dK3SE2f0BmvcgklsXoOf8nkHJVQMgO84kYLSK44/b1r5nTZnh8bJhLzVHF3JMrCyPYXEg3djyrl7Iq/cyatsXqQ4TfeqLSPpfr4FJP1c6EmRvitQIYV4RWchaP1kuQMYu9+wX+ymGsfd+4eGeXkkTmzuIBL9pkfo6Lzq9EsgJdqJwUjLD/uo/4SwxJ6TBvMXtJ3qb2Gm0MM3cHgMijx206rNhRvwUWVUwFkdefa9qhWO44IRKeoX6WV6N5APvMZDmwGOhqyAZ/iTg6vMTs8HXn+O/RbU3DWVKo1pGfwijICvUDLuPKjkMng3zkNGnz5UkMa7DP2uzyJXixcs6Wn2ch7c5A7YzC+FiCdVCpnj2l3WnGhlAaF6VTALQTV3DCM0S+822KCO5UM/bHDZHvBb294xrnMowUd+wQp2jdmz0lqEqXmn/M7ymxx97Cpg0wGaU01eTm4fm8s+HgCrBC4NtBZ+M+s1mnDd4xYRHPnPzMQeP3wRvO/rn+8s1O6fcevovZRIyLvWvo6puBcHWJYQ94p7P3yZrx5cpd6JUWVOz0yTEcAgpmH5D1JQs9BfTXw89MIiXE0CGAg4RG7d8cpp+sD3ayCSHLrQT+GE+EuPN1PlTIZl79sGGYf0qYTK23jPS0ExG7ARp4/9clrMosETjsCXozh3MloqppwZibkPGdxzQs4fJa8tUKqSXXsAKgg+DSUfnnJCn3HCqb0ZF3p86BMUxbf19g2b8QVzDTM5247Cp4amBN9FIYHFs2e1poEMtaImAShk5ZOs0PE3Sgf22k/f8zz+kyUy9CyaIYAWwGPRGeHQNIdZRjPUYCowABT3BWxA3ucbCJ+FpPYdDzvruoktuvruJ2MfP9wNlsu+XeO5a/miFOAp5vfG0JINZfqwbGX2Iwk6zPQu2e5ushYmNHOJoX5MZ8PWxGawxnSBresxx8n8RVtH0rE2BTT4HFDqS5POO6K+vPrYmQ9LX3y5K9EdfWvR4j/xTom43yyFpVgBu8Noax3DgR33vuZB0I5Eg+V6RFJMIHLOsAk5FAa5W0Ycw5p5G/UmiVBp5tnFvk2PHH25df6RMTZzqsv/XrzmVY1sMdUhnc7v3VfDZogp8Ji40Eu5LVfLYaAWKZLXjp21Zx3/k0kHBhqLJdNayLvROvYNyinUkekukBRseo4VHE52+cgkfa4TARMcem8KLrAKwpOConY9tSAOdJ5UsD5ORN/Rw6eMIjC//qi3Ept9i98tSJTVOE+WMpSrzR+B54uqjYkCbQ8vXUAEYB1QnaJnMtRTYHAwY0zE9OxehsSuCcS7yfGfSILuYb7lffJO/UVK0JNgCq6bSZvEMUxnWDNhHzc5fBBTxZvw/rLFhnoSdpH0mHHvQ8V91rJGPf61HPwauQllvZ+hGt4mCgUDL8/sAQ5GlPJb6L4TDcPyPMHEJmIuHYuGTbd2GsgxXiYyjAvySDyUEMw/UAjkOFLilLm/mGFJyHMgPh9WmwHL1czxr/LhZkd0XWDPIjhEBOnWpkpdVx7Px6Az6zSr0bzP351UuK5wVhgYYZc320snifDwrVEgQiwRUloa3wsnmRwyEd8j27s13JZVcer9G8HSN3GXqRb2ek0TrKPOwpU6IV9pgvLKeLR5Tv89KBHBY9xEBwQy5k9ds9fxvPY0qnQIBX/d57AKKojYvnNCi2i6lnTI/b79xCb+3EpT6Ym2YYZjzcah+A24QY2ST/4O3ikmXnEKC+gGIKETziSBk4E42n6+O/N9hVK5dqFhJ9rZJAU78BcjL1b3Xgj8r9DETXFCU797mj5T6em2YCuJQrWJ0OryyiM5bwJ/XSRrAbWsAkNnmZmaCzAXrS7ze/fBVEpi0V8lcbeSgDwJtbVqUVysVEpDyBLKdrfpUTTsSMxLTXzupQm9JOr0QkCQXUG2n4qR6zstqAEae1Tcesci2pyo5iTnrATV/OAAc1O8RyxJbXaX6vyJDqn65WTS6bOFkoIPMIpHv5OOW31Bom3hbtUiNekrLA4iSBOnav8nSoojonOfFUtahmW5YbtHXVcDJ1/FMaEx5yy57v63UBsYWSFzfp78h/MqRujm6qGBPK2bs5CPvDkgSNeMv5UHCsF+pz2bDFMhYsUOZZeNRZY4KFeUJJK1j+z7wccodNzUGxvF7Bsnj+qHsmhxAdnKcnR/SfDeoqmlOQ+2E7V+TAtVMtPBrQZ5TflaPeHb/Taq4HZsjBci7Oi9ylbYuXHmI6+iJ++9qBuBb0d9bd6HTOskTw7SrsRor2cR/GxyfGmfIU4bYfN2OLzUD0gERO7RtpG/JF+smN9ntOKwoD+YHm8SX64okbE4SjqzooST/WlWuEAjRAbkCmBLvsBuBUnM1hONHoDgsdmfZvp8sTzBmzBfoLz0kvpHDWIQlnCwUeyhuU1ZQN6Bt+HpgbXvTHNYyRbk8qw0A2EYcjLFLc45oAGeiEJP6gRm7MiqMXDRlTtr4Tg20rJcsvMk81vR/9d+Mwo3Q7yHIyuebpK+ZXfNtGRNFeaJ1vl3iVuD4B7IZOuJXaznfebvfm77ohaqrYpB5zP3G0D1spmHUSHayuLFV07lCTJ/XlWs/2z7NDQwYDU1zFbEXgiVLgyvF14ZAvmh+d+5dJ3MyOIRq7ukJPiKGfvzjr5z7xTesdz8gAqDwj920meVbvcbHo7Y0ygBPHGedAevHioyHTcTO0VLbOiAOoMFhobxbr12kOgtfnUt1+wENe4qfyHobybC0cIkfrg8NgfxzEtE+brLb7J9aLbxuLQV120Jdbd2ICdN24msP0JYLcg73MGhDS5syOsTrJDzkYs/p/a2LDeKn7g0C2mzGD+x6jfu3MHbawUwrUkkzlcEXGg3qApksIAt6nxgnecG7Zr8trUvyijYaUSNaRB/MgVPxC1qjk5Zfht1hcewQ/uJ1NpTul82V9hJ05h/E1ykd3iK/G4VQZkRb8Fn+iZEXhpXSSrJTT+zoFXbb+pGvofBrrUhYSegjo1gCMIZGjH+IBd4h1wg35IAX5RI+Jet3VktVEOW/akLJs8vA64V9S9VcMOjHhqwLD98eAaoJKLWeMI/0DNSbtLOnXFo8tuJ+rEN+CHtgCRAHGICFOJR/k8DAbbulTzLQUVrZJhsY1LGn5pfNOOQ+mAlcKV8WTTJ0yINzQOJSb5b26HOy6uZzTsRqqVMDZecw/k78alK5W+xZw0NCR5VYP5YpUoKawcUvR6mtyZusgKP4TTdX6uVyV4NfD406mrHuog6IScImEfBtBx3HPPYgW+c44/k6q4tQiSjAHqPITN5FTfrmXbJyMTNxG9RE+wvvxXOYRMnOmzMdo4vX1UGPTmw/Aga5JpLSQVD8CR06CCThkZrWRgeC+BlctaTJ881lP8VXCN3vhq6gtlUjLzm1zBTtyAKMKIzL5fQ4SfbNzSqDdiNqbV2PysBa0Mubh/MdQzzCKdHX0izpibGvKyyMu+q5yxBcOIYWQCwKe/5iVqgA1N50ydUg1+iziabDdOcd2+FR9/y59ULC8MGeQsIj1zc4WQmiZh31VeDUASUSWyM7AC+99a+Cnibyvmt+T+hDzEoOmBPOOJ0wZTuHDTT1iKDZ1oky+8n837rQjdWKqhX1I2lLJNjNESM5k+qlUIpnpmuYopzn4fpCSlPD2Gs6LfYDjTjlE738Oe584i2d7sj6VO/xd0uZdWG/gH2QECVOFX/5sijXeeabJLyWRODdvxYrrmHucVPwwvcuwAzhfxu0GaFQ7hBiVAZ5+8JlF8If8nmZqK1XiyAdYYubCX/axdKOeUih8xyDb8NA4i5J7H0+Dh/EzyOCkM/ilZVwjVc1LtR5JuggjO6sVG+P5VOJWCSoS8WcL9D+5xFb73PyhAH0crQ9jMutCS1AJxWI8xKfKpJoLqAAlPWHgH9NFFJ6f0Mt9fvjiw/sCFm8Azz2EmI8GZr9QAuQrf9UnA/ki/E/XqriCP+w5mELCpW3JTEaiBw27K0P5BAg3uA+ipe0zbibubad2hq45R3CVAX67CfZt6rNTBKbtaCuctwAYyp/azj4NvQnlpsk6yiaYMhItjQPPs2/XFJCPYc6Dz5gmDAWpwjBFAPt7IlEmVioDSSisvUT18g6k2Z50TulLVDXZcacD8ZbCvQEckcdCYgPDrRNodKKoRGTVwPHoBE6Am1t+z3CLYMOuzt9RbK7Uo6U+rvV1hwjCyqmDypcCzU+kA7WyzQsP4+25tuszHRboiXzgiUwTXHNDA1PJihNH+Qxiwf5Ys9Bfnrn+2Mo3GYC9gfLuWB1mejpjyrjAyZItzd9KEfe/ArYoQuzd0ZLQa4BxcNAybAdMY7pPK0RoY8yUd004lbwT0pVyM7Hwndr2rVDQ3Y+cumUyPX5FiZVMIDKT3HCHbFlOt/GPz2UukDoS6qk46qvlPAgQoxeD5BBIqskTCozcjXQvGcFnFnw6le7vUZVz2/UkIVEl970hv5qIjwR8B9BRu2ak42k6pS3YUK+ER+x3PR3CPt88xSN6KnBr2xAlv2v2WozO7i9XrTh3CWpTnqzrPuM9UgByyVKr4SA7+e8zqUVyytJyxYi9FWscjqoSyUGwTLS3Dfr4GHCgouxvxSPwthn4fazuLVP0TKXyQbrK7oKiPjocORtzBYm25NcaUmjM3IyB/tAhmwdz8RJeQg1gTdLghsakj3J0DN4MviYoC1c5ObuB0CFpjy5jy3lpAsqI/AhotTJ2c4RLlbTWH5p0CVhQtHAHQJ+hnXyN+UPmta4W+3CZzGR/TlmFvA30sU+NvdTv1CEpvps1BqL4JytN3122gACxlV3AoPrSf8/soq/u2fnC5dcbtwJKlpc33VmqJkIkjr3c4atIooJWFYJCWnthvjXx1uYCzAk00ZJeTrEtNhQ8BlJSITg/70bwT+ZN1yoQbFHfVi79pvSYBax9gUAGx3kfH0MBeIoOHmYc31eYYi1YN+9ltNBdud+xEauRTSvWEUYAE9vBbGxXGUjlJeM4+bKM0A2XjCL+UKZQ73+4tyZwcLSwv4zmN5VE0jW0/vgLLYB3D6fDHY/VpZfk8lQsQWCLBktbvmoBp2CIGBubIUfqyswEdrYezE7VyAPweOk6dE/G+DWfIA/Ew1thx5arnDf7TPo3ncE49ghtcgl1AxMwVwZhCLwcn6qNAjx1JXvi5ECieDiCLW/2k79yvY/Y2mbgq+gFtk8rD8rnE4hPhVupW7CCScCiMdPW4UfoPKMpPM5bc0GPBvzRlZe8aH+qWaNTg2J8xA+HJ2UxGLCCExyIwEYTavfRyGgggmkqmm6P/Xb7SUWKbV7VZaYngywEyN1XB2WWSKXSaQ6Q0I8VEG0piByy8whij7EI/XDW5PpRZs+ebumpYIke7Kvgj32fiDQXQbg3o60fxnIN+7C42qrCOXXEoXaLY1VuIPY8o4mOEROIPd6OGjRsa4FQG3Q4qN7R8+2WCJYEFEa7FFQAgFymrgcJ2SNNM5DlrlnTh+aCUDzXqMGeQrovIlPW/zDnB06jqS+wuoCcifeTp+U5gx73Lnr4tYvHueJvsxA4uNyoSBTw0ayeqlTt3EMzlWUg7AlfTVm7ndUhCBy1lDfNqNAfw7y9XhoxSAJmIGmCZiroIrCdUlpS5K+T8Q3mXgkKVejaMS7o2jNQVVGBV9SX9AzyCz/LoSWQRRGPuVRyfW6gH8r2ak+dkpklgZuhROoEtYcBmTn/7ixjBwe4aX1xnJFB1ufIRixb1rBcIYlfyrVOOh/r63FUCApsUQdgvi0o+J8JG1IaeT191YCFGXXr7mPRpnsJcE+FuQ6pwfDg8uzkGNYDOrORBQWB6GdLeOwhTuxAe0JweuzwMCtC53Qr19qN/Veh3u8kJyUJu40URjcMhNZ8BwzKWiyvv6RB+gBDflDvZEFOo2N4wg93oqulo6QxqfVneFExcE9a7++gkpzQuwug2Ds+waOz/rEO7XTWlw3khQX5ao9vzSUu+6+tRDjUF3ScfoKpwjNXIHc1oUBRFywVxUjqsrH6BbdtartpAxV2Q7/NevgnXvECMpZ5mKit7aJex8GZnyz3xtLejh0LNDq2zSN4RAdcA83NlGGLPXawEqpZTBXlbM7hvORaJN0w/FNDFGx98LJeCf5kfZiGCSJ0/Km5Hh3f5ka3XZOKk6AqyDRHuONyrBLEfS2jXoXI5Ry5s276+B9HscXvj5RO0RlKN0yzFVTh940wTPfflGffCuvRsqMr/lwL+HssvzbpyUyF10wUmzvbhuZ7N0+p48HfZNmz1SnQX+P2RKpLWCFlY2PYHoXE6W4QHXeKASPCXouZgLkjYWfgV7O7pGeH/fUoNTmIy6OVPTPjVWzGt2kghYovbZrBGWnYx7IsLRJyWXBvyvLf13PBgD2bbUibQiu09fUMQC6Y1PgbyTGs0kAwt1RZVgGAookgyVavgY0CUD8XtnnG2LN6kZyLigS8gspeIviaX1hnrfhQVOhx4MuRr7jjQ9xsP1oP4st1K/LuJCKt7rMRp1tj79jXZiki0DeH2pnujSt1O2eg/Jr+qiZCj3arHlPZHv5pUDhJbw27nCPd7kD7WTv5i+Z7gLi52V/bBHrpuj1FddAx4TOm2lf0sl5BUX/FEOy7uHH698A09jMUMzGCR5bIZCc7O8UXFK2dKvtV5WmS3Hln5Y+bhI4I0rTLYDX14Rd0liB8kQ2jBHZCoBR3wES6+VB+qhFLdkLVmYNQs8CmV5jsSeDZWagnpwYtjwd6aFuZEhYdr6Gvb7a66QxAUqXlJ3lHvuNZXREu464n3QqxKDvocTUAvUKpdgNnNbfvbLpqMK8zYURR+hDugxLoupSf/S+15mPWMarQ0Y6rI5pJpLqy3EHfRdWpUqRQHCyKf41vFBHsgX03wJ72abbl/P8JVWCb7Ss2i0aCKLw+/IT8T+I/OmKvIA4yG2cNmREz+5QiQ8NY6IMTh4UVwqxjhAmGFQPTtFV1E6t2lm3KWkB/q8DgWarEhJ5sq60L3jOgi5xO3oNickc5cB/dzKHLJaE83ar7Yg719xy0gWOkP/AWPPfe2JUsfgxz87HIWzqx0aplUx1mL2NDSrdFK94p5RbSZEvElVOCvWJ8gilv5+jaJCbmBVSDIxXrgzTJtl1tbxQ17AU+pvjMXSw1Xp44eobJa7t60fa9kfWvITk5OrMn8pzdzpQltR3TWbkyfGWRmKfOvS8u+oC7YrH4k7CDCTXQyVpzsed+drMwW2ls9M+GxnOIcKroADh1S2aLHCqjuWa1ZUU5AqbM1yBDQdP7xnZW+dLW68l6lOgTCFQbi0g21ZkdKT8RgUjhLXJ2K9PVRtzmxcO5RBSAmdwsairuBamB6Qbb2TYr8QM6RdyH/B1BHWABb3Mu9uLPIFoYChAPQZoSlJQbwC/lEYx/t44AkNAX9twcYzFpDSLC2HgYu5qpKockK5evbYQblfVnlrwX7Lkethq+TgMZ74NAgij76fyXj6XeWOEhEIv24bdIc6nO3fL8SDyXd3K33lZW6T3dtSOd261dheR4iIR2EWwyR4AIAr6RokumOaNDhFaQO/Ptz8YJACua5Pr38/5VhDzQb0TjzfcxybhDujPlUZjFxk6DQB60+7qJx5wHSImwjGEmzS8UqKAVAXIP4QosiRKAMsQ4Y367STXb/SUjyjvJ4fdf3HS/iX62eA9IKmM0MON3nSYatM2M33rb7SVR7Wl/iQHN0O2l9wCsIAGUXjfgUo3oQGQ2jE9DiQvSFy6tuDvFzOx0bkRL0L0Fwxws81Wy7afP9nL9hyZxinKIi3MOrx9KQO4pwp7FHHudYBXrYSaVvyq2sMxClnVypTLBn9j0rfaEFTcReODFXrbFhCKsgKChIGG7s7cvQjJS4GK9QDYBz50XtLiMiZOwlUr+pIv8jAiBLNkgOJi5va7my0+dCmeDgF1wwFFDwfnBoGjDLFgTeAI4+WzJpcyeW83Nxt+O6c1OBS7c992YW9vzCDncjFX4QPp8Z1xL2Q0Re30xA3+yiO6Nn+Xa1e+FevHpqeucRp1en0Dzgvy/RqicWdT+r6Q/iX+VzehCOQXpB3Ii5djH4Xv1mzP1/hFt3xqaKQn8i07na7YsrdLOTI93K3J4ppRKDXGfmxoMyu8IoM8zrtAHvO0RoHH4dTiBj7by4giWIQlDbRqc66Gujnntw53SJDfxfK9FsiESkgwxUB8LiCocZ9yi8vd7NHqys8Ot8G8czpqEgdAVkF3QC5LfzqtbbmAVwlDJIkDfWeh5N3K0Te0YsRvdNiURIA7I5E7yjDS7oQw1WWHGjfUL5arSnX9OlK78tzSgblRPzQvccOKldzbTXYb2CNjAA8qmAHR3Qb4326VLzpL3pHm/1s57zhXnhAsvhNoVCUSgVbqk8fGULcGljVD8TIHeUTsnIgCcjP98fP6zGxaTnvVbgwE+QH02tAoZu1oQ/HfyVuo1hX025gigB5Z3BhQZBTDoCebjWc+a2S1gMIagmO/mvK/yVwjxKwMG6CrLV+JCC/0U6YnLzw0YNf9A6/8EI6BPwiKFCySmlvs052tFqHrMJjQSK+tiNc15tqs1043aLP0/EOQEWr6H9V5SZRoKYEYjG7/nFULnNLhIMBXK5cjMZz2273uNnmY5PCadu6qevOVTrUSX0/XpbpkMhEKIdh+feMDWu8/ZzXXdXcyLO5vDYMfkby3I0k90o7FtRSKyJ81rPlMX5hO27jrgn3z6ajAIQl2/VoGsm1bNhzkoOXRYyCUKMfEb1X7C22k/2i9DiBgqdmw1LAyTYBREwjAYCJN3N9HaRhYFne1ILHNnFuwn/g1unfbbkHIgxNEp/UKOwiOKVQBQLpiOWQMu2wZ1CuXnqQR5qzCJJGCrHLIkpeKfoqRYaS2bNxCVKdIX+7yG92LQX82WpEY+1qch2AiIvEroC9H02RqeJgiD/oPJ0beQ0zVSxL6IK4QRqiv1gmjpbhjQwRsPl06N5ljds9XPvWV1Ed/JQWbPtGvqsSWy+8fzXodWktJjWQ8/rSDIOutkoWA4VashmjeRyf/2+WDqTtv3uDx9emoi79tiZZYnRm7P2iDeO+GuMZ/q+F6LNgl9NbjNNUUmKgitiuyYbr/lkO42XAFzPtihjWMaYoLDPNpoqDa7/DuvCO8pbxpsokji1VeeT/6ixdGGQ22UsBswvWc0HAjyLR85xiVja7MMJ8kz9yXSJri1KmQfD2ClR6NMqRAW9fVajmvf+SXhQ8pBu2QCax8Y6+8vP59rHR9K6ubygTU2i3D2P6P3VpznwI958TAZ1mForufEBkmvXyQ5HCeAjXMN7HqACnOMNHgQOLekxOmlUJxh6/cPQ0yDvK8ztpgA6aEq05Uy8XNZNOiKstpnpiYJaJ2Xei+RrtMDa6t1DnYy4b+eyds5MHxSY8/OnGJ75O6kRrUsY8RHdqqOL5T7/lgXTNLEZzEUGnYTHpZLYoxdlxCfkScNl50csRsTY1buTUAdcBngW4P0EaLWsHzFy0zDTFUr+aH+zBkEea8DoFeezYMiKJxEAPAn1JDvm7AWZNzFF2xzbqXvzUDMIPzKeva094k3Xi6YBS5JCUDB2IkKVOK8faDv5GadRhnkk06AJK4PGQYAtABi7c0JSXlOp1s4tl/LpvzeKjvlrmEgDjWQc1oKfqmIWLBNLxstYoSY7qmTlBtzwAS+Kgmrl7fp+pezmb/Nt4umNu5zqqMsJ9efflh+yg0igrs23leStEx/IYphhP7pRqGaPvwSm8lLl5k8YQhH1dflgoHpfG9W8QtGpFmIFweIU6qsBGvDDUlJMCvagveDxX5oIGDN6glVIVQIUmc41SJjkZmdVYm56TT9+jY+agm4IYlk6eI4iaKGDY1MTtB5A7UMghD//mFGcbmN5BZr4haZkjnH/KsHQEGxUy5gVIJ+KUA9ZSuwzs/7FpDFMVXcJExhnaeBbLIZFpOtpX2iJXhUiLfCNEysnWC7cIJa2j+0kaZaXSrSNUY4LC1TCv3WQRKzaL8oGKxRKCj3GY2vQqh/wHxbpPV+V/OeL8megkjmAIECHGEftpViILX3FLHd3Ciki0a7ULo/Nu8MmeF7A9YvNlX7dnzUUq3I6ve6MZF3DnhdiwOZiF/o0Joc2xevXW1+QzlIuOtM192ALz1vJLUp/PvwGj897TEaJwZz5DyQcBhzzyJQcC8Op5w29sw5ou8D/Mh695+EbmmRMd9rogV6kflAZsc2N2bsdqffK7vEv0lwIpbtCugc5mOGiFwwH5MU+wnz8pYjKwch0rEZi8XDz5RldVHRrnPYFrYyRroDgKnAS/aKe6ESyU8UeKQ+d6rsOC5f46TeLmsn1gamBGnLaMybTVrZ0a/Sb+bGUhCIU3/ANFNq5c95W/cmehLFvQ+f36iL4rwx/QvMWg0V3CmsHWYXYn/Ywfwd0rBBM+RPUmbspwMrJ5gvTsu3rW/sfgGPZMQafLij3zVAgiIi6bAqAY6UnqT/Ve5gtGi6fpHUg6ZZR0pqi+++SBlH6+8cN1u35hXaaqWr6fPcIEsy4SMgxPcmqka7oH0jAg7qVqiVc9rHrRCSiBterXMDF4ezpkxsOp1lIAIyX7lMWcjFPCLxq0LfZBa+y2ZRY6m+BPVukGb9SWH3t3ygq3lykmrmHb95711w0FehY5kplUvxT4EWn3WC/9OymbjSYGTUxN/vdJ33CZGiyOceA40YnMWfePv3kysxDuQa48M32HwwFqEOfo1cgHVm8zxsxnUUtnDo0XxyCWciOtLvFXo0mjJhZURW6cU8pnZfBiAWzSAW4lFKh1XX6hM4Bx0WC8NkPa90YpWNEotKzApGstPI+yTMJjPZZ4fyVFjoO/capscl2QYuJvxlflYmRcp71g1iAn0Ybh7rTqzQm3nwZMNQKyqLReJAXYCWth0vdJJpRjv4yfUB/XNqbSLNUeopy0SzEdwXbU3YuL/VUDXVa8N8zMG5ebneox6hVE1rzX9re5T/XygYhdz9diUWd3qAU2y8Mtu+uz/0M1M68VNQvD/1CgLYHfLCz5ZLKBuWHs2wu/vUIUHVEOllIFyuXS7pHerFNBKTCoBIzgA5bWZo39mUqcbFnM3DnYaKUrLolr2e0idTBdCdgv/C/npDzJhCmTr1TBNNRYrnZZP7ZR+6G3aPK3qR6QhUBQd/Qsuq59RKmLSHxo77siza2ES2foRCTjj5QNhGluu7FtbphD03ikvNqSZuvJASjyQSQ4mDyYP7BW50YGwhGXxT4wCiWr9Lp8rtAdYCisY59/ALhJhf4XweOXqL+J2Eeb4f16InBkKBBy1UaC66D3sg/qiDxySVOkKln5gVzb6/ywIBJWiaX9Nj/TwniWsCvthIYXwS+x4SwwYhTExCbfWSK2Z1MvhKUY2Wx6M4RhVNrifZgp6qNx1R9nKih44J9j3CTolazX6zwc17/5WC8cXxQrGIAQH9BAJ3v8UTpSmAPWaNx1TLMy0W7SKGrippw7efuWQbjs9yQ8NNOHAJeysQITwJ+fRKCPJpUw8Rem/QrUJFKC7srinX7jUpKDp5oaWqwjnoTQ+Rul3wCh8/FptScqzA0y0Xu8tKT/Pfk5RBeSBypCGQmq0yw4harMGD2zDg+mOiccwgT1/o+yDFppr9UXwXa1IOVzLIHYi2uY0HjwBN9sXXcDQti6lEIQp31zPOjAzVNQjS43FzHkBXAz/wqQDMV6zyymjcnYZbwcSXd58t42s1quoyK+65XQfhYoh+dQhMR0n674BUzCCvrOjhDtDKbaJ2Lt3IqwHHRTbtlBu5yttcPv7zQr3NEGhl3+jTQ9AZbqY4JXlpbPTCpPV/OJ9rPrtv6kr8nZdze4G9rDLEmiAI5gWOwT7pFc7OUOMi0AEwKhZoqcrUSI9P5630snOKwOEoKuPzNHQ4fx1ojCrEw4awBO45gHpBwlFVVvBFnSw5mmcFQB9i3puWAet/FzATEx66TXnZGlR8o9IFhi2OAZ5cyyWC/HT68CwdyL/ZlZv/bDuhcptOdFfpkSsfX65UO7a1Md1RC+G+ngaa3s8OqpRWS3ieY2BW6Mx1jVybYXpypyDdIeQsD6aiKUPerGySDfrlbCyLXnqCu4kOHFMRa1sFsyUR9TT2y03NfU4zCISUr6RhHxq2QgssustBClRi9Z9fwAdz6wCQmVaH+hf65vna0hPueqkZMbpW0861aMGNsy1gLOYgsdpWpj+v73yDB5h7Fy8UF2KDJCXjfI7A/SuNofa0a8cWvmzVNnD2LWaUdxfp9vVOFkiR0GtHcIhzZPP8rhTQxA4JTBaaqoGrn2u9MCj+dRhnmLqIE8QmcLQEaDfSlLFvbHHINio7lqp5MRlMgHzoFqMkvAIokcZlK2EJmR738hrWUGUDXrNX8i3O+k7NaVBYpu62MxP+pw57Pf1fu6mwDwbdGvssaXl9qc2UJdYlm3+D9m/q+P8OsDjZ3s15Xq4kjDwmZKNhsMLoZJDzDkfXsgB2DxhEQdIVK49v2f1yNXLcUbip4b9Hx6bm0LlfJiLE29qyenDSVEBUE2Glajq0aDP1+bDG3ONuyyTqJ+7ilw7aBCRJHJMZRDqRUHS74h23QS0gC+Ojk9skhmWtuCA2CcyRN9GtnBvYnhA5ynj9WLb1PB0JwXDaV86wMZEcSqYklTOkC/KOz7GhJ+1yTX15GVoidit4WNm8Utxx15i6tbndPl5eu3ujbcQuuMl4VCW5alrkjal8ttlOAPPEUTjP0v2PoA1Q5iO8GRdfPEDLh2AL+yJDlAy94UV25piWj/tYIWDs3dVcJxgLIc91dk0AFIG4mOWUJU9Lw1vesDM6/JzBPJTK9i5/v0d9GDYmhw5dBq68GRN9wty3FQAlXNTQe7eW9lgxD5r6QLzi4d6YxAYLr6Y4UtDRbI6MuBqUuRNUlTjDrbTzBrEsjiOLvX1pQBMZEiTEQMO8aeueL65jmlsHX1oc5u8iaECg4qyo/JaW8joNZ8Ix5uh3MF7XCve5VQS3B3Tmp3cuAsMJXktyr1JzZGtFF9RTecSU8Xtbv0jacuo4qnmUVgZEYDqJYdo6G+wYxHZREt0BOGZbA1BmfprfTRLlE1hE9EIsGs3cuq36KxZlXL09IGqg3Mq7IjZbPB/zpBwP0B69Unox5zV9YqVc0d/LIYLKn8+ZdE8wjoJMhxOu8qotdItfcDIdkCSWjnu99oUm9B3TZRmqaPsHm9RgjTaDYOT932CtLS8myhzvZV4A3bd4puxBLl9bP/kRFS6rYm5kfFOqodJXGaQskQa9kUp0Av46h0ljyDiPu6O5/HADMp1pSx4xIdNbIfWOs1KXgKY0H2fAeJCwSZtd1zq4aK8ryLiKbGzHr/nges5rTDhqIqeX7YHgJGFbH5kbziQFoRZs+1Gqz31fLnm79JFKbpfpW4trPvNDNxcKV+oF5l7d+5nZ86XZwqWuebRkTIzLj2YE4y4YSBNwin+h8+5UajSP5h9cJ86lYEyHb/Px5PE0XGzYzOHcTryjlGe7Yf2XrUeSWeD9Wyb0H0HtYEyNGOgntVqPfn0w2O62A2INAeZE7D7+TrqhzfC5SW5R94H5TQQ4mS+zKz00dch5OtZVMJmBahhnRka6oa0PGi36hVl3fO3xwQPu2ipXvXiGiAjesTV9yhZJeZT7EYS1oAWccgqCfn/yeJJkmttW0RnIhtba8J++W2RxeZALgL2mf9gaeQ2CzONmhtrBDFl96tdhsIAdx51ykuQ+4+02w7BLicAVMYGVdKWidOGcUfs/Quez2/xW6GDexALdC3Kj26/qZWrgs2L6/nZpw3W1Ygtj4k2zOIvFXsyP/FG5YE1OXy+gtQFy7yTBUPiKZOhIrD4R6qIF0rGI6w8IzrUdu982QFgEYh1uN14sd2VxF/XF3nRbxmDSrO44h2O+3q/FyWgGDaiXnJkUT40F8GkV0xlYEG37/AP9uj7Pv9afRbOiUAjc2YmDu2PrJfeE0hAHKtSHKj6J97WmtTXvHemLjE8ZrLE5bVdM74D+Jpi6OineuIABP4qFbz0Ly297IJ8/XJtyVbR/x+H6D3ec3oEyD9Ds/vTkGZs5wwhOD5nW/CfnJL4MjFYAfDapyFP5/5WFccpYanknbATaAnSvSoDyzMbXc05nczvjWOvTPvFhEXerpOpObASwXsiJoYPA5zE8Bltf2nK/UvXT1TVBIvBm55ySkdQtMCN4tVPq0byL/xq49zJaJDwNDJxK/+l0Y8KGmuYA2RzIFkZ2VyehHYDAB/J+7lNRXxoRkLXLVHDwdAK6P+driMs/3pnTzR2jeIKV4AuvWrEa9MTw4NIsbqHZlFc2WYW6/I4sUWsWgtWuGdQ0xbIVKEsb1/QSKZPZ5Bq2DuGESnqV4pi5zMlPGIkEal3AnDpO5wdUfV0euEWOmxwPb8L/Iig0juI1Jp27TcfLvnwQo+cix88OCxH08LcYioiorOQuwdGrEyDr+q6HPVggMDZWUID1A7aktlpmp+SQeD8hrXXV9oh7F/JB4xlp0mI4nX5oYsNrDhru9f+BdK2cp7Dns43b11U4R7iUo/MpEPtt9TcxTXFH2hC6ukN6Z8XMBxWLxWFXmmYBgrlUCuBhZCDW0U/fvytUISSe9juISM81zyyx1ZRDqY2H5VJFxGPoU0GooBNT2seUiRT1tFLAK9fOC0TEoVbEB/T4OAstKHpGymnlDDE2sPvxOb9EBk0fs4hCT2Wctmp5LWgep71w+sbNvto50IVM2qnpr+lG3vjV3ryqoiXWwtSd3CBM6ArkTOOpzAkd0J7dWKpP7busYYJEn4jcgXLLwoSc07A1+NynypMfXFHIabaMGACJIkJH5JOgGUgwAgMCdm7D7FF8IrMNWx0E/dUsJ8x6q7qUSDcGsj/p+kal6jAbpsZks6wMWUCAQPu11YHiF+mz+9y9dBqVPDLqOl7OugtXqUyUqSpZjKHLwq4uHEFljQzlZqaAljx+zbypR+Y1zITWwbB/Z16Hy2mFlh/zZ8u5SQo6EXY79wNSqod/kLAXRG0mRckr24aszY2L6BrKIMH6X53O1BWfanaT3rKlkFzHqck9LohkjFWeJnucoiCRYLKqq0PD02Gqeu509iFVNL7gcjto4zQnnxyc9HNY7NWePAZkAWX8C54c+dVjB607SW+KQd5iIxWIUgo7OZHJ7+r0aoHq34aMLryAfwaWLK0ige8Vp6HwIzFY7NPg6hhq6IrPIUuypDqkPXLE9OGprwCUdjUkTSRTCr8d8YfYZjfyIBkXQ9aR523dN3aSk9ma4FvZJNCJB2mkDuaDeXpFD5uOZyVIr5v9vencou03gmTN0dSjvt05lrEiLo4Ei0nFbBmdXZX+tTwJB4KFh7JU9zrN97GnL+BULxm5Q1aORCAir1SjBdWKqIgp8YqWegsAXwLJW6i2QoY2LqPNGpstz11gETwkDpkochZddrtm4REn25UIoLZdNLDvsmkCIfqgYPT01/IIlYnYawMGsbr7vmPqtXq0NHaGR1XI5lFaJmDtXFMkOFVKuOZbMx8ofCFVjFV4s5WuAR9MWF+/MPo2z8bmwnzfPnUysU4BkU7IOPSjD47qFOd5Br/M1AVfEqhdLe0CQ8ezHf4YcsVujQ7Z9R+xc4VZ9e0UYFFoO9d+X6oah435FoqlOpm4KebO1qIoC/EWF+IiqMNusThLbVTvH8HsEm0aAejwmm4Sw8ooOmCg8Hj7t/Dc0Uhf2f+EPVOLNg5KGjwgAT9/E9FppVoNpLK5o9VZGoIibVbt99FcVQ5hVOQRD74cRciJgkCpQ2ohHjRW26xrqgrJpWatcd3C2YFOhgIwBHvJruT4ZnhERM8UuXqYxZ7PMyUlXAJ+6qYa9CZz3vOYn+Im3T/xk/FWBNVpkukN81Pt7Nz0FNRvnf/YJ9iBuFF79MqqfYxFfsIZdM/IaMeyDXQrgdm8WgsRaOErOkp65G6tRrMYnT/OHdJQt8gfoEKqTHZ8uhYG8H79nlHJNu8JihHCiC4Zy0WoXhhOt7PpEgTtP1bQsmNiFyCttGc9I+GPLPbrNv196IAktfLDzdKHyFVz4N7DQQL1Kk+qfFkhRPOi9hfW3zRmM8hF6520r3L6fa74zX/+RWCGxxL4o3RNWfcZqOh/Jj8A+Nync2PbAEASzWSx/ImQWmXER99gAbxlmdrBFObB/AozGESlthsg7LgW7EqADORRPHGUGpcf9Co1xfBiB6uz3ZmT50FsobCRH/EJtQaNSwLZzDdW2GQlV+YSPwVZ0AR3Am8aDX4bhEplJhUXxslsPujEx7eLCmmWXCdou/Hy8IxrwSwj9Oa7RByNQyaagFG+9Obb0P7z6deqoy7vse85FuM/+avDQjfpY6pNLWBioKiBnl6dH0hJADWdjKKGCVIwgSOQ1UryUsc/bYfCjZ9zYIMWIJR8Xx5PttWx9HnFA4KIhP+MgTjNnG2nRo0RCRZoCsyWHPJ/UIgvKAdX8CeesP0BbkiTYR6+F43wchIBSpkVY+z5L5Bg8CDZWriINbFUbObmHbaDbC9ZDs2rFbzrXUUKQfAkAZA9VHmC0VERLo3eFpwzPLmrKHOeDH4gWbwAxCMXwOkVulES7k86lv11+xv6W8xdEyjrmhYYD0SoI9IIP5P3fPgHnCZa806MFFVccXC4bRku5q1uHEwuz1j+50lTd/+HK1cwG8VdxH1hc1+Tq9sgUD7ohbZOsvtz9bD1OGVohj6s71uzI0GVXwYMcZ2z78IXEFspZf4wI/Vrt22uZQTr3Pho5DI2w5pNep/eEQ6p0nJ6+xn6/5OsftaGwxI+jFu6t+FlHtMkhj3r5kT9trMSIfd0gxU087A7sXNiRZUkgv6mkVFPTerOPB9Y8yBsy2cd/krWJi9k612rKE18v1JvBvf0eAw5DKEBiIWVBcHoq7m0hYv0rzGRYisp+LqB+qmjYctlRfMFuxDCj1fW2k+EckhSC/2Q9TL7JCGWU1KrHSF8JPkzNH7Ayqaj8yPowdhBdL5dNejZqMocDy1oWSCzMiRj8V8OUEPhufiGNcuzod7WHWa6ygeTxzJE/uIRef8skm5yFwXIjziza3bYSIJ5QjPhPuz2gyzvXWCbMVkVxJGmMiKTLcKvcbjAjMk2VMja1yK63YJlN6/FFKXY1hUvNC+tkEWr7rEJbGlFlPCP2tBxR33Y0W+tLzsauFmZSbfd6OTdmO4T6xuCxL9ZuqHf35Bmia5YdUD7ZoBynt0c9oM/Y7DUzO3uq1ms3GZa4iWW9dEfZTTkLO+s/2zX2Zv3O/AEDU9GCaHeAN9qk7ejIB+8VtuAUvLbmOR9LAKhCi3UIsYQfDc/Q/Jkh5yFJNte4BJdLHJ28N8NcZCN9Bq4lWeM3KgNt2N0VRRQo8gIUOROaiJ7NWpTA3Xixn6r5794C9oA4GKK1CYBaZe257U1w/86Qx6Rax/K88jThP/GSSIrfaKBtXxM+g6Z5JjjkIhSo8IiyZeBBQmXVNM5UBBERZ8G2fW+6aMJHfZGmRSvaEGlBPrTax3FTbv9Oc1Ahw5fh5OAHMmXtYUH+cmi9HCKHZsXy1UHW3+qkM4C9Ad1g9aaFvO829tf7uOknbEwdmoBbagRbeMMpJNcd6Ri8l/py6iXldvgBB0wHDXpdGAwMxZPoHbfMH1PGmLn9npP/vt4eV1NWLXJOm4Pi/noXBaUISqjbI3ggflZuxcPADJBfbOE09cCkDyQzfInHL2EOFASkK1vabw2uRs0U4Ffd4mYJ6/LbnanJ2NY8DtkSLpfYmCrZSr6lz/ydGKd9VGd1tRMP1M0dxiJyfBY91MVe+A605SD5HNvtPUUnXHmBuJK00S3jRcd0UoSDNB64n2BjLdOybgZnPi6e2lWTzqhrcAMmUSMBpI0NO3KHCzydw37nplkfLfIHH2Hlg/BpBtg9SdEHVin1fN/01Z9DzXvswYoUUJhDKlzbsjyAG6KJ7LM2VQORJII7vGL2vR7Owv6JDbuTOudi2Qz33PXHL1PBfVBVm1kw1/XpyU8o28YGN7xxuj3EZ76eMTbb+V3wqx1LpT55BEfcp86EwFNNBgBRRItf4R5cbXoji22L9d536CbzZnbDPFBKcCNml6mAzW28W8EVn+BdUm4wBVdBY/DNDfMWHh5ffm2L9Xae0ZsuhO0hOKG5xQrm1lZmvnb3ioi7b9YnACIdXFIsgAxfIdOzYMT1XraDk3M+IvGHYz4ceSRHm8lDCz++K90nMCs7ZxnGpI6Jmr8vSNWGHbMweyuDhRNgOvaxvwrZjDtstPRJsR8kmgrpV9k5AkspZflL/Cx8oszCyvaCgA2b29NeqNSAbgKOGDbWs76SkNoMXQKxEyt5h61OUJW5QExYgbgrknVOzUtOnNRDLS37szvcRP8t5byJDo6CDITzUj1Q4FwiPtmbQs0g7R4mNlVKZcE9RjTIMT71HjIaaNSCoHfc2gn5XlaWmwmtWRkAHQr7LrJdxAKwUKrLJmTWFEs0OBC+QXsHV/40G6fbAMTQbtIOi5g7H5Z1ZW4C32TN7lxkfSGfaIitIFB3qa7OPThuW0ec3995kR6pJZqYrjsiV0lArLCuGpSqT+BiDy0MXJb5jK0Wy/+WD0A6lIgneNkxHO+EECs5Kp+al2sswpUv4w4RiDzK0PWiSnVoKTrNQczTFTppw5RqHxeFFyH7hfLhW8VGeBJ7j1QcCrrmdFK9IYTCesUUF2tbSLW7gJW5DJboGHnmKM0ixX9U0HUyaR97/gFeCb3GkvKnMOtFsyadX/UlwRdzpE9OcCUKlLMEA15YuehbtHCNynyCpbZ4V/h5Zf9LVRwFiQt95LXM0Ev/xUsk6U0cdSCNbwM6MJ4Vqgi3PoATYJ6RZcKQtQTV3VI/WgLJLoxoujlR99lErEHx7fw0NbhT5a3vF9RG/tDWWk7RnUXG2mdGrbnV13f/ulE45FcfAsxLqapzSHBss/eBROoGLF4rrk+NB4xcBjJbLQMhZTULmzhKXSHBc9pgZaHoKmQZUp5sShc5k+dnq1xiTLZ3uyyQruZi+CgL3cG3Gws3m3GceRjtujXVS7rXorObGO491XokZKaQeUn4unsu++V/BWEDqAUF02al2fD8+kqJNconMsPyxGmO/UOAymUKb3rZRdzWNewy3b/39YSolo7BrGi89mykrVnffS24SirL9IhU92Z2UACypLUNkGtzodo4d6yyZFgUuu8j5/iFr/eYA7p6jOk1gBwSpGjO/qUufhriirr2QocOHCERVdvxbSqhSvxN1O3omLqK/dHgSb+3HVoSpsDzL6Wo/D1tRXBEDbvpIEx5pTrFTRRhtamli3B6sKBZAJGJEZ2x+9e80YMQ64jiVv5jgVMakN4YcJ5mfJJkBPNUiXgKMb2FSgS2Ik6JlHz8sQbJ9vfte5cehPbrz7rSrxJvlcnoO5dsdvQXX/jYpgOPh8TABOObq7PwfdSZFj6Sdl2LvQ3XvxKxt0XynbGqKNwNg0XAbJbTTocZtZFfZKOevIEdypd8SoVRSvvkJicvlzBbVOUUphAfskbAloxl0X2C/Vzf/foMalLrqv4AntgQ7tkFFDpryhzmtF5UHk0YwMQdRw2x+/buoFcqHMCqRbm0y3eYfOwugNrWzv+kf4yd2W9A52A/YGBBtBDdEZJwdbpopzkoD5f0y4E3t+k1vo6oYGpXIdsWZ2kVwANVeziUIl6ef6lDr75ZT5s5w1jxOeU3cQp/7tpya3ZBR7Qqu94ZQfiTWHxS0SNkKTBqVBi/KtM+ycf0nSQgGQWGiYrZbcdiYov+/JTor3LNWGptgeSDjMynht5FiZSoNgFFpbDeg3kj4hfL1XctvhccMCx5SzLAwyFGOmk+tElCwVkiloTjKRaQd7ZSC4Kuw/786BHpLtf8ZuDHtnJHyu5bU5IlJZ55SKiincohRiXfvOlswnqSO9Ns43JuouN7BjX6QzQ5PbnsiAr8KVaN4aIdFl1K4w+IgJm8n5Rilf+t1qx4nuy84hIk+TBBq7IVF/bMbZYMfGMWMuHEs3JxnyzaoUcsefqofaojQ9Rq69p3U5Vu0/052ftV2mZMUynizSRZUdplz3ST7SZP/zfSwxNZQxcZ0V930BgsA9l1Vl5ODWPosxU7uOfPzbR8cpfmL4IUR7l34HRp1IIwU6H1FvWLbcIATU39OzoQH/e53YPWDml+TTZ2Yp5xydU/DUdHawRWSNj0ur2FETvNrNQJ0aUKQcnLP8vcseeYsqbMa0EP7dGGVBAvsGpRGKYBQ5eVEwK8P5rz7YLylZkbO2NqqVX3AtR4C7Z4yzq2lCZLaJX3Mk796IyioljTdZiT95vclSZAMqAoWneAe8XDQAaebkFkWpuIrnYQd4OVcuvro4CWUygcylFVqWjBDTsf3zhLZmNWU8Sb/3i8dY6DNrBzCVsrUNowFJT6H/qqBh3j0tXGQUj4DEBixS6FDjnmsYlqQ7GQWYVKbILDlj21kahlbyDek7e7oqwArloTmdp+Vx806cH4tHG6QhcYIJsj0Q7q3MXLHevXY8ebaG3Wc2KIEZEjVKueGJL2MfiVN4mbR5/8YY+jYd78ZvlUpobR4zSRHWdVbJ6ClIg5a4V/uFBogvofI1SHrs1k9Yd20oOtNWo25iN4HCMjqstJkCCwl7QHZPpKpxFtTq30PID0JFmQAkTPkLHaDdNVJ/QbDvo7LH3D1lWUY+s9urwUmYHLL6Joyb3qM4f0PVE9IngTzBzZhAedmmnh+H+ydjPoA/emTuHAx6+6X9ZxXQXrdNx1O1Mx4vi/lXnvsKcz3UW6/NIH5EX742vMUK6FFbQptVZUmlx1txei4eq/jkQfhTLK65Yi7HDyPS0COGXvQxu3eLKuvHLwqGu5LPFGMtiFwlXGiWdf1bXs7Al8t9BueuTQpFtbiEB25YTDUdxq7ldbQ3SCX6ii/kkXDQ3bMd+9iAeot64v4GAjgdOoSd03rsIm9ShClK9bASA+HO5pSFtcBdrjX5JP85ojm8vSb8HwovRiPH3GTZB0n1M8pJJJzNYj9ER/t3DZ/PYbBWx4n/ZQeUHhn+RikLiHwbdrX6akD2p5565n5wmq9QXnw0m9CkO9BAGHdXvOBR4XMLrqGnd/INK18JWIRqAmf84WH+ObjqTookN03HDQEl5OTmcJ5Fu7g4x7BhW/kZOg1/9k8BQ27jcEImo96R84yj5gGazrnwZJqrpLC++am1mb9eRV3ddYEtxYTEE6L51Qysrs/d0+COwu/AYXQH8q38p5ilGwjAoyUoDOdLz/OBIBdBby4MaBFGT9k/cbJYH2Y1hRsJx/iIgA2EeFEjxh+uRIIWisXcMOM9rhh6a2E6h7adDyTA1MB/5BPVCCeEcP3hzVHi4geRuhwkU+wEJX5Gh9aUYL4kFr/25TaWMBi3nCbS1lBDhKleYvVNdWBXfT2edwDJJewhRfhxH/ISJb4y3gKROt2YMz8ZwkJKpex0+/1Dp6M+inknO66d4ZdU4iUAJrLfbCPBGGhn4OIDSBgdt/W/PRDsE1MgSHhICAsZWP0u6bK+OULyHmGTDlv97yXxj3gpKkFy1ZI9xdrynWBd6l4KsYqKat9ylxWZdOlGb/eJiyp2+7xKzW8WGYwmKcw/15US4gI8MCc7iFuRolLkVCMcTSqE/6kX6WVTCgi4spodeWmlXcL3dfZ8YPDbDIOR8VtdZF2fPcxIaip/F2bRFVgCG6YRN4cXdzcPUw+8wez3nv41ki0kjn9dHRC+IpHwh+EKSGfP76hBzkTGnGqsXbGRO3mKEWFqDy0/kiOuStTINYJtOROxvn2Zeh6LHbXAm0VkgXXL1myDW7cCTI/4ZNzc87m5Iap5axXHyr2uUi2z4J2QcHd722ax+ka/9xvJnSd8pxhIlALTp/YJDdkVvPkDCfAfW1U8psY4ieeysNmWxI2hY27n4pado4KPJ7/SD2DOzRzfkd+HfAhkDAo/YqjY39mn9LkEWLqbA6tFXNCD7fVwvmGjxs3Cqz/MPpLv5PHu0kXcfyMFzAhSK1tcP/Xj1E8O0u9nKxrbadS0wMB/S0kWMkDlz5YvirCtyrghXO11AzVtIsEUGyGJ7L8SQ745R3dI5/lBljPvYxY66IIpbsFhV5eL0qORjpoVpHGRBXQrEmEemd5yiF9I9VfqlnXpiHQ0/aHw1gch7/f7oYdaujftY7PTn49C0nbuNyIE46LxOyvrv3VsZncvuiewqkMaFcNZ1QOT6Y9tppvey/7LuaVPXzCUhqL68TqVvxIXzxUFl0ctVUKfHlYW94yesogXaOiZErk4vG3DFQAtiEFTSFiHVR2TQVsZl7Ar6biKh3p2fulvbTRmNanP/rv/1YHJgxSCjr3jh+k+r+Pzim3ns9rEQU6I2n9QNBxsIWb4iBH0j99qQUjYpv0KoXLvc+ugto0K5tFmfU9MojlDccnk9OVACRTG7+Tl3aiMRGHm2xwuO+zw6xvDCjay78Dr4DOfQ6pVJpbj1VtRbpCLzQhI4Hafgbd4ispUQEmu6qoritGfLsS1wLmb7J8U35Pxv03I0WI8inRc8Wkze1NAbR/dUqrJ9nj8UJSYyIlZU2QCTcc9m38EusvAMscK4Gk+9MACSeOd6YIUbOMIwQeXqSfNe7/HcUCZdAVK3VmV69d8LGnnx8k8FZQ9G9YUWcILGrPpSA/Tn1D3X45n580W9YQa/vcG/SGKM9yJ4mXzzo1FGGJszEbIQsr5Eff6bCAjR2sJsBJ2Jy1CU8aaoWcTe6d6obgfAYMQKAOlea9dFfX8rHhwHcoYtYdm8XV+T277sM6UFiBr+fzojKSUb2a0StGnal4wovRidXOnc3VoEZdBB1Ijpa2sXnJJn+4lzco7Xo0uDtHH150qTiahlc8eFkOlH1bizHjnvYjrl/uSPdegLPoCCiO3GOh6qNBcL7dEkvJSxPx3rXVzI1xuXvsI28hlKOxb49wbO8ZU1o1ovrcMw794x/sMQynqHlgiqbQe58BRbQqAKeNYNZsSO5jLGZwcsxUoIoyt3cddgNFWw8jgj3UOapSeh+cR4mnK7cvHSNgGjKp8D2MJ5mcaQG0G+ugsKkC2LtAIuPuT0FrHdsYL7fhfSBZORDo6iIBJCfl9CvvbzKEjTJhhP3vRr57U5nsX+L6MhKMVQeID0dfs+crfe1xis/ukKI33sCAfEH7MKakW5if3a4wGV15vz5jw9dYSVFayPxRHNlimAi8zWJEPKs+PdlGIcXmFNLEMm17CmticwYMzLK52xco81tfS8umsWKvjcMJ+stNgvTaINyGPT4YH0DbxM/fPtcfbto6g5r5VeKMtiMjxpZdOb8cHw3FeMrAXDOr/N6ON+xbK2wAvhMVbLv2y/xuogA7kdzYaazcZnh6CH/1H/MrHiMctBBZl+ugFa53F3cFzukd0uP7TBwv7JXTDEm41J0/gcSQNpbFkEVWxBiOKisdKFC89GWMcFJH0EEjAPfYfQTq9v4Q42WYyJQF28cMQKMHqkJkdlggen7UnUOu8SQwYFUvKiLckGw6QZAdsipAzNhQwlpNyzU441DwaSXrAWcl8Nn35u6uTqe/xr2AXrJ/9iE4PeV8hSZtqIKjqJwWr+KqP1yA01BGg9HCS1FkDCry+kFkQHHqnOESuYtRTm7K2pjAM1aRl1Yik/ex6i6SBw9gntN4od2tJABhN9k8XgcA1bUhRNRgI9nRzd6xpRBaMPRHeYkGwkQg7+j5Ayt7pEZTiShRDxyQvKj74w8jW18ax44VINPDWJ4bb5Suyt9tAfzGmB+mAUHXqe+JxNudTCbAJcZbrHJtrqQqzCuaIqd1PXeXLUIKeylmyI5lJYGLc6a+LwnSRtHyt1xXUl3xD4i1gKycAEuLhh+m7vHXUIiiCysswmtvBw9Dpn7g4uJ5S/JgjKDPZpHdOnrFCTDPUSd2UuSr5AudKxeXALx13ypzeWUK+lSLemhoGIvZUKTR98MkiHoGhNyNhiLwW9mIq7doKYnJVSaNck0RGtsdJpxKe0cv+MEbpDEtCK5q8RG1qWoO/xVdegjEtVvLqOLSB5qajJmZmF6g5zNzFSWth+FQAwqZSNQaIdFqv4waNIDNM2UejSEyfRlTxqYhZfvNgwVPBxWFw2p8rlvcZQfipy0CTF8PShtHVa5tx3vh2zQYb/mnuoGL0/LfqmxmGvuwenCVfeaMGZxyxQ8CHNPcMGneQhNJ5C5+OTJByaSf7H/siS8CQOi9E6pac+Sdef1PnfttBvA0grtSbKVtDkirXmkcrSnX0RVLeCfhUf3fBXtgQlDYQGuvK9Vk3Pe9BAyvFoS9NN7a4IBoDquXQiHgjgVeO1pMq2JUQqgUKzivSqfDFQJ1syGIvm4OWTPKKbf1ACT/QrYGX1UFVO1dRbhjtGIPG5n64n6mlgsbLv/n+J1AEhW3g6swCCeLOIKXJv78vkGksjkQcgAlg5ueF9eM+ReUSYu7LLIREB0fayEjxQcNt/tOLcLmXOdx4DwEReauipmEN6qXq+YknEV6x0tQW2KsMPK7iBHdsXBLfDLxwZbzddkd3MuvtWELeuh7Oa+WmurJCkedUMNuEU3eJawNZ8yqotwmwYEcV63+ah0g0NtehmdTmcnjIByi1fzp9UiabICqBFuXjpsIa7xY3rkvx9/fdwvgu2u8ug67fsk+0mWlFzDF4vMsZSihK+UAz4Xz3yupk0xiOc15BwD6YCtGzyjE2fx6KjES0E3Iadu6jtp+WKBXOYRfSI9Ss/Dfn/EjrDxLvZY7OHhWZoxW0Mud5RPgPMrhBEkxcDYJstvAXKzGdgrtm+otvZUY6mZNdRBdmDa3RIreWF6VPFsmXcPmGRYbQzNNoyd+p/HqqFm/1XEVQQC/p+Cbg1VM8WeEK+hhukMQiD7lb6LdOMebKlRHzmJrYYFF+GaY05PvAeYEjrNDaSiFd+i65YYlvR1GjO92LgXp4B2+fb5upP7aKBAKxS+NN5/U8IZY1SxQ9Rms0imWgBr2kcOuqKz3J8wV2yOhydd3SZsa2sSEjn1BXTyMkiLvygm66gi2Di+caA/owtjbhZWaEiZogMS7c9kirG3CV1CjamBLd0bnnaZl3isyTl/3Fd9t4ffPh+aiZm7XpQadmE60jnxxPDz/hXqQ/8P3cG9OrwL9hyyv4ZOV4JgFFFPRyb2VMBycksA5chD9OSwOIBHhd2k4OvTdWKJUTPlqEYXlHyYdGqQDqh/b1GMJ6QfQgavqqzO1FWw/fAqWUD+Esn8WlR5hjnq4YAXFsktrVsSEpjOkaFARvtTIhh/Qlob6BRZYAmsqEMKUOHjBNCKendu8+98VTEhljta/ymDWCKR7frriBPbbv5RwIvZIePfAF9FmWGZp8Uc9f6MORXwGR4plL+VUj82lbSkXjBsmnPU9aCD6USWsQyO2ayxmkXXkGHXeZjIP5LEobbsQwXhTn0AayNBKTwn8tjl6fbyNtJCY3ncqmlKDh5li+KamnpepEFbfoTvsbDYoZuFxOt0pYHQ6oa6EpEuvh9s7vJYnehVpPXqtfcW7XBKWqwNZ7y5GLbQmUQ5J1kvZiaSMrqnj3lZii14ahgNdLutjr15UVNssP3xxfZuprI7CYsgBcpdgHohfScx3cBHBt3jBsv6/nhSklQbVSWOfp8hwHtbVMZiqaX47riV+LtPpoyJhbHH7w4UF+5oFaTaO9kOZHNguxCFvbDcMZakw2DnfW1zXMxFeoQWV0N/p2LKMy+KTB25xzsFuFgDAFPbsopyXI8uGbZfsVVaNFhfK4Lw6JxFPUyPT1epasBoz/kaEuJeK+a6HgjYUNX9Zb6lcqZAxJLymzdh97Yr2QjHzACEfJJ88LhmdKXEJMRAgaC7QDbNC88D6aBiQ7v+g5ZsM5Gqpvo78OtmCBmoVbfTh8DeTieIzShhC3fYx4Xpk/1PKPzjMFpBaRso7cWwOmTwwSZxo5ad+KO9tAeEhiLgt/QCf4Mk8+nA6p7zctMMtZwHgOiDYFrcYfJijGQVcAyeS/2HzRjk/+kbJ/8hCwKQptX6LuPr1dSObwde7++qII/oLct75hACxeuKArE7dMQ8RRZh9a0av3krXAwRyrYMWypMovOsPKTGnDU3z1WFMx/OvI8yLTSlVZ/VEDe7H9yP/ppCjH2JqX3MqsqmCMiYQ/rZvZMwvckehSa9zi5J8nU7t10Y4gEYRDlZf53SKD7AOaxPTj8K1pRGYOJcFKoEf5dMUL3uwOpTbyiH3zaIWCoJiiPyf1WMnNo1fuRmS2LmerH5GL1kVV+SMfIDXDzZHlqrTksxBWePbZ02duvzStWbGUHwr10LB3SyPK+VcDYqUgWmP6QVL5Ina6oA/jIg+hqB1c/bOz3zv9ciD2GLCCKTq0qJ+t/Jc2XQeqYzyNh7h8+dJoi0ltt/uVEdo4CE+N6HrWq1CQ9gTVLTDVEa9zON+F75qj8DuYrAPCU7z+5lpPKU9S4yLcJThJ12NWbIiNKzBDVda95pdEXjnL8w8o06vnw1JkRasjyEtsHejo6Cl+j1OK/k+UTfnwMf+5srP7mlOghMCqxxRxLEoXHoTd1j1Lmsnc6oDa41QpSWQMqLX4k3UlnPcX76a1pFvVReAg7dnhCZou3ED/iCtGeP54yQxSb4Hy0rZT1AomMZktS+xEw9Y87Lnvobiu2doqIKXX0X9W88xFHnabr8y3gDPKp1dvS6hXZzFsVzGMOfgu9OZrP5OC1hfRTtdh0OqkVIrXJrj6QlIAkqX2enn8tF+ktyev/594ltrNF8TNQ6az1UwLw1AA6+09VH8qqNQtHGhTWT/xren8kU0Ne7GBjfVFXj8I2E5mUccyy59oRgUctSNWbsef8zsg2wjHYOdS4DcyTVRD2cT402hSiIfqpI8sKXPaMic6QP5opyebEn5jjXUXXp+PxPh/WsnVLoBbANXytUBO0DR4RvF2sEcYl+vq7ZON2yF+LJEHqc8FM6Nj69i4pKDr7JJ6ThY4e2yFQllm+XfdKaoj4v0kOzC8SdwJhGbIsCCSuy7EhAo4CLwVqTN5dd/LWHfDMm/TvJngOnp7MM0Gq7NgtQ6mu7LSRXdIw+FpK1csK+b/usjnFIp2Ke/Bt1SzcMFcrRzYQZIeflQYFERVEiR9N+07G4GvQVvd3KxPq/hSI0F7VTSNxOs/69iLbM8bk0QLdi73Egqdy6RNAW3wavpq7EvtSm2VSgCtBk6xn4WikhYfTAwyo8++Y3+eEh/or2aD44Ls/TUpNccZO3myi1y44s/Q1lzDrWy2HzPHDFj1QPwp1TzYKXqK1qMFP3YU40J/nAgiy9yoKKGdgKdbJu3wX+7WmhK+QbJZsoMnN5EYOcsMwhTZENjvu/e7d6yUUYhFt0OgZg3AyhqAYXCnS85ms19I+7FK7xsrzAztsdMZbO1bwl7a25JkZCEGhd4K82V23WcjQjgyqJor+Djh8yQsNFnQXvAPpNL+DAT9aivgHWRcoH934xsqvrE5NmMOGpZe5KhTUh/k9jc6rqNkYI6jIWINfmxhsDm2KbR9LkFKJ8grWjH0EezGaC40FO/YLb2sWJoiKFt4XUooEY/hwJPCCOzrgKjs1hPhdIDQeCwAelw5ceFxkJEKs7gmqeOmn97r3R3KEClrfJH48Wk2dixyJSOVWbuMPJowVvFXMgUWy1Q+sbfucWA7zbg2R1v9PZ1QlcVVghuB4nPg3WIi1KaHy4RkrFZHX7Q+wUSwfx+g0C/adYHkl7lVmuna+ZJB0Xr2HIiw1vvoXbCC/gSywsv7llAZkONxeppOaDctBzlXAeE6HJUT0bG6hLzd+60Lkqo2RyLz5qZcPp+t6Al7bxvcUQz+D6ZYX29oA3Pv0cMbC+Fkom73RddoWBpLqw551YfiN4O+dPAhLevu6vuCuNYJ/InT3gR0JttmxuKl321E1Ige0jMmYydEVVgVDMkYsMgtSusvjLfxx24+XEQ6yZIJB4J7msKfvdtE3uOOFOm52vNelCspwLy6xl48c/YlCaQ+nu3Oa880Su/Dp1yDqgnBnbrNKbBEEnLr3kGIrwqL4msRfwXavvq88mshfkg/7Qi/F3A9pBb5ZO6HZEfqtqUbA2Sra3Wh0yhlHVnOcUR/DorIQ6Ihp6+EftfGYDkaxtOlQGDSslRllUf44F5r78GlQowflqtjK4CE7Q7KQeq/xwQbngaGkKwNk59m64qTi0dOuuROYx+idz5377XB+ZQJW3C3LbOCg9+A42pEvO0ZD1sA78h02nNA1/3W1jr2NfZMgkxd7S/+ZrUbdpQ+idYF0HgAZ2aZZThDVfG4s+004i+gwXiB45ToFOUS6LC1zHolUTOgKzKdoQCSrtEu1uz5vU3cPo9IWX5yfKaszQOcQEQJt5kOKzBd07AqAQb7hBcl5WVr/h2ThrvBu3Ua8JZW2YsEJazi/zuZRwJgOa4k0YTKvlF70pQxF1efriuPURoaGctZkTU+an45VbHPXmW4Aoo8k1vKzNuchgYtCg6E7H4qNGS4R1jltqa1owtGz91zhELoy5xDE3tkjc4AtQ/d1WyyugLpAIWeyTO3rvwexX5DcWZNnz3qLW8kZReGcG+wPVgJlpH9d1aOBgGb0Q+d2Bq7Vj/qu+C6VaEoW0o779+AfN9Dcely08mALYWbDxgia+mHNIxTx1qx5fENluQE7amtDavkVYWn2HfIDXVtNBgJzj2kaA0Is2u5E+GtBeGvcp/w3XoTNlrz7tcyZfeplBjMplaB52yA9y0cmVSwxlPOVdrNyfLrb5wfdFh/rdJBLoQBMmfHwOpa5JxcERbJBykg1PG7cBW1GqHVynbwgUIVhN7fMmyuwnfCfs4GJP/SxGOXl2er5kBz/KLjwl0SKTh3vF+GnM5I2UMIyhPo85dZf3JuCZ+hbqDjnCLeuuSKTkXoKyvasM9O6SwavUsS9f1rnQcW/Ujcp7AOoBR14wI2jhOUg2nszYx5XKP10QgETdF2HKnavBA4mrkc6NPuLS9F0YNNmgIwXv75Sz5zd7yzJpzdTgF83x3hSs6MG7ZqanHHfrJXjt0zU1WXLI/hv26w1zw5uzW2/syXQWfXh6FqVNegVvUuZQWru/tNzSOIG2Lur4rSZDdMpfokHCrymoK/8rLQ5aD09QiRT1V8v7bLQsuCY+rKej9Zib+tu61BFb/Owa26BG2hg7JpxTXN9DYjoXSRBKs2mRR0IM0U1WMJJF7Wp4O0gvbyRLl6oMGO3l18O31Fdmb4tB/p5Uu6W0Z6vDwent1hwy2rodSd43kMrYtiJ2LMfoJTG+qsL8Z3IcUcFyANq4cOkhFlhX+w8z0pY7TfZQbho62UOLlBz8ZUSbIynzOAFwcMgsaXZ3lqWvvyDDIYP7XEbztEgFyJdQiOxPX12TBHZXqSI4gmvGLrC/Ik91HeylZM1Zltq3f0drt5WFCkSOxF70xWr8Zfxkeejy9uXNg+oJiTrHiGwxmolSZ+kCIyYrB/Ok1Qa2uPKk9OHKLCOCCj90MhTLYTXGpzxNRgYHs2HOBXKJcMkj4/LJdsSRpFezT2W1NdX7m3ApNu6RFuaN+r8Q3RaYNuQWo8YxrTl+NpIidR8X00RAgCtcBikx6XhlYd087IHKe6ZgeP5GL8AmP9MrFDHb3jrYLlFk7GPYRSLJxzkcU1AHHsNdoH1F+iTHPOU4+uzfTpwEstBhqkG+t5NkL1eo44EldmVlj1beB1hu5BcMNU8pB2+gxOu99tQl5z78m9SQxwvKQSEK2ewHWZRwzXchhewKovsia+LhaL/xslNzIu4THXBpxPd/40zD43LxAxanLrmRb/tFN43oIDAQKXZpgT+e0qb9ZoACYRVs7e6bl+1oQPRoIPnEZ7CF6EeHYnuCHNxuF2/1gYTE7DXlGJgBZSGx7BixYVLcxJLcHji/fpuh139775/U6EFXIs3agOD430Glcys3KidthasJeEahEXf+b8X+aMk1ay3ppsqYKMxNNMIorEOvfhLOnBhqZS6mgBYfetVpckS52j3AHAovB5Te3p7oidfR+GzBIimTtCN7UrV+wijH31E8zMAxofqZRR5KZ5R9CHsTwRNOhohDQ5f4FRAj29M6zN4QOmqGYetzzIg67InvP4Xw5oQqsJp+4TiNjgHHLfa15pYENOIRv9hWrVR1CaPLfqkV391e9cInj4P1wgs2t5Rn5NcdwoDAK5dfaAypi8uvy5MjVlJfTGQ2Z2H0XFe4/WKCjvQSyDsocEfjKvPw7Sp8TDTE16xhqsR9NtjKJV1MDsis3XSvUozpWnNwms8huTjcePdtKrUFJ6j2zw1s6vs3q4IHLZ7oVZ+Tc9tLL7zTqH2jP9K7o36hGxz+bEuNlLo/FIlsjuYOHKHyrHPUu/nn3Rzdpu0szNAY5zGrRhD/XjD/3sThU7joLRq98vrNOoqy0BsyA6Z+Lv/uVmVFlxzH7Ec4PKQjd9A7YvnnQKLhCRoWgQZjUoDRVV9FP8mXguL6vrvWT+IU8rE0oVX1S3BDrIfee+ExBWAG7gIz9cBlb4NT9Ca89Zjli9EM4fZrSTqWYzO22Bc+WEm6hx47P9x5KSKEwi+k7onSl96ZEDxCXn+nYG51gvmOXQNmUpAu65IgyQhprH9bWQcv65wlg5SCPjgMqert18a6VbUQQXEEMtneJFLf25YRN91qc27uEiOzwQtNRFNzum5vm0BOY6CGad9dh5U5rEw3gko0aKb81oYnnJFWdwXcIbrH6g4lt8fnDosbr8JPmtMfZfCGfRYztjNkts81lPZrKs2T5wVE/DSZ9dQLYHm9fy3Aw74THr7+nTFkJl8iIYQ6AxadoX8H+PWlxE3w7ph3248LSUG+fR8rqK6JN/LD6KYZ9WWRzNhfiInvc9Ku9GUABuRGDDWiWchzJlYK5dIBTWM3AF6GgKO/gAgGXtS5Y3KWOZePb0PKuhQOktVGD+GaIdI6G8qPXV4s62lasC86AWaIxA02wxg07A8W3NZUeevT3nBdsYTafCQZ3tqVi/vstPOuohsOtWP0ngLvMuvO3Dl+A0wZq36CEAZ0gkqO7cOCa5S06ynEdm/KpY8HY9AEOZ843Z1ai0ykfEqeMmepUnb1d8Z9Kjyg6CcYFEJZR1iVpzDIDwgV9Jdjzbr+QENVMrUvW+hLnLjRjk9Nhr4IlXqoi7QvMalHyp6PTsg1nt+I163em9xHFaoHki+UmQaT+IhfGFLL1trD6fuvwYQMoVt+gNHKD8c0Z6IpRkLxKr5B3unC3OHFGxrLssbTARYw8Cdo5BZtb0JZoGviNmxlU2/W+gE/gKu/bijfo2Nwcm30VZ3zjSAlY88fx8uqVrjTTdHwhbQetkLEKddy5jv6IrLA53LLC794/bnmahhibs1l+E8e+XmMeVppkTduNbAEnGfYbgPMrIftXO6IwqsX1s1MMxiWN/kPU0kvuJ8Ssawmaoc4UW5Ni9XcCa+Thfo9x3sPxXdD4RvgbqZAGmKtvDSOKfSOfRJ5zirWj7I1g4+a62kXoynJPG6kEnXYw0XjxRYqww0PLseYZvrjitZfiGSJhPHZ2iP0rDg343MisaRb4g/k3FyugVaecokOyohJmOW35P7ZwsOPRDvqF4EeBE3lXWzSXKd5REMrFdyChVmBMKDzKXOH+Y/RU7kX214/34GthXW0VrwUc8F+Q9uLMP8V5uRlevS0ywXc/oBt4SotjDcUJsVWRwPynhNg16eDqxc9w6ohd/KvYER+qMl+orGJEGTws5njMMMaN9xh2p/6LyHvUPWYzY7ctZLBlG5ilXmJhFPsvcA3ZKjVqGSmJ771ALJ05ToxMthTonlb3qBexhAtBf4qRdWWoT5aLfpRDVVNghqACL8Jzx+6/e7EyBi5VxxPnn3irbI/+QNxrQ+xVUDNLEMHIGPHAu0wqIL8oLbjKWpU2HZCRmPLlezD8aMkzxZj/TUdfC26puvQvPMu6EdQvs7hTSqNeOgIZs2wZiuED4woZFM/BfWOwJKeuLOCfktiSFbaV6SRPej7Pa6EZETIYZQ5QRhJ94YQssbmSx8NQdo4IpuFywKQbfwmHbmrCEsa0MKElP320GzEK3gWAPsrRi7wC4XYsFTxHKzRn0x5N2g3BEANjx8Em24pfskSFwJjr/WyAaTUqmcNRTYzoQQCxKqckE59vNcMEJ6+w4Q7x4NgZf9K+i7/LYy5n0cG++izX3ZoFUJJDWbOjX/V5ixgmgurNNCaumf702Hw4laPdwGTFdCOKAk+dVq3+VPg7iDRGRZtg0VJclJIBMzdI4N89ATyAZEjhKA3Na6iGAiPQZ+zBceN0aplGmwvSGFlGEOTJOA24Cv2I0nBku/M5RCkbOXCH4lrhriu8ynZdNA78nffcCcxyO3Rcx7qOrsG4zpu27niUiroJtXLzRLtDNCvdldSzvGNOPjWoxVFNIcsOpoubX6Z3iQO2KZdiSrO/Zr9A3OyYpYJzzLUE+Zv242goXV5/7Kmulw0ij3GjyXRH2NeQ5ykJRc6Xh0T0xAa0PEvpuqMdLmo2VijY6h1AHmAbGTnk1Ky6SGHbm1onAUZBm9EE2dwmS6456PaLE1l4v4IpgJ61TgegK87BOnlrn1wyFNtZ8e1ZIjZDGwHIPGB4kvs4oC7CdhjwYJ1dekqvdsm506k54Uy0zyM38u7SMg4lggrHZ3YKa4ZCNWYWgD94wk0IlgHXVTAwpM1sjK10OJ5M5yFksGOXtQXu5OE/kavBuIfFpzI4hVi5Mh+UvRMuSFey1gnjy7DHspjKkhlnxePHlFhUDmaxtD4fe5hyVa6boywCpCEuv+Cd/+I24J3pmaJhxLZUriO/ZZczmSi6RN5HwhBB2B7dT/l/cIXhNxHnYTjwUszzyKRtd47pKCSlApdfDSL3C41O0O7o7emN7fyqepB7aFYmrpMwQ0PYp/SF1IUVpMPPDsZkA8d+gbv91I0cB+dHwQhwTkyYSQBmoqPv3TYDQKlDY2ai42XxQXlmJdUPybvjV6ntu6fMBKMGLkHnl5YKELDBYcI2GoRQbj3Rbd4Pjh6i0p0/xfKwxOH421xTDBLfIk6lYyKsEprMyeGYAADYhCkpGiPLpSfk1/aXmhJNNi+DhZakBzoL6Y0StUXzNScO3rDvDdrg5sxK5oM7tLl3EG/tIcE3i16ABxPZI2do8oD8dxIyowE9h21kr5hCUfOJfX3bkkK8Krh7QifgCWxhvTKXppx1rGWfe4lLQN5I7QCCdEs2jgoSMupo79NqEJhGDsvFXwFo2flvdg4JhemvoLMaoI49jS3/pbd1aN6hFEGICbyKuPDf5+cWgr7mc0BFZJ0/vS1xljj4kgI3sWBQoVYiltWtY3AZbd7C3dqeW9XahS7GPZWcUQidRLyZgjD70AyAVXfnjIR0aHhDLFcLg39vrokanwax0+DgEfzpKwxlxAGDI3mK+adTn9ttM9CvwY+w1i/VsJlG2f5pvQXDTOiquKta1/0awkY7Ucd9nBkIUAS+Cs4NUxGx+B3sevIbm+zlfvhtMK5jTklyqVi43ez489cTfcXsTsokct7dCDekX68V33ALZTI58BQz+9xD3KK0CpI62C9Gee9MAGTvkcT53E37plVMw12MyEt680tviSZtQxpDWpM6a1uEWdASLFT1DhdiLq9PTLExhphqP5jX6LGVBLIic+ay0R41Z2ttdlfOWNoDzzdT0D9XdRyXLr1PS1MLZIqsOCG4J/IqpbuAa10xTthCMdz6S1+/xj07P8Wr1Ot5uSetHFNVd1zKXwQcCE1afinAt37NJE8PpUMXZu+b0VzWmgoxL9btLq0PWn1NnjIzMTL3ibIR/hmdD0q2YtNuxMvTbm8BWVDvLAxr/bCrqlDv66RVDUDv9O52ZmVFHPukjTiBmTIwuSJqoLv0vYY0Y23v73CnrWV8HqH+n9CjGAxvGMffNRTKL+pArX1TNMBVC7WypBKL6g7hIPjrLXarEUyTI4t8bWJA4VjQTyVcbzBE0VTIg6wkhZue04mHHcNwPdktAFygQOi1uL81wC+x46+fSjvHtRQrDUFocZLBzdwmFD9Se8zM0Yah8fwWto16Sw3rOD0hKUduE4Tg2bXD4BfwL1z86wHJgFSNHmosZU2ijH7i/FNbd0wKftS4lA5503ZM812E/TkdUoajxLdTFH2U0mA8ZL1B2J5t4mK/tA3qM4qmnHuY9oYLyHkKDEJK7S5a7LCs1Z1CdPXYaKxv0IN4rBkUCVqUxOYWqQJjhi3AMmq1mMhnlUDa2FM8/DP3BfPHAHgcSIMeNTad5jLlbIaPuCqWVSw0RgJDXb7WqKUj9o2GzIFgJbl4H1v1ExwZMepxX5D72neY6IwUBo4nOaqu+ZmpEh1ztB9VsDOtIbGCgZU106GRed4bBqfpqw89izhVvYH4G4w+1VbFOVaC8/g36x9R/3kdLLRr1ajW/BL7kFtBY6lfomo6y20LysBSj5/GQHC3m2Xlhfsxe3yo1spimTo+ewp7Be41y+ub6IsTc/HxWggfUx5Rh5cLu5tIxUv1EkuU6DSnhctmSm5wywwzX3kfeD+FGxcleOFebQ4eZ+90//9kW6LDvpTe/RMHs3taEwSkMRBvj8rl63ZtP3jRza095n0GlpxUp/d94jadlDMnajsaEd37NvH0sHwH6tt9UYQMVWgFuay8kaRe9FFyBR2W5nwoABEt3FaUtdAiS+qRyGKzc8olrVbKHm1pBmk/NdkyU5W5TdvAb2NI+prMLPLiBBuVV7VZ2tQS1RGt31lbpDLCjo7crM/FcVe631naNORdsRyYBa1D9AEFJJhhBph6lPeEqRwXe09iF3e00uwuSOVT3F5qsSjhsDmZXAqModoPmZJeGvebLUvZgYig1sM7XRKqnEk8E5Cj5+la5DmZxdq7h+IaTOHWIrsCjrG0SrBh5o6mlPO66m1wWrZKc6F4QMGv+vgsUgZNSqnVRK51k26gS1zCxt10k6eSujpQYHTVTiBdFDPU5VbWllLv6MW+M7TNfUCmPgNgp11DaCNsaPTztgIMm50COihwHRbdn8/qWJs/1Qhr/OurqxN3wHqSr31x+vDlEVI/sANJ/DSkKj+wMFySR0c02Tcqz+7bt/r8UspCcCI9x3Fa9+GSuOYKWC5V+PSs/I+i/G6pwbzbCnX5g9x1Smj7Weg2tG+jShxICMPrdQk2YnC6HzMqBQxr0CHp7IEYZy7zj+uhW0NayDuizSfVFvFg52cGe6YlW7wwXxM5WSVWp0jUbZoVayUh1tychcTMsWkuj4q7pUBH0+01K8n9m+plibyia9PfszCQpDep1iMNrmhj2O6wWzVWTju10h4DcjT23pSYslHTUvsnF6zMHn6qBUOXQ4Zon8jC1jV5tceiZpUouQFgD5bIJGjLEZvj74yoSQM9GlLgIO0yqrYhUp1f9Qaa+JTxK86AYPuC6uQF1/7VbzHn5ayzjZxMF1uk2SXX2ehGYBVXk/oQQCIHyFkWKdpfByVChScKqjRj1mXOTG6qea5HdC9QHVe62hIaQI5x6w8JyCT8c52KVhc95+7pq6jroeokIuX0VSIlFnE7qjwKKq9Zf0idWiOZVwHeAbYJ2C6acGvlOq2xGLVJMHdPCxD9Cgu2NZq1BbpilgxYRQc6kFDx+5CG600U+iZ725hQuexuQkXNF2q7NssnCjbWWWIKeukY8+w7xiplbH65zgXdQqjsBrnHysXh/kQSvkSl72pwFzvWXaSi9Emd068BfEfO5/MwsKOLLQPrBSilSI6NVsJjvIErRRIsMExCTTc6mXBVjkiltDr4gcABGL/59zaH8XBAGo37bgEpy8A/ns/tCR1NV8/WCv0tgG65Zp5UxDr0Y2MlOc3Nag1OsLoyhZ6p2ecS3WnfE8v+D0td48l83K6aFTaoqthAOhdO64LDNkANY/InlulYnYRR3akAYQZdskFs9Q894IoKPtuTZ8krjmD4t3lFMH74YS/wgwIJOMByuqhMA3R0FpumEei3KwYaH5zgVEWnaNF8JiA7ScSKlCdIcFKvCvFcJlHAJu7EmoRjDcBqS2KI5nI/oXvtjdugDnSHWmCV7Ebtb73XAIgGhceI6UsTFeTmLoNydOT45U9nAuEZ3hnopA+CaN/lxrWiuz25mhI6ZgBdx2C+lCW2oXI/AG3a+q4UR8T881tdOeRYNj+EL8q/uEr2mb3zXBUU59kbDMp4OFdUN5qbKP0PX9YMiLHuxBQk3zkly995OMdP/jmZP+M5jRC09SkoVPDNmT5iDC2nPNLfmJFhP648+Ymn1YqaxGzoT81MAL2OxrNiMCWed8opkh0dlI6iLM+hya1ElXLfQdaVxW7n6SKohPmc/NQXWzRARIBysFBZXyeRwxfc9pWoFpQmSYiK2FcH+Kas7EawnAZYutlgqmP9obOkSMf1vOQ6xETUX/siZbqIF9d1TeEOMoo8o2KrjNBWSc6h6sI23mQsD3k1qwhq1u73Pc4hNV01I/2JOWQ4ASZtqltNGlVMTeIKYZ9UHG6yeiVT49azGkko/DhY1NB7snodc0SUPs6A06rx15aRasxfW3ITx6tN2BHSaduvTVcgqZZoimmLdPCMXK+DTWzbTXPnOPRDa80+YTwjtEl675Dhh1bxEeOwHELHaggp1UKfK49iOoC/ZtY+WlTihiuJUjZozaA7hd+gtKcHyIy/Fi8VgfcWwd0ugx44YCseeX8/uEeqyFY2jz2/oEkd5Fy1HnnAvASnZ11x7Kxi35NN1AXYCCgRmQlchtE/cOS7xpHo1qDwzhuJwvty0kF6LSKJcMVwP7rmS/xQi3socR87L4M/AuVRFZSCBq0uj8M7tdUggiYyRPD0pLjKKeo0JhQ0hVWxgVcTiH1QL64fhXrEpu41EoEeDdNN0UmZX68xk8uAud1P1IED8gJLiYyYgZ1qVx/vSJYQoKW0Qe0AgUMlu9bcx+OiprivEg5HY6GHTsDDpNRmp/MQ20FxCBhZgQgiDsd2hlxUh3oWUfj02HSFe/9L/WDcvUUQruc4oHaLnNpTe0aCech2/uMgCA9lbJ6lRzQswTPiv7MyuCPw1+Iflgt64OKJzaKC5bfbTaFCqFOUtLlwCz2Xkv/0EsNl+NN/m21pq00HbWUPUHWzoJhBSvJAzGt8cu48XsTYVnoDVvS/h+d+bXKWhCnuZpHNho+9/wQ0n/9jYExuvINeZrmC//cywHLMygXpVHkO4/gsifwrKjKkUMh2KMEt6cJOXypcbyITuSJ6ta8gRkEboM12iwUpbdfzEXTovab4PJQY0L4aNYtvzG+7LUXGKaO5GuRHHAPY8BTTGXVspVnaZTH8wgQyUnbE1rHbxWEhBGMzJISi7/d4z3ygCRmGH3l9dOzuYm+3d1+mcokSU+bHSijuCQJD4AyNIfoMPf1kUNc1PS89KcdUUhW63TwfM60bQ5oKVFDlIcx/IY8G2g/EWvwf3VzwXeIXYCNvLuAFMh+I9IGAJo0yLnnJn5/QOuwebtQAAASCJEtVUxZpq2T59jmSu72CtjMV3SYFN2mqfjuObClufjP97LgGmgBQXrNajOBhatlLJlYMG2/wLOnx2kLcgkDuVML6uT/uTvJHu5gxZHgteJ5bNNdPVjgC283MwRMmyoYNqtRMpkeB3+2fe8PRWUQ9hyQh35fUSLiS/9+EbsdXdJw/BRZP0W6TUfGn/s7lpBzS2AxGE1K9rWPpK94UO1wujBbJnBa07KOLeNobglUV7arw4DNl2DvlArg+o45rD5mtWRn93WKZpTCsx+KoUWh4cHDR10tL5LmqH89SEGdbv0tg4J2c9TGffjRch5qm+RuouBILBrxKSHGJTmNWufqE8R4Ke4jzRUFCGUEzhOMw7KaExzIkG2xgo//GZDGkxYOnCIYMDMaUYulLY93IEA0cUq+dEb92HKFNQxeXIsfcdYYefff2bnoBxA5LjF/w5vZbYrwsllOa2vosKTIp8k3j+MVryhuIcPaQNCt0OwDf3D5hZIWkrluClPfcdKea196gD1MHmNgh/XolzqQfTZS5LjrwvWE7NboE6WMElX98MZZAR9Vrasge3/LrD7CjcD8i+yLfWVitj8NinF3Ub6rbjcaPlRbDLcI0ejX1XRpwrm1EenTEuFmOXBz4CqWeFv05mQmQEMrfe5bYlXeL97wvZ1ex4MtOD7H45qIX7BOcbhPQLVcaUQIsG/Sf2Dmb+/hryLxGciVZKCaSdqxslDsxLA6+lSNkiWeT8yu7xOJLXZUPMwQn7PazVblpsAN0tNvIv5IQsNcmRO0686ISTR2Ag++JyXLI8bRbjJj2PKPvHGo0+6u+4XkiytBje+vPCKbC/GVtvVpnd1WSmzxEtLJUJG6c12tchYAe66fRRwiutHJ2o1jU/831uJFUeKv62m0EMYXq5ZVtGFW4ta3bJ0YVvZbBXGF2pKnrSE3zLc05WYcsQn8ZoQCqCJq2sqt+zWik9y/XzEcIYTdTDd8CKjZqG0ItV7+rAVcfaDN127wLDO8cqYn2sBCbPyJTBtIx2ldi/4fbc4ce9xJwlwJqOdFSjK9BNwAcBerIJ0bZjAoArxsWow9AoRI6hf5T6JYcTkn2cq3nphaHxI8iGXNxrI6sWylmtiPySw2eoGOkIs7+l1YD2MlJj3UeAPvV63FQwLm2/76u+1kQ3oiCh6mVBfRoIVGg2xjTgjirdEyFZK6D+WxmwRgOWwV71sENVDyrFmtH09KTFVzqN8dWPFi7ObMNhtHnfV1WSSctwNpeyDmofgQGj4LxXopGhLN2dAW2c1bz3SH2cJGgLw5WZ8nMgXBG+pIo/EmNQ9NRVXX+PUmCRHaaxXc8EhUdBf0deqH8eA2fJPbeqY8st+i2NcWF94OTDKev/mD3xwIeS0qJqOCIpSpeyfxwJfEojop0OtP2Tc1hd1Yy0QEZV+Mf/RDSUt/2XXlq+eRn5jdBCn8kuOSkI+L/MwQBQPvdQPSvQqQmmtCPSwB3R1qqRR4eqTBx/nXIKVRfPGwQAC/+o9ZL15UKenqLNHWM9KnEAZZNmSDvYo7EH13m6sCxyhTt6UxtdlfNGDh65T5YbLvnGA93SnG1u/IYdPAlDEOg4MDF6Ek9Jh0os2pVWKGIrVpFs0YmE21FIGzBh1nEIEdKD0R0vXYwqTGhEtg7+Vcb0N9KasRAZn8FmH0jLn/mG6fKYZt6Qh1rEWt2QznuXrGOm9HRmCKKkcA55aeeOZYnj8/T221/uW20LGn7k/GN+ccW7cecFldHdri415fuwe+tsIf//fczid9mCu6bBJv8MIo6yFzoSlmcw8UTsRf0GaoKU44BZq44q8nBlyS5EdHVe7FTq1aHdlu7hGjia645WN0P1PnvcRbeiPjnd9M1SUxmvAfAwbXgxKOP+ii9etPO82VX5JnWch3BlZaKkM7+LGxoE9Yz/wcKfgXZeRFNsMVsZETFAAdO9egahlN7dPkAQ+9K9dR0ObJMTBkvC3ERrtnuldLPyDo4em2gkqhMg/QktoGVPCJ94vJ7esmRuFnBHhT1kFpXZpCfs9A92LYFnpB6eJAEJTWNDP+imMiBa/tJlrZyxZOTmGGxA8Vmsz1TQf/6gS7W+5a0DfbEA7SuimO9Yr8hOHHO8WbyaRYwUSDTmOFbUQ8qqQCZvudlu7AUsn/It91TptgdA5J4Frz+csHwG8bCzT1CqgyD0jXeYpjXT8DmcvzBs441ImYQXUTcYP6TSnVBulvHlImm0WO67H8ezOlvQ608m/jrJIqi0zrmvzT83QLjhndOE6CTqAIBNN36Bc5QaGBZs5yQwQHBWAlMFXcBOOetSTf3m9h5NR8PfiYifkOCHABB/DN/6vtGd1rBvqJDkCkv4/J9hdu/ZAmlQoo3C06SaqgZHmG9IRtqUwJSB6eNr0B/5M2c3qQPvC+dw93mBBellaJSs3fvGxedmFGDPdNfLh4NF8BmyGgCtgt4N76feVC7lPuTJ6e5P4UDDdYKMjOQ1amcUlu8sbygZpjPH/nSmUA4+knx8iw7uS1HsHpIIGh+behrKLivmwSDKHGhpS2PrMgIocijxo5S9eoJfk71LoMW4Q+huUHbiWHhT9rs9sS1+p/oJQDqHb1bajqQSXDY7aEmq6a0Un2aFQVH+ukPgeRgjQQJdqtwElMNjVNOGvryjlfjWSdC+XHwy3VmG1yFgQIiG7/xDELhzwqJZjtCxpvjEHxZEb931krWf57f2JeCOQcnuq9Fdp6fiaz4JCiQCzr8ZEvb5hbn6xo5r9qERk73byWR1IY9A6ChPZqXF2rA8Sjyc1TDQo8cfaMRSKs6SyAOoI4gwRif1fXg0fdre/MW4AZh7AoYX/wKBppPZCBK+HZgNTiT87Qx2LcUxsdr2OxzawgqX859M+UZf4N+S9SuvKmFq/MLnR8B5dt2Cvm60PbSQRz9oH1guP2XRrfMP6KbKAhaQBLVypYubzNaXNIntplU+a7FU4YUirmpjfL7ktReaz38bhUlMMd3oVR836Ju9E7+HDuG9J6zqJjqAyoa88rE7OGvINBW/kgo0MOxQYZio0xuJOBphtN1mHS9lwdBD210ZuEr6+YSG5VZn6cjVfHEIjsHU7SCZxzfwnboYreX35IRuDDCAZBdLpQJ1Ihbz7O9fbxc+jPnMLNXmt/tLuK8BKmfzUcTsuPcxkSTL+eH9r/uYAry221sZCMTent/8uDK7NHzEZ4vDhLa+OW6F14cEFd46hGG05z0BJXZD9a+v/VChD6Oz2hmu72m2YRLnMckKNpyPeRjy5hUOm/Ux6zAmDLEAAzUqXPnK5hlwPQiZ0ubiSajQRfkgMdxrRkzOZvCTJt2mZBI/XdFxpCb0THlKW9JjNJ0pC+bZHW3rqJIEOQYw5QB7Cnn76++4X3kjwCbixzRjK2lbJZyIcBQwX87VdeZvwcZVwWjWxQsgTo+0dJ271U+VdOeTkJMe+NiWO+8LqM1SUascZnpKhaK+rtGXLyza8ZWgqCGn/yXntufcMqwgvVbDkbh59xNuyGtj68BWrnnnTJMcThzA1UhoaNWXsjDS9b55NunexmQAL0ga6teZmAVNCuy8M1dBr43YvlIDZrSCf0/raXM7C8LB6z8G2AGBslOKShKIRkaP9DYxx6ZACyZiUpfONJczTgTmLJuUshxmCU+RrKQ8c3J1kL35eGPpVwmmTNZI626EcR/Y6TRkZagOOkGAIhzKlgs+at4gBf309YgdcXFZls9kcW+0AFzZVfLx5PknxlV/UhuDVIwaefGeBr/sh3cNsnqNHuZPqJuWP5W9VE6OKiCczHcL1rgHT61Ej+6WGBquSrSYvwG4+lDK4gQM01Wel3rVPg0LDyP2S5O3wUgSAjwsiZun0ik8DMGMjWA8YmocQkqlIpYeNnDEvjpbpawwMDWgKgoS+UgTF6VU/Ys/NXh2ttjdK+ghhV074DB/R0XTmZUTIp3uqbG6lUQmmLdlDHf8zbTkRv2cqUinRtU5azq9O1Yusli9FAJyGc5bcOn9HZtVbao9CBflKEdx9Sxz6yFvZWi1qR+Rdde6L51mKIvqlxXG1leQclNB25LxzakV3qADri9EICvKIkq9ihIcIQr6XI2ztGIj7qXYx8I0PxjBO3IVVI7t5gk5uCNOigmc2rsM8oXtjNuKVS1NduE1gFZuE9Xkpxg4Bc1z0cz1EY065wVJkpnr9ptu59QfMJyuBwLwALQP2oPixDugdhbfuEpgZ1lSU0CwxsytHeGY0uGkGxlCn2Ijj5u83aXTgi0QrNSmZW3kmHyhr9WgkhhQWIqv6aeajzHQkDUSTl2m0EuxGdseu/6M7aE8ZucImk0b+/Fuc1SrK4JqfK2MKUnEbIbbV48TzXwHyCjklAtWF2TqKViX5Y3De9kAmmRwXHdvhQ9W8xpSJN6FYW3mYFgVgxm94O83hSmVREkE2q8Yj/lvkOHhC4M3Xndwya2MecmbYCtg1OoOfZaA7nOzLOVj4zJvEbdiY+WGk8/anARsvzN9hS9izLgncnzssuCyCZQLqCcmoAQkQoh1EfsIOuTjAn2iz3M8/9y1MDYzew/XSy7pBa/kYInslcmx2IeArKMKOOJrpt+QWNB2kV29YFXE3urxUroY7ruBtk/2VpUEnPDF0yLqt8XD/hsl5xFaznogCd84ravsjalfMZDm0J9eP23+FaPdXvSSTiG74Zbech9oHSfhOrvF0JPL1JrGGTJ7qfInrdDCc3s96xvUTfbtHcKHPympyuieeohZVvH3iqZmsYVXC+Uk345gAH5LNCAFY2xk68McnN6T7BIgchFrQPFtt8KF5UEGsjdTd6FYpZGKgB4cxGdbuoGy0qthabgb4r+kP6Fm/rMMj38NtedNnVsactItkH79ZDlCqNod2Un+cDdRMeySBXk1LZpaxHm5F9s4YrexNnBQUMwwayojSTIwSrhaMz3to8OFj7E4E+aj3PG++YhXZwFb7Wg8BBzFc9HuW51GyIDNEM78KUHjNH2siNytJT/XmCGqY31cBeTLFvHqEujY5mbSE1R+4gmyaHHaM4IxYnel5n2IM3FuCGzDkg5EqZVgytFihzMRTmYsBVYOzHsO6sytQqUCtch0fpFhsEOoYvweEeHgkxDdm9k/hVbJCLH/lD7ZYaHx3uGET6W1al9QR7wmg+8cQ8U0XGSbjXvNTv3YJbrHTTzzZ8UIIV0cG6plvX3QmBl0HJd1qC3sjjeOV/VSJnd79dU5zO1F2h4Rw0t/vmA3nhsTTETrPmj7ikJ1AYWxkgL73fsQr8hrspyprDMawlz6kGIuco8Ch2olM0pXcfZ+2Shtlf8uO5TfUqMAVta6fUS2E3mkHLJx8YQH3rDeWgZIBBdMDl2wRffUYDErm9jfuEeWC0Nf+MIJXecJKkJPhuTKCtvZ3Jr8rUkLSaJxkYa4Jct9fki9vZMxQfvj2WmZrumTwyWVeS3HYqt7wC6tW4UDVw1gADAL++SB+v8cjEeP+7cFeirJ6W3augBxam2Lw8ZjvnOyErf5GK4VLDucgAOz4InT5AqUueDvdjovYg9Df7spk1c254G2SPTaKTif79Br4VBkbmuSkROrbLsI8h2cqB8KrHrWFcwpRaHm0r+4wN86I8BPBJ0GN7PKLMAGokUOfNJPc/6r1nCuArcH3YoovF1MioO1U8GIy+80KUrewUhPgrIF/0+YGqdEna27d52qOQ3Bpl8vRRBq3UhST8TqJvkNUEYZPg+CR3kl29+5KXU/R8zfEb0+RVX0OnGukbruOn/vTh2rQGk5+BWY2iy1A+HK7KkIJs5PnNAq2ZtwtfrPCFEYZc/pp4ZFVl91UdUbkukri0JNl6nY4q3QL7u35PwtQ9Ga6jo9qnv8zdqoIDWMGrL7xLwUy/gt0df30FnQbP1Ye5qDQcX/dmi9cOEcKFIyr9a6jI9QIiMSq+ozLTGSuMEjIrV+iESPYf022rGq4n0puGp0HHMSeVH07DHH83eIIQ2Zjqz1htCyR4hYJLQCJO1I/3ES+6+aqY+JDqa6HY0J+EVEkOnKqXmg6wbJuTbGKSPAO4SduymZ0WGe7nQtKNCrSasukGQUsfTVEeZqMM8VvPRuLAf5bODxeqR1Jbw58TcXAVbmedwspOzzHilwxJIBEoaJYrTnmDrKC+reulIabd4FPbofXG/azcO29YiS2Ojt0MmDgvGY5tjyqC/XPr8ulBm05M3FTKhQbH9Yl+zq+2zr/rZYiTGwRSkQNEcvR3YFCia147MlOhUE6cBTsLnuI9hzVSbJUoQCQCv0378YPWxskktXRICHSYj+B2Svn8W7WbmMVbqbkz1Y4pKTkI7UIrTXcXL8Z5uMSuZvO5FNCWabxU2o3fcKUg0NPqhFD8+PKnraHMD3jY9laIyzxiQIRh0SWOD3z6R4TDen9uoGpLGknLixvGIrFta/pWdlEUHCkvjXrUGdzO9tKKMEAzMs1OCoG0UPoBQAGCZ1jiuu/EtvL1bG4xu0KjQg6TxN+3w3FzmTLllKiwU9o/3nAuyFEDSVo31zdaMUtQnoJlypYfmEUBGXDhLd8T+N353L894fTLC6iQ98OTdLiQLntHPa9DqYmF0arGdv7c+Ai9OV+E+7RlYwI17RWzCyO4KVzDUM+SGUTLf3yA2uD4+A4Xeipy7Kfs8EQQIBnG8/vQn0jNQWMGTjGkQ5crfjTD13Dx+l8x0iFw4zmEiy2BjxuplpQGOKQsWOA0n7EXcaIIWLqgWopJmgxcwt27Se0SD2p6V0X4Djhx//vGTviPkHbqiaAcB/oN8Y+L1PK6VOsVTFL7d9JzgPWiWbAhwKfLKF0bLee6j6SC2dGwAPWIsusg9u7MIQFwobrw1oHhegNh1mhulaMuJLwZTtVzDHtfXuPNA0Z+FZPavdHg4AB8hlNfqCQhaw9QKP62Er2L1/ZgiwA+B368Lvlr6E4g9LALTm2/QE+R5x/V2khM7bMk7A6wM0sSki3BZTZkoFmh6QpAH4ouaDbPearphOiDBHHq8kELawgwK/bu6yZQ8VNn+EpOIuRVV24UmARRuSTZ/L+QQ1pFPfyQAxmVZiAFjNGOlr1CBKYCf4NjFpz/iaQ2Y2+fB+5HjP6Fb0hcN5QW6VwYNNScCqoqBP1UhFwOWjfKQOPgsWig3INlX31H3fjstL3DBRLPJ0qabE2dPYfZorIrvCFtBwCbum1SZH1Ema+EmNS7Y09cx/873ajbYvh93KQN3rCmVB5Wb9rBFlh0ByzecmS/p1pvcvZFWMkvslONnlEc1IFNcBYjjgEl1OG5/twA9GZUxWqMWDzJ2WO7TejTpUEgwRI8LqwHRqStMJjGHWGyh+7DlsPv3JaLQd0zsfnN4g7hpCXG+hTM8dqvleertdVWIqMqfakylXpSKJmVaEKIfOU0DCTlIoVGu5FOs7kCbvBz4ADlihOGQiAFUU/xhHyL4ms5fTcZay9n+Lqa3O1AUtHF/wEMZPGMRYnhjOWkKGLQNwmRONj2CtfIp7yVv2DRocf4fwbxvv+U/VOQBI89aI4sbOaWirr5iziiYpQV4jBc4eGP8Os3IQPEY0wpyyuTpL7fPYaHrN8YCCWAJkiOqGSldGtR279JQ2DUpyy2UJubY1AEUeIMprAvdEvLacjU/0eght30WMnsAX0b9ZrWIIgRTxP5aW/z5HbpOXTKnwtnrNDf+0h67aE9aQNad9R51ZtHuCHwPLDVezcgX/YKsAaIAQar0C2s0mN2zPBE6jqcCQ6sIMQEecY42miWSJIzgmaihN4Y+Egw7iC87Shl5LNl4NZ5gYUJeJHPSqgmnLHzo5egyV+i0+Kf9MGw6Zm8o+m454yqaN8quJ3+Mr+4XDpJwj1rCZ0qjpyP9aeE7wDbBjRYKOtkSCp6wqmRXqXKz59HcaTjK7G8F7/Ai1ARXqN3RwdYe75cw5SHvuGha2CjoRb9uuts8IqIIu5qVnVysTP3zv7ClmgMQcWTeKY26MW+vQYCLdJ+MWEA87I071qDUmktQn18c7oYkHLWDu/ob7qpE5xKDl9ED+wzHF4jv5FwGby3H+lCRnLyMmg+13+7q7LFi6sRKQ4Kvv1OrGt9a3EG9dbu7v2JGnbf6NjGYyTbj+S93CM+NOX9c0Z4Ja8cxxm+vieyyGhr7c4b+Exa4rHA8uiFxjozBya+gopCUtsuRlo2o1whyEspqQ+Ay6IJYyFK0TedD57TZirp9ppHnDxTeBqUlIb5u5GH/6e+rWVoKYDk7NXVivHd9SAE/VSguBoOktzeZDm/llbvLKHvUNFM20ny3/a7QG/dE0218cKwbiPTSYDF2rywUxBxAIoyedlk305sxJtYXOhSmizFhRfyS/MDNI4AzrI23g+adhOkf3wlBxe8kPUC/KaTCX+CPIEvEia19k/Tesj5kA45rs4aJUumOK+Mlx9WzPAozYOPsqvyN/8R/kK8Wz/eaNj8aDuGbTrnAC+HcuYpK1xz6qKITUrazJcGao1jck2pd3DdwpBSuliRrd+e/uukSDvfNlt785GSVseMOSLjXgphcqSH4QHzsZHwf5LLD0Hbp6vBDv6QN3kaVukgGFW4ABvXK1TOt8U07SzRqoUNCOi3ENhcXmjnbUiAwRPFMjo8B8RSTlBZxpgbaqq49rnWI69XFGO14w2BFsbHzmsKWpqfVTE7AeCkKKn3i+pXmVwHPNRu+KSq5fHAHAe6ViOsQ26WNlylpw2UZhsaEp0aRiSzrprR6ruK6rSw2mcI0xOhI/O4mRsHAY3t3SCJCliHWGLKdw61DPvKc0id9s2ZZBYD4RwqaMltx8/tgcbehx5xxsBBpfY/lZXF+SZWKo01HX/IKQwrnqTbEnNf3AEF/PR6sPb2eCX9CNJ4GBPL3JElZKrBRQQ+UEYyLLv1Swuw4A7N603o5XDfRXRjjX5FiRV06+To+ilkiJamD8R0L1z5lAUdcWjLW3HtHga+kPk3nNVQcKopL4o7MDetHu6ZDeXDuzQrL5aliUklFxi8zEm0HcL3pFKygtXjDQrKKa66fNZ1gdYxaJPqOLh2/KXxe+RKkVjoXAT8XVkY/lvJkGsy/QIblw0UeZVULjHi53Igf99YdqB877qvw6GHdek2ZBAKG5qLvw8hGkNHXRcPVXaH96xkkA/+6HxGdq5ojGNFnH758N54ag26KpTOCiXqsG/akg/R7L8TAzmLLeynVG2Vje2oYjdO0EwjuKvUkVqYS4oOKmbvnptXGDsfDyIn9jisUgftMRe8xVtKt3T+yvGVWJUBg73U5zbiX3LXK2qCF68CNgzSkyLhE4gmcyJdyNiI5Vk8hT0n1fML2EgaDscjFbxeZFBSFl6vfG5MrNMBwkzfEUjCIEK0/e4T1yRUEDTDbwgHcqktkyuusyDaFZp9IE4d36yrKMqW/4p1PcfYJW/6ZOeoWcgmRejOTBAyCl8ZXEJaHVntrQwDsVsqNkMsQ3/Ykls9AWsj1QkM5hX8tL6RjPC1gK4/vcSdJpo4+Qa9uPTEXYnbmNGfEt9cZSoWcqF5YRcS/cTisMOCnicGKfmREG5wJl033YPMJ8pzHTGYFGRLkMPDbkGwEluzUtFFOdYx8f2qPwEvb9ZhsGq4B4nKMfEnjBdIMNND6iI1mE/2LAzdoYYOYSH2rCp8khE9+TPRWom9ISmzfhQXPxKn2lZPgjMEg7Z97TBZ+SnUF3CrIcAR28WM36b75KE5PtbpVAuyAqu8HfuGtOlya3TEJ9zuoDxxko/GrAUvmV2FYa89DPJZuC7h+uCPikYJwIHXuOpiQAW0c+9qvyDy2cQEYXlyS+CJKczeJuvWx4uZay20zlXX0dTxmlBx7B0g8h2xgkqyPXbvnKxr6I4VMMRHyAC6lHSSpJJoCe+SiLVdOTwpy3YWhMDxBO6TTUPDE+g1sEN0ks6lOKjFLFJ8dpkIUgtz+AVFHdVMngCA0U3v8PRvBMFPdhbpNrE8JsRhCfwIzyLnFk4vJC1+EJenTCkwJO87GCunykg1Rs9BZSym0v/I4Yn125quJlEtUS52MQHJfvJC51nzhMYTNFqLESQfCWhO+7Hpha+UzzF6cExd7R0DIxK54gt7ua08VM5W1fROZrOJJ1SEkLba/Fr+esNFjnMTxX4kLV9zGOfZ6DSASkFV0p2/YFMjrMVVwkoEtBY6trIXT2HtoetFToKPvv2YeSltCTIKMsyzv8pCHbwsbCeKYzR+SndpFJ2GoyA1+ZUc7zLVSVAF5gWXeX+xQdbWd7PeFmC17FPRSvMdfozpDB1ZsSqHe/U1GqYeTAqsmtowzFtesVG1Uye0TLy0vcdWl8BMalPK9ICjRXdvoSkj/GOw/zBaK3nHS6EYNxBLGJgWeyD21Sa5CbYXpwZbaMbME97neNKe80iLP+6LrogZaddsUsRAdDi5I3mzf+6a9OmI2bWWdPRiOQvj3TJNVgVd3AghnqqfcsjDQPK8F56z+sqeprAi9FUfHqJNfbW7FEPzWWDTRNay/6C4FxYOs331Y2IH1yvqLfLtwtaaha3+uqxHVfYu5XskeSNjL3vr04Sitj9LOh8sgGLx3mh5BHji70O/gVJ9J/rkG7np2GZHIasNpTKJBFgZYlwQQNHIIMQ5L7FlY4SMTXlgbBcvvAndaIVu790OfQpnhHHUKnZ14HtgIohzErkozTk++ljQ25CP7bX+PfoYB1/VbcQ+2Q1TZgDaQ+o15O6fq+yMjRnua1+YRJGGPI7eTQGei0nh+KR6jGKWCdbvvOGm5IJX9hn1fQS2LjadReAEl/c2oJUcJ+SZ8bJIAMaEs9/CWLLnTfgNGxdPJPSE/FulP3iujtG3okRkjox+31htp0EaIrMiqBrd/xzStd4B2T9dh8KrxQdlyKbXkTpc6PWNcUv9x7ZFrcgaSq7kojY/xQZoNa97dubmFbl/Lu4jSqBHG2n7jWp/VUmDcNCKvCjTF1Q4xBVzTxx6PJ0XLq1a9LLrFSevVPU176sc13XFBBhhTJyoL5z3P3lO467jUyWzs48C2143lMzGonOBZ0ObSY088/LDmc1blNHhGQGwaLrlxl78vs/ZC1WN11e8PUm6Aq83+2V4AUhR8teSqEf1UZ8GVo7X8+uPsoKB3ASmkrjf/0qQTXM4qfDFq8n5dIsteKC0T1SupD0G+e6Q76p9iFCqmCXhPKYNYBa7Jn9RQ9RStdle7T+5DIbFzcn12nZjWZynSQqWc+gWIOP78C8675/zGXUytO8NBpxBHwT+VkfiUuDfQjgqgTQrmh7D5cdb1Sn2hRd3lNHcZzB0eZpTRe+Yv81Gpu6qj/N9JH0Lllrwg4MGTAUXB1tw2i+iZ5P98Q8/Vxes6dhwRDGy8hvd6h0hiSXZSKZS/CPDNIAELzplNCfyVdiMiV8PSAptFgp+M3rx86z/UfvM+uQ54YA3xyIXdlzflKgIAIOPeQGVDlQJ0icAqBn28tQ7rlIxQHQQ2B71tK4XbOh3R3ExAS14LCCjFo6dyhwrGAeuhAisHjWp023GiuRCpViuXG/2KYsRTSbN5CPmKq6Xv018C0NLKOcWOOfUfQRhYQ0knafZqpcw6yWXOpoY5YdLIqLo3B21eWSdnkvIiPZt6DBfyKMUcMMhaPwAQhwcw3d3nNZR0RYyFJ7DIcxU8KDayDV5jTzzRZHZ6FCrjHGuyTqcDBKy70mmD/hO9z444Fxd+UCGGZBMEav62gOvyxFu6oKucezeaVuUURK/6BjnhmhyivLGehKA4++Db0/DVAOISddMvhCG6B/7X9JFKEj2jZG4362EZps1U5vuZvdzSuni8Pju7vVRKvap7ItS3ZNVZk8aLWIT//OhnEsndmeIWiJFX2mLIxX8wIdT9UDgdBQS9BHHXd5PZ864V5CosI4pNmfFvdXfuhw6XHg4R6sW0Y3Leu6s1fZtF254RBM+aoBzyP+pltMtlM9bzoxoOxR7loocKBz8YjH2Zy20OT4scWm+P1e+ffI6amgCsTvkvAQ59yJd94FbPpSEbniJGdbnf8mjaZMJvwu0XfxJ/+VDc6Atgynn46tJC/1ri2t889BGZ5SAbnndQ/Btj07Ki0jsajAANaEIiTx95xjUGTZn2iPJp8LBtNUX9WfKlWWwXnF94wVnjZlz8fjvrpkOZDriIGq+TRde0EgUY+WBEDgVxnoJoIZqmq/NhvyMTkuwXePwDdxDtf2sG12IGvsFsIFHA1yyVDDYRxdw4elGuv0zzWlms6YeqHS1NM2eTLnC2fMQtZkvDhj/GYZvKCZocKsvw6r9kCQcs9tnPMUsix7iYsPzeAACtDiZpydLbRX8bb2LeOkdhzmM7sVlom/gpgUO7RqhAop+lI6YEykAMyvs7GthrCGFD4MDDhtlYOVfNcRk6BXXF+FZZkzlpJP+Ng6CIBmVi14hmBAdSDAul8+jB9ZP+mnFXwzEHgtJ/e5QJpHSzGUsrUouhNMpBd2mTOIM0BMZDalh2kF8gP1+dPZhR5J8LBFf7zrzYWgFhCH+dRCTaMc3XFEgHmF6flnenCtLRWgXT9Q7nrhBACUP1WYDLvuq8ZXD82aMUQfE/Ru/nywbSoUuHyQKzzHso394GO/la10+vzhJxIWCNogKaUZvEPdLBnvRUIKLjPhD1X57PAZgj8cNlMz29IRVgwWp94jNhW9xg==">
            <a:extLst>
              <a:ext uri="{FF2B5EF4-FFF2-40B4-BE49-F238E27FC236}">
                <a16:creationId xmlns:a16="http://schemas.microsoft.com/office/drawing/2014/main" id="{573487E7-B3F9-437D-B735-1FEA0C8D40A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244065" y="1061074"/>
            <a:ext cx="5555960" cy="2829503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2" name="Retângulo 2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KcOCmEHkNLyCbb8yYGoDPrFcUvJX5M5RRBm0YaqoaD3OVh5vMTPo7ifhQvjWKygUCoMbXz1+6ZaBOMQ2qrz4oPWkoMDVuuVw8U09bYn6OInhNy2zc+YHzU1nkS7E2lgAYlenJPBiG20WsqG1ovBEuBOM2Q31eZqTkX3k13WNhy+nA7ZXUg9wZOXz+bF1i5l4up8YzU2PJ2YPFG33tvExtqCIkP1HVVX+ZU+n+c9l5pz5bBmQenRAKfYpZGJLE+9NurEV4SSJ/ZVdp0+qeU8XTSR1j/4s+1Zj8s0d74+GqRJp88C2rs34BdoA3FcWIH1ebppd2UzZkstchmWJ6mgEQwqkmgPfRt9tq78Ny1zFAPBfO9FanrUBN18HKVi5dhiYhkAPkulnOVCG8Cc8n1IWvLQlFm0275sdDFn/zsQSZ7tGG6OrCyr0kiwHgo7D/3a8jQs3QQJ1Rr9I+uNaZh2+J1dYrXpJi4fMoo238oitz3sui/f45x51PETZjeY3rmJUbA1Ryt4XDbJtXDilIoOcwjELz/CNTBK46i3qsgKpr7z5EdWBbfltL1GqTdn2r2bzaokgt4vRV5G6MHeRZyWcRPFLaByeR/PKifKJyus9MUYNYy8AmBHmzchxXDmlgkTRouhNHoyaFpXCuns7ighWuVvu1V7huTM5tN6vdA3PQetEPf/Yi7q8/yRgkfIziYU0b6eHrxFUFxqwGF2SKdOWJfk6f5a1q4FzxKrjOXvSbk7ZZTgn8evT3dmzVslbuzpSwiAYBMeSJJDBMGkEovCCZzdgBC2lKrqN7ot70Te4AgvAcX7jQYL8Gd0ySZlCncmstQPOGbRXOsCeVGGPPt0XeP6IiVREZn1S8phovtQq8edzJ0l507TKvR2gEEHjqJoroR7iaGv9LQ3mC0FAgRVUn4supXiCbcYERqJTOS8SiDroiQy8CzBfnfZibLu1BnvVnopGkRPEhJJO892BrWATfozdJkf+z2RbBEhBLOahIKQ9MJSuyNuvnrNMhmCHWMGDDqHnMKEnIHa9l0GJnZJDCKLJJPQXbeYbNCFFxOSpK6vcQ23M3J84xa5yD6XD02fXkOAFTQ5kIqNDBV0G9Lg1sa6hK8bEwc6kc5b+GH38TOQrWtZYAKw7/VjDGj3K/fFr+hHrMeMPA4v4fCW9DkPDyNWgqZjdFkf8OXKTGACwkTfIeGNpph9NDT3A8I1d25cMAxg1uR4IXXbT2mph7sEbKt3PHWiifX7kYvoC/SYScCvIqgiR3HSlgCsWQiYu4opG+HXddKzapwdaCeqICXTwfUePWSq5kLsdN/49yf9wZ6B/kZ6qxcs2MiKlf472mmhFTWd+yf1BX+TEMgHtNk+OijHy3FQ5elTzyE4CxdjGynPY1JU1ygqzcYKXIPVM5ij26naAaDqLj9aHZeapWPqUFO83gWFujcZLtYFxFmfo0Mg11pBiUe2KdEi8caxFNHYNFQQq0vHv0+ULMw+ZaJxBpmEjtibxucFy6Wui5o3BJrEi9vNU2/uaVZrhL4Yf8GHqrK0z7i08ZCceWKctJFkgXt+n5AmAFLeSY6ndsDzWB3LvUwbMXSjndmuLNLJ/ia6PmGl8VH+O37hZ3JhJ8hkdjL+xJtIgBVuPQ1xB2sQvyf/H6SR9DQWdqdzLydB9byGdoa2X+IoaX0HCgHbzWdsvJWPSPu0QyxLRqKWqk3Anmo4sx9jxjHipARlzgoyP2CX68KjKi1rHDFgvwqWsG5MnAKBqTaUF0L9X7kvebLbHXCi5IceABj2KLdpUBMDku44/v0gn2sx1u4qCp0tWRmVECI42dG01RdbM24hPtvr0UiKqe36xjKTi0C8eEkhupv/J+m+Aw+FKUXFdZM1AkkXpBIZw7FY8FIuucllXOPlJ98NczyK3/O7UwFSzXraIKkht2fK8uUf7O1hzg1i7k6AOKLjM8b7RMnByaBDkYSLQhcH5uC+4hbN+3hEzaeDdsDuZawdnx0rNcV6/ux+o30+H767QsKAtSCpKV+ytkJ1/gmZbS/XC76dAIuCo5Q8X2pTX6K14o6QQTFLuLabRwqVJMEMa0qUCWJpae57Cvb7mioKXwioGJGsjFa46tCvjqXjkqV9IB9V3OSyJBE4k8ge4InnCuUCk+g8vHytsNTY2QqFiEtL4HouJlwTwLpYa+Ingc4SaAaYVTDKKCE122WOKDRNsML6/yACglUoW29RrQ3shKVrKvY6hKYxyOR7S4nqOsmBKsEDNCcT39r5fcIy7hcAUmeSj6Rye+3QXWsO3fZ9eOYEFd9i2nrAVGSj4Es2QmUd7SYme28b7aD4ubiYTYVsgWJZKahU6H3fh7W1VkQj5EjQJIExUc2I9em5EsICeIzDVqZbqY9XU222u9KR+6PuyA0k+yfuzbsStxuZqK5nDOyoK7fwMlkTjRRKASuTfgrNFwRQ2hm9f4IZ5bHcp9yr1kwL37RyJYCTDVbUAaTOTdTlwnY6L/tEQG6grVF9gsfqlOqwhZrSNHyXHvd9ghcjZl6mm5DC9Cpgkkcq2Oyr61IxNbssCQqwcILlEGasEnmuyCEGdJkykVxSb/HtNsc5VgtJcJy9+/M3RimCKeJq4o7DVBYATGCZ6//VdLdVFar+ZivJyWWMrWH07369LfVQXEwFP/9JK0xuMX4dU0E8Fr8Uinqea6jDDUgPhpBHjHfk/vs2D9dYohwTa9TyOdCwdBnjjdyVOIVTkNoAN1GAdIDXpt0OzVd8wZXzD7RKSWaE4wAhDe7+yHioEHcQt2wFwxXYmdWW5UdaH1+1hwUNvyQKd6kJLGvqxoX8OFApODn3vGXuQluJhUJQ4bnQCe2R4WGwxZYW8/GNJjTmCwrxhgOPckM1L1HVlLfAS8T7XIL7diEM0c3w7POevphmqf1LlBogZNdQjn+IYX/uNUuBHZfdZzCE9UldbAVxeKmDvoLgqLzdemecxk/jA4Nw1xiFNs1Gi9vo/qD6oypsPYDvf5GlmNXWxkaXma6VbD+QDqJGsmkStgjSoy7kO+u8UVpgTV6AjFXZCF19pvu+Zehcv9jdX4gzfRdU0kdDBpXVrZfi29b3XGODn/lFjjxzwOUbOqBX1DWIs2+rZaKQ+XD0kyhTZ/tBAcbagJNntvh1I1RCLzOX4sXPW3rCyrvfNG6ztHWc1hncHZLmvlXOaRzSVLBAVXGK2a79SqgLsCrAfJfj5+HGCDI8+Ds9K40U0NuBROJOwWER6E3Z9sVrHxjGGaCUC3bwiO5jzMeqa2OpvdUTDPHhkeORO4RytbT8iGDDxLgPOFxQqSfCe+YvlUCzx7Vs8o3PsMVE4b9+Ie/EKxWBgJK0NeGSticBXgf4PUXUTRp85iCC1e5SO7zN5UiiXYuJBRvGIRU8x5iOZ9n7wjk9KgfMfCyFLDYyj9xw9vcBucCXeQt03myIxZnM5WhIeE63Ldjx36nv5ryR2EPPYfLPMC6QVSQ9C/qoGxZkjLsw3dAouYnYg2rf3yUDWdSdlYoC2sUjvv3N/nzSIUfkTzXBMWeAZfrgDya0/F5QA2HhD4HC+8vLHNFRjf3hAEsD8EnHbSGa8V6O0k/OpoCb7V6cWG7hWUqXgkEX0TUgTxJQ9ty54eymcATy32QTX/a8rNXCx8Knah9QKuFh5uRd2EadFqptgsw2syQOdsrAV4caOyzsWHhgl2DMphF1nToMvKswdUQagmBbDKM/cWx+Fr1t7xTMqlcqOrHJTasErfahZrs3zyjmk32WEEQriAibXTar9D3MwFV7aCvkoUYRW9u0DCnTDHaf9LNYOKd7M2x+kAiyehlbKGwl8k3OS1lZ1ExkOQmTrFj+wDR1ZiuCIAMwdaEgKDIsiNvgA/UsiNauKQJdU+CxMk5XsCmmHK9nVVtdRRB+uYT8aZO/pom7YxiqjcPJjuL/pNRuir1RcvAU/2Tz9rQExFIPCvHv+KrFE/CQfCzWUZiClfnlUNcWFqEgC79uCPhaGdo2teo/5MMQekdH4T4CW00gPMT3R/S85oHDBaqLslT0bPXcRjC5/nWN8ja6oYR3eCSn+2US/8MbCd2AvLUl8cvckfLcH3MAPEtQDgacAIO6NhUJR+TO36hA9yhVPQU5RLOhhJB4POiRQPiWMBAFx6dgDXUfnmDrhfsOP39NPQ2j9h4sgAKmVjDH8uXpza8xIDL8kyOYEUqW/DcZb4C6EXXKMYu6JtoJv0JgsI7WpEJ2sA40WsubpFigLEbe8fANXlzrlGLN2W03TJSZEqsWQKIsPPKoil8BiwtpLvL1n++0+h+8stEQMbL5W1XKnWJ+iTPDv1jn+iZQlVCp/5bsef0UQ2yvKx08pcmWmfgW9LmUfwX0W9PMFbRCyt86xe7uvwEHSGKLKAW8qpqfgXJFGhTNE2meDONjz+UBzFoAGxtj+t9DDTSC9Hcby/FHI7fzj/Od43Qcpv1WReOoUcUd2zCMQjnguZC9EM0XwUacYjcFNrzgIujyvFezdLjH2F0sdIn9WhoVCIPVlGBdSI7WH2LISmEgrk6deLioTdGSgx2Ohs+CTo7u5MZEDGZSLFdqkC1SGKqNGbIq/nSLT7q6vdyiMkaDnRwQCGBSSUw/hJpo981gbXdf/qlYRlUULNMsGlwZKN2AZpovDavMOMVKAk7C6XE0BY6BWHd8ixIAwYtuXbfbEJivUSyIUIREjGUT8XyG3qpKIQLPetGHMzPbqKwlJavzfNaW8Qd0K38/YlDzhMw3NhspkHvv7OWePh/6YUwQDO0DVIs0rP8LVoyg8Ku09tFoLYjH17+U7zRALEj13ERqNgb48CLrrdh0TQBLfV0blUc3ENX/KyxjLCGLw1y1Ne0Ot3ij8sId1wUPLN8qcwIseA+RrVqd9XxluYjiTml+kPqN40HX1MHv+vpTRDhyUoLeanpgyn3s75aV36xS507IfKRDqEWI+a5gkmRzydqM7ruM0+mQiJt3oSWlbU/nU/0fq9es49W79srKYr/o6pfNBlY0o0F4xjfNEcoWlyrrH2nlZKe5kyzKaGegw6P6ySO2W0XCuhXFoXqEc+uGoTDw66tgEzrnYSvGKu5mOXyM6QVgEzXgaRGGAJkarSJHEafsXICDntvFnbTGkq++hAK9Cu6OXivwdfx7rSrR7aURE/iZ+xgM4/AXeHoPnmyEEGiHoY7nSCJqyvfGh2Eo9zvjf41o+2gpQT4VZ7m4hU6lhLyPDHW5m8gNOTSXyl71eUmjhnhRU/F3WGgNrfmfIf0A/OqFj5jePgM63yTD6z45KLpx37R1ndAOcXpebayAe4MES8oXmTM3lmOvdq514haq6DoDa1hZCsW+NvVjV7Kfj/BGs0/xPBca6GMJXLY507YDRJLTqqgtNKHkjtftGQv/DkM23ra74AMItjL48sOCGhKpUBDQLijgHO6Ph3Li4J/zloFVawayc0ijXTkkTSMNv5jqLhC9Yp8FdhnHgvTdswGy1n3No/GJJfvJL5UC3DDszO4aRNPyu8onOc2DhsFEncn9JoA7+9siFEO9bd/xb2Gqte+Ga3yX7JLOg5+ZNiOjSvZ7WNW17IVHetRfUibkZmbKAhNHk8+auD+jcTcO9yerEINX8srdxCoCCqcuA+lpLOB+ExxQywP97bKJHj6QM1iTy58Y+89K5yiBl9ERH9FjTpROJFPmDAOsWsyhfwc/m551iO7xyjzCWCQRPpBWxon+EfmjvpbAKGQfKw5nudxv58zqhIJBLHWLoBLaP1wJkUbQRRPveczKYWD7K7J4SLRmNztSGz6rEoyVvn6MVq4QSCWoF+4y2vvtm7rmT63hIB4icRmS6HOCovp5vPxpcO5cpVJgtztEpkYK8gSN3tR9l8ihPutqPo5/IGGXxlBLAvRPz8OBuoDPoDcMGVALl8zRoTgLAsFPGZufcvpuuwIA+v1OeXu+nmf/azKC1JdzGZBBkEImi8IDMlB/IGqW6+ofZB2XRlYd5P4CDNK69Bsb2EHwL6R3geAU23PL6eBxriTshie5UMLBh6BdEwsU7F6fa7KHi3qvSrzj8n7j0DrrMKildASL2jJJmjUQt2XLu486RwZVG+mnH2DYZB6i9f608cmA9Oxlu3NYoKey3QGbFFz6bf4chI4vJo2G8oxQXmdQKtqhc5dLxiXjGy7o3C2322PlaF6+SmSaiqYa4tTn9NF88nxAGYTVymUddNXkNcMIisZf7erQSg3TS1NzWRJgPErM3utDVtPLgOHLU3n79EmCPtz/q17xeVBSq8zAeB2IQB3HGAzm54cvVaVgc+INtzMrdnoKWHHjjyuMySCXVvjkebrtVQP2yyrpmx1gzOi41NQAC1pivhP/BA9VH5OVWT979uUd6S7i4bTvrleqpQWshjoLDarVrVeCU8PO8St3SxejuALRXuKGsttZR/BQNohsxP7e/W5vM5Fa9D5JEexuDgZGMI9S/nGU9jdAbAM5CB8OLm8JVTF6WIp6TND3bEPmse8RRvngzmcoteEGTn3HuBJHvLYEeiLAcpTlpZmAUJlptfRJydnsqXmnkcxxiPfTUAa6eI9noQMoz0sL5lXw+8fGttmCyUeiFswR6XigxUtTPu4A5VYtrzT1wu4YfkDZN6ak7Sk4fkpilmptwTvzL2rfFha8UOeYkdBGTJoQUWh/FQDmVYZE0TuP1AqTyIYlCkTRLYr7fS7Ap8Feh0ocGrZ3KPOfP43nx2mwzgBJp4ADnqPcIe7+v+ZyV3351Hw3GyNTIpDG7bTVaC/VuK42NkCVVHRC1rSNPFjn4WL33KF6dsF4a+TMv2Jh4MGn9eRjFdmwCX9DWscwtI+kwBXb67KnxOHvuBFA3CCQbNTTH0BtWtLxA3cioE9TiCPRhwVLnWftgYc7N4C2ByjvRJk8w4EtntwQ+e7M7Gb9EUx0myhOifStFlKyFcl1EE3s23cjmIQFSaYMngfcV+ivLJV3a4qgb8iK7UY7B6FyYOOrQxcThjpH1lLLJi9ikrYkQ7U/zb5bIGFQSTZRZ2+JFYXI5KZd1F834DHS3IYMs/dNoDVZas8H/YznvPyJlf8locfF9l+TbOhSF34YSTIqmHajWg4oOMny4elJmfYxW3emItjf9zzh/VUy8Z9qLuUvRLyD5SAL3sG3Ytk0RUqK9GGu7HY0+NvFR+f1muHtni/dh0YKkXsOMelz6/Ros90HPnX8jkSPYgbMs9lbKh7Ra7tm4aRmJ1vHCMt6bm7LLmEWmBXXA/T/J+XW20zeMtO054nbCW0WXWjwqiIjMwZAIWyBg/PLAd6OFQoKUN4pSXEYSz2KsOCHhCMe4nKbv7+tBr1bQih44h4kO/LjjL6zjpqRWXZfyDiBuxfvxAxkuen9rZWXEkLd3yQ2Ct+9MUGjwL2mBI2nz8/bjecb7j4LOF92mC+Cew7koNfMxsavtemTD4mCXKhmVFPJRJh9kmAQuTstv6mzlm5ldAvyR9MY5KVKmlliVNGZgf22F4lOZEB7V+uLrC86Ia4z0mxLmrCXeIt/euoc7JUSKnGcL83VMSK5A52lW8wS6e4Vl60M0upBoKDE5s4WdIUPW21n8/Q9k13mQcn0xzISU6cn+J90j3ij0e9WV3A8KdZQw4IxdOFDQK1Uq/ZoTtGgm6S9K6esL6ekwa+v/Kr7Sx5h1RNW4vXnUIQDT6RNeRjbMYQ3YFDBkIGA9cOMpwgm5Z0uaJ3l9rV992D6lc0mxuFFKqKKbuw5qwXK8351ys/F8IFMyaEPQpIQuoPUBU5Gq4EwVIEwGp+imMb+PHpO3slWYFqJJT3AZy3YaTwPzdMXCMT1UUtTSAXQZ4DVlGPyeRbw4nsnoCG1FyzWV0H1AIsFhj8R2TBP9SxHMOiPXMVSdYrdePLRrBcifq+lV3Tx3tnQJoBkEK7wPRUHyFK+d36e6fdGuLU17cxd8DzPdv2NARPHKco0sRJgTyokLiiKUKs5Dwov9JM7YC1vDrlXiPyHnjO0B5wa6Dl3xzVzRBMzot+wBQpQWHMQirFfsAD6STBa2zrXRmX7XhGtcEdlnm0AEU0Zrqib54LO3aPxfLs0M9p823AKXGgXYIsaDp6TtBoZX8zg8IGyzfPmK82LkGhEKUvziswDXPfghEmiUpEXFrhdwJd0IA9WZ5FZvLmkZXpcK3Ui5kqUtRJ6JSW8kkU/wj93bDjDVvKL5FSCODuwQfPjhwq2BXCYZBWpkEyLRNAtunqRbAriY7Elm0zEcId/00YVzeFx1EU+k5YvPt7BncO5iHq/tWWFWUVcxCwiAHCfDeFkLGSyKME4S4thDhaPXFjq5y7ypnGS6HBLCduMCtIV7POytBRAOTb+tyc+QZOaRBFgxdG1pRBCQfGno0T/Gw0cGiaBnF30/YXDQkM6AgYFrWpvhNbUVIzCAxOMyrSukl0GgIdFx2DvkcofDRdSF/ntbCS9mtDruA8AlWCR1pOYPyqTJuckp6Snq6P5Q2sUI2023tJQ5hp4WMJKDuPsrqTXbJ22Xbo7QnCBILcV5vKeJgk3vIsIEUm3aGGtfv+KpxOALQqVQ8FRiH+a4JpAr0UyABKDEWEIy+7SqpExs1B+U0ztaVPb+SSStB9gcHHKkGqmf3mXdXsMuX89ux3cvPemfcK2RuKnNYBDv6ToPO+TKOKJZFICObEkgeV4jUJM6jEjhElPkmCTSwt8nfuK01iyVpTj9WpdYpLdpAmxjKhuMhoXqxOHTQj7BZvIGAr33Ul83tx2RbCtzyFgwBvOJ8PZPl2N0HLrgE96tZn6R7CkFWMEapOJzCod3joT5bEbKTTQpzNnPlsiA3M6qQ6P8ZfxLxcyQixhnjfKlZg/JFtxj2bqJyeSctF8wXeMJszpigfRE190QPAEogdJn4rIbzvPIG1k5lUR6UNUY2hlCDznPqrNhLIDIfXmasIxxwrAuG60nWYYeDdOld8XWUcSiMJ3XtNatU7zbkTOZBjMXGNvq3zuweTQUHlyYWBsYD9Wwot5Ux2B0G9U6RQ78lRJy7CwEMDACoTviZJj4YZZzrE0FqEY7BNkay5sy2GOJEbVNOJpOu58UmZG7TRFahjWdRgk5os53Rizh3+mi47StLEB+kYU6oAqtxroZ/SXHOChkxuKrOy+s1RAFTBh/k+AeHROdNJsR53ctNwSyq4TaAVPbcfXO7esU7vQ5/DB8FiYB2jYVPdiijT2I5Bvj8bjcFkDB5yC5x5qLBZwss/CNZutsrg9PvW00xhSUPzcZbLVduKjyG522Wcd0vdTsdOIjTHWc3pYf/NPgl3UcBNnvSSyv7Glxikj6NjvHlNR3MZqZlZUVYniekeaqxGMFUTUewYcNoSlKPqriarC50+JJgDW8mnGUn1XAjC1ZOsh1WMGw1zI7gsXtRIAeGZQmqGlZr/F0DwjSifeoq2nbCpFQRHA17BQnpZVzUejfFuk0UBvBLI8k+6LnTokDdmFW8rknsNA2SZXCcPLQVhx+AE+ijC24eNsnWrJreVWJoGkp0XCFtuSGIHYewDY2oH+P9/WvXhqLZrKVeTRfcjhqFI1S9P8KZhU+wZ6umacQd3hwLBI9jngwlXbyUg5HGetB/1LDs7LBUDyvT2qksp+IeMyAo/Y9mQiCgLDktBU3gHSf54rgTOEe6Xo3YHerAL/dc0e8U0DQGvYSHRcvhswiZIzUrE52RXAZYvDMb9HnlD50hxR19R41N+bx6vnXRpi10Q2qe9PYA6yc3gvy0wjJX2OS0vMCsmgy20GacA2Y++JdS/PLlW+83pdANJIsQsggJx97IxvHXt48SnRLWn5ckEo9CgI6hH6KoC8Ro8A2rk2YMgX207mov+bXZ99GWmpaF9l37ymxL+meOjVb6ACnIB4C4BeCNaU7K7exSlUrViHj/KAp1LB6tM9+wNyizpR9jVZdZO7MnsVSbJn4dvBqdS71sUlwEufgkMugZ9GJ9/+g3129LEuAqcvCzzs0sRiBjVlN7Si2UNDoz4tDoE+qzmYk760CfnewElEzyY6H8kqSd/4QQVEMyq72gHEvd0wI3aJHSLxVw2pDSFCsvL5TGuSa//oady9lAddGFzkA0q84N3UUz2Qk7elAUya5dpbs9tCC4urWoYmwzGmYXZIim0rxy5mbnf0Ns9ZxfRIaAs6FOJ8Hv72Ac4f8a8X/omixNUZSjeSDt8UDdzifhTsd4Udveb0qa4V7X/kSnyPfOX5lo3Zjp07JFTYEcy4b7tOrF0dUTdghQShP59Pjrz+57+UeAgGu4RHHUnxHnno2IJf6EpwPZ/NtSJ1gS2ZQehT8vDAB+uTwskZS5jVeFZSzENL8IyRFo/AERJPjAGHXybBorpGmZk6MtdAkrGE04hbNBaFzmbnLYwSuL74c7EQPPoRwDzCQXXC1AvlMPE4i82fuufINrztVUFYN5DqTtGL5rEh7b5Bh/3ADdbULqGGA3dRUHIZxJNglrJ7DfS9WcEt+lGX/F6hmoub5xHdCKzzcNP5hstlNZEt3McuJIAmaOgHNgfmdQ4jVilz/w6sB4JvYetXaBGO2/g0D1atCuhmW8EvXaifFhkSZfuxbLGB2I3IImRoUF3zklLx5tZEJk2baQXm5jDSa8pLTA7vzNANNymt2ca3VsnH289WbUyhMksgFXb2Saa9982g4fzAOXnopvi14CMRO2jqXoPAHVuDte2abKOxTvw6AqrQJImU9vhZJx0b+ulWf5tezt3Z03A6MwptxT+IXn6Bg1FFPg4QB6xSzIsZfRcd1gek9xBTFGw+ipoYArnO4eH+n0yB/CyivTWdIZK7hRDNv5GDp+3DypGtMZvMO63jkNrq08OPZSkd0xeukY5gJuEzc6mgPWxTyKsXdPcl+jiH1ZKWTFvcLOW/bHMPSL+HIpEoG8/8zcJKPoaiVLj9/1nGzBSvQUbJyuCJ99Br7IgPn3BYxCM/U1vMOZ2f3KfTxPlbEx1CmqHqSaIuQgg1QssnGKIMVtxJIublwIrMD4ZQCk5dQuY9bLQKdQ9IuCdBRWGglMrUS00et9fV0icfucdQlaZ1eSqLSszHwHef0IioiUOecDo5QclCK0p/IDGhPCv/wvou3K7vEgaK7TD46qsLRO7tzq59MOovDw3rieOww9CW5DbFoMH+FcBBqJO5J/TORFhSsFt/jbK9EJwN7YjQwcKMU8XaVZlDBx0RHL/HiybkL6tAbBmPW07u/VRp5UHnOxhzcFDRsUvYReDaDSQ/DFxyWaXN5xXPbsyjEiW0wyRhGR4ZWSg0qWzPbFAKIKtHLyV2zeaRX9pFEXqD4mWbcM2G3Vw2zNQdKTxRqfL0eW2ylZAh8AMoJ2WWHfFXqn1jWtr/je3LawHVhUFdAmrCRPvL7L5XR8w287Xlm1BAwpQOpT4fiWEQV2+WNoS2ybVp65oUS5i3phxHj4loUdHUB5Nv5cRXIENXVXlCsARGkU4bc1E/7lGB+TUK4V4woysZEBtF+qCSPiKDySZ4U6C4FKrBPpyteVxdqx+H/lL+nd8qGlM61wwbFYrZZxmbwrBqOM5+DJfD5MrcDkO35XTbayYsap824OZa1H9W2ruBFF6TjNr6j4AVT3/d0eKpKFAs9fBong22M4QfM3L0mmGdE8VcS8dT250tN/vYyP487aOKMGWejqxHk7GAA6DbP9SHZh1eo+Z4vaQQRQpO0Ivo7RUR68rMOkrt1SoRU+TCNl14aa0vctyxPpIh4KbbkHG86b3qmi/zb3Y5iXEhMmmlWNd0hM2Ku1A2zoO1bmdTj+ToUGNve8mO1aK7VoZzRTV7CVL+pblOH/Jw9a0uh+PAIXZYEA9KZAVT2X7JEw2MNQC3xCXZLt7xOeqwVx4naGCgD2UghAVa+fnffby4DBPw1S/4YDK8uEKbP5+wrSkeVOFVYyfymc1qQwOP+TbU/RcGvM8ohzhjHKVQR8HEXVnHGeIoKKEFkNJMmeYC1TO778oE6LwrgXPCIoEY5QjZPdOE+fxh1/wHWK/POY4+l1NW6a66RnjgchXxgoDf3WHrJ5524RdaeXVaQ/98haxcJr+AdBAiz7KbwUB53EHF35UPW3qCFnutO9CrtHL7LDgI9QCxd35g/MnIAScjMoaKoTcmubGYe+PjbJtLQTYIknVHu9pYtNnr5oxGfTkPCJei2KctTUJCI8UH8nBbhmy2HeJmmDnCEq5igw/4qkFSBEHcevoNLs2tlYoMnp+44+SjlvPvo5xxDSum+VKH29T+qqgdnfDQnCw6i6wiJCKGEuB68Tc+I929I+YXup7P8jYKBCLq+odDGABxIbrbtQKDMOWJcfjLV7zH8aFHlAfBdXV5lD8k1OViw/bL4+G3BM4RRp20Wkv19CIjCP7Eym1XKvk0Cd5gTKzSEHIh4/8WN6awXgYe7/e+bTFzmfzbXN9vQ9Fe29LF1dkk8B+HXMp4bMwPT4NC4GMyRKSs1+IgMObtdeiWIcLGCo4FmS7awQQxsCHxn2BzzA40wNbF+0p6hUpx7AAdyDe7PgkDqwnnm11jNHJ6y2FHL8lczCDfPYsmXe7XX5xspJLKSsm9reNkYvnV2Qxu9K63wF3vnNlu+1KD/HZIebWL8YE9KuT23mdmzaFvPtcUE4c/wR+WXgc8AswOAvXLCnCszi2k+8e7+GDy7Qr05vsQIkbBnMk377tg+3gKNoiEfvyB962EE1rfsNpu/SZD9CySijtyndMF2J0KPXfI8cMWI6+EakONxaVCo48JLq4UDWktTGp5n9rCr2S2ECmx2LHdJRS2VAXLgewK7vGEHmYfQsTZopI0d7IirMS1CM+wm8L0dlNutSugp4xY0oso+qucKYvnc1tL0ycCrjXXOO8DoFUZc8eRpV/1JJtM1Cefg4JkFpUmR7AUZy7fWYx2FMFdk5CBT0dGChsm3XHO3/g8h/XLvo3ryfGv5JtNR8otxPelvSHgjIn4gsrQfQ0jqI0ntcijcCFCKL5cUQC6JhHe7ogD299TgGvQQ2G0W/efqszFSVRnmVxrfSnu8D4w4vkDsHiVIIyqntYMGpiVgEZ2bWM/tEKXSqpoPhwtiZZqucKLecJXoeVLFCfiDqdXdQj2iK7NSJMlZSlRXxK2AUIi4COGLNxVMvUWX/WfqnkE46sJ44C1jtCtH31KN5fsrC4kvFNXHCO6IKspt5NOJglbHZCwjY9Txf/lqZegAMbUCTqd3huaPLbf6SL0bIlgEhxu5JqcPsQK7khXGmre5PTtLSgHKDY7mfsqiIfzxGToUVLghFlYt9/8wOiWLNGxrr/era2HOpjMoLARiT4cDJzw0y4GM9VAFSdPC5E8iOM9zz5bvGRa86i80UzJ6qNjEruhWkF3LwVcGMAKvEf+tXoUIm1R8evcQ7TZPUzGiub28tSDw8EE8sHiK9g33yUxcOR9P9meQIqUGnEyvBN1XV9Y3bHaLRt16reHPQM/6LbZnzOq2UO+PvUMX2KSr4whCnzaGAngP86rx7M1IQN+TOXXvA/OjY1w63f0RU11ZVHAx7XRsb/BwAeMGO3DELB2qJy0kodlOAcgVWQzTC0B/SjKKGMnyxZ9pxD5b1IRBO83e1YlRVDzUOq38WOu2rzCTRxN5SIzm9wREeD19WMfCYH2BpOnaBuN+26Vp4YgfzaxfibIEm8iTcj//EHvx1mYZNyINbBtcshBGrrrdp38FbJVLCgg7H9NZkn48rpmCkYcPvfcQ17EpkV0iIqF1O4pzXA008/deyT9261ohUtuzYsnfy75aBG8GP/PSWTxAV0ufattkaFZ1QOAD1vqYxitGNT/zQvDQYtvl7SJNB1G815E9tB18eJjYvj0MQ3i7L6SqT98W9X43TcBQP6Hj0xiVvLX7mFwZc3Cpu8FPctQ4/1PV/jTe7KrDmNoFSU/QlJvxBKsjhLvXPe85eK6dXQsbHXi2VHSwwj2i9DTJoPA176XsJtO6eeL0IpE28B9aWeAj9NgOWPGUigFegGTi7+my/gU6oEYEzhJ9fGgPk096zvK03xKtHdgMt4iqGGf5cfTbE8BMjOfVKiQW1jaWN7g36Ac+Jj92NI7AOpizhKYJvgWoKx0MAn/Knigrj47ymk3Z70EHu2CAE4ZENBcy5NiTSNF7W5pxZPifQvXBnrIsbF1XtDWqvcJFSIOJ1rBF5ke3PnMvP1S2gepL1JS48Z/3L2gGZYjpwFORK/GiGCg0T9xNpcU6KbxICkVCMS1udKaRFquWU5QY5OFl7B0TL7/iKtbbB6eqvCQnGYHLDG6BaOWyI+d/0yegztIlFFwVVQvqepgUk9OpzqoDcr7S/mADMCNp1VNS1T49BYarVqPHEAXufcRkouV9Vsrs6YgViVj0akl+Ro4LkAlBIdSetvJwhtnWvPb51ti+upQdNsAehT4ts9M//KGgFxkYVQXaM7bGvpO+Vlls2buBT/5NXF0Z1Cg7QUmbIxBl8bUfoG5v9tP0M6BB4NkBARFqaf7qE8WZMaHyKdIBycTHzqwXxilQ/KUnGXIlw6cbZRUoaHYCEmAH66kVAjWoHXKloBESDjLGlO2NcA8DQp3KUB4sad547czX0EVDAwONo+TY8IbenTlEX3rCmCzzrWbrQb5RKsmNRCJrW1xGMnjyt0cMtVqixm5KZMpSOoHZuiqdeBwgrnG7uZKo63jTOQhSPicY7x0wDobX4/hit0nZfcccZbvYZgtSjCVyKZg0AEdy64Ajy+uWiHZQKq1dJ5Xpc4Z6/Hm8HWcMIdAKruxavaLJcMrI01IqhwIALNzXwWECfOjG1zADd6+rXMmnFrvJ3x+bsh+VZBb+v+ctdOrGkYujo4HU1xVuxefM18TnoqoHWV5fsN96/oZM7aPj2YTCEH4Z8EvwTCEDBpIVM/AYzlLYtACYZ0VK5DX+0z1gp8Sisyx2H2YIHJC/sxTXzCYNwTTPLNd96a1epW0196RBDX4n9PN6shUYFoAJ4vbYXeFv2cvOM2BdHzrrpyI7x54ZI7/aMjOR/pAIN/RYFPfuPwocgKDeZmVa1hZtBDMMFTMLht14PsP80SOpm4TiAq9RAreRtZT/UoK4GBrzH9NC5DXLc5Aw7kGTNuDTKMQVI8M2U/93PFLp/ACZ9Lk4rxZO9adYflelF1+odKXXodSrjhaEqKlCTtM1/kJa+uejA2o4jeQdIWzWvvcC2QdBsCqHtFT5LFL58BjuCcFtqW39cfGQdEUdsReLqwawxLceIqO0PUy5yEgo7VQmcJciS+PPkilrDsii68H6FpmhVdsMGfpHsvI1gZjkVCiugo8Ylb47CcJ14ic5bruAaOwqD2pnB++WRZT3+QBHU8I0Kek1Y83qUA2Y7LFbzgv5VSszKNHcdh8JeQfN0lkrvvBibyof/ydOsAfcMuOpgnP/7G9yZ2B+XfEOfvE7NInuBR4I8uUTuJtome90NNSvsjBkHF+hHs7KDhtNE9dC+nHzT3AF3oFW3QU9fz3hxwSdrwzQ8zT5gNXjE6wRK7v/Ck26CeshlUfflvBgOaNS4zbmgpLqmJfX88BLizScvvF05JgbGlo2tgM9AFcpLrAU5c8uPqjqO8JQKI3vDWToKMkkvzf61iNTvfu+SAOiZw41CoiAVILoo52o1vkpwVLlzw1nLNCJfMKmeyLLtuZqNw1CoL21NIPUdgc13o7KeOpWYhyyJxq3WvUFBqRx68P2SxMv3NywHzlCnLbpjoFqwNfCOCOoO5g7NpTWhahMIhzrewGe2X2Q/qa/0MoKQBdjAbpdbK/5QTrBKNvxj9Y6a7uJOzmH+if9uCMJFokoXM1/qAQHb3tNS6072cEX+LqT32PmXSwQpHI+YtCg4rn+Ic0uao9hw4un9/UuJA3yMnyrgUDLGtRcuxXhlo4+VmFRQ5KrTa+Coy6vsMIziSg7HIq0/JM2itDfWMjYIErgGNlIszLwn3EUg8xdWLd8UGxK/onh9mo0mApjB5CUVpeej0Q9lU281CE1Dx+OAbFd/RFbljQYqzr4IZX9eGqZMxSdYRfbQ3ytjBrjHVxJnwRvXyYXz0EZFEaYVjIlqNamriVFz5iYILzoLv0vyIZFhVe5BZfDOUnvK8tUAqeypwqmKkl9APMwBugsGKOLR1ZcabKRx3AbHJcCHZIYuUZDjoiCCIdcWIZ1naUa0bPTx8hydYsxzYHdIEOgN0aOV4Q/RNbp8AACbJK71JmH/dW6UzO76IN5CQfHKYNDLcKKjVxgwqmCb2lUJ1VHA5wtWq6DIKUG5k8NYdhMBQ9/K/j5DH+A3TNcGFr92XcCXn88ikmJtgV2fiElJyt0cp0CIAYbHBJNUs32dxNFellYGhEFHaybMQCxOypAhaWCpTAbDEkUN+V1Wk56RluV1adB2W1w11rO6bhogjoXFOBWuBhh65iKBi4sH+1qdMewYgXR8KfPu1yW/xd/eovB8iZstZfxsfM8kQ8DZw3iIqSbMarmxUMEAoEXKMixQ6Xmp+PQI+j08KATu3V8MtXl+SJ9wdwV03ZjPDRTjls7J17m2yOeo2H02uCXP+CRDCGPMZTdeL1eW9phMJcwPUuoxI9dGqdxOorjuCXnoLOaig5kmswJF5P2CO/HlGnrTngMTPpyB/1RRF2W6lv5m14Y1mEINCgnnwSFeh7yUgfRGj6/tjSBa8zWOiXjhTZK40imTfYYnH6vuVfFAUGSvs3RvzwKrUEKgL0GspA8L9aAfWtFNHf0vCArQUz9p1aCKSCk5YcdbxH7+glnUK0TZe1hOsKSE8p0xli6d/b1xoxUnGcPSC/47x6qr/W6V8s+Wngzt1TrYYNfmDlDA04LMeQG7xPU5CQAn1r0aA+bt/SU7buxEZozmyWdc9Y47YXDWtnBBfKmQZHcz3e5MHyeZzWRnpDIRhYrEQL66tnHRW08sU7I3yQQCrDCrWfUS4YMaeLxODhfl7BY7TjoJ7nQkviMb8ltzDtA25vzSZkDBC8eSAHh4OoLKAfztZ4ukNm2dR2cqVo/fI/WYT0qp2yurQKP+2D3KKkRryL0jH6APbebyicUWeEaaZuR68bUVq61TnYucJFTA6KaClPrP9eVr4LW1AkYFBQ3PEMpav+TlJEWXcaEjLDppHvqTed2M4qp7Hm4AOGOsRJMDNHM/dzAMaUePb9R8V/s3FnMy4V3S5A9GGcaERQto+G6xwGP6gFVHGIuEuGdTqbojaZHhxL5hqa+2fUI+vJOxWXGCqxlTInrJxANraewIRWsd2fiH5krh4xbX3lYRDdcdy2CEB1qGRPKqpeI7q6qt5+9lg/DCC+BZv6lIi78k7lKfVcUBC43Y2nzM8nr3W176BjMuuBIp27LnhLPMWI7ZCThtXPCqJGGTnwYQxHs79y2PtUhqO1dC1H1ozc9MM1w5IaljBfrrEE5QV+9t5JEXdRgyXvknMganpj3gC/HwGb45+90Hw5oY66xwMsmv431RssNJygMJiap/RKno8YXQYccnvb/qlwAyvSLpfd6YADjbatHVXZ8xiJEvmlfNf+hRgLQmG/MoRhw06quxqRsRLjWqn4uUjgEg6JjN/uqZkjceP0Gnykz6zE7iHWeIF2Pj/OluiSrDcryNcm+/IEdKfxAFJvgkRGixjDnRMdP2Yl3JoNh6MbX4WR8vAlEQEdbdYa1V2LjaGIxM6LbVXSpF2CYPlKRIp41iSb+trOVzSdfDq9fQ+MceqizD3jSSP4xQqudF7W5T644S9KvaNIFJTVsCmF78QzaM8sWHi22M6rCPjB8poEUCOPEbb5HS1mITsc5QIdBO23slsUTwijIHgXJthIonJ//ykenAj57bEnKM2Gw44Q6AswUd36xX+Lh2j5Z5kUVl4eXbtTGviv69VlFMZZCBcDrK5/SJ972EQmoiiOdkwQQl+/fOi5cCBHpDmT6Mlks6uJHZc/Pu1eCpeZGV8Skhb//HVQ/eJ8ZGJdsCuUV3XgxQ4cDsSVaESXnHKo1kubbPcwYab6Tv5DwB4F5by2rLAtQqu54eGTqpOnk00uKMDZRNOHzn9Ig3qcvUvj+XZuCYzdkkpoXjw/DbUeaRIO67E+LGvRrP+ymdvCEIQNwZSBK+jQ4FdGDSsjQTeh88HaRTo/8JSA8soqMFef7Ueg+5/1I+C88iU/R/OBfE9s9FMHG5nBmlJjRQnDLUtBOPYSJL8mElA8/2henwm0EDo1EeIfyoaxuOlXLH/ne7NPe7ioIZhJVT426sxebCRDsl4a1s8UPYrYVwupN4Z63MyQ928fkSZ8xfS5fMJ0G65ANufqVbG7pXZLSDnGYDUbWuO/AEkldRdFCLobsA2FB22NmsIOD2U7l1qfdN831gdo+yi8tifJjgJxsyz0tIqjJPIoyUSJTXVUX6WPacxgxrhOU17sIO5053B/VqXL1qLNwd9M8MRLjsnk8o8NPEg/QtI2kvudrjQZ5JGmuYE5LtfqbkdUPv/pGzYprOcMCgrrJExDTlraCYkdSBry4wsTekIxJeIYSNFMgwY345mUAMOWWwOpeW8MrHBKDoi6n6hvpELdqYi1WOlzGWEqxvA93r3yCEEHkLOsgGPmwOlc3OeHvhJ53gdqSz4N+uU1+bW+CfjRS1TkfNMCkwYQXuXZgmNDNUA0KBQ2KRgHo2HtcoDeqrqeDXA67L8O0hPs6QqvZGNnExM7Y8bAuAvfCkYwFUgBjhNubPe2gJarSIJG3KaP78LuGoG943bGlO7nj+1zpVSGsQvIuLY7NjnCy962k4L68uB/PMRic53mIhvbcKRHk2ljB7yuGO2Eg3MvjBZM8Nsy3MvgzLWJ9Eo37XjFJq/lO5GXyXEYdC9H7TvTCaXTWjYrYj+qOeHlQu+n94pTu4DO8am5re37JMhOCm6B1ii9T21cgWAEOsqJmwayEOrH63thTjz34ifUsXldtMFCmh2qR68W8esqRqEJOeh556PuI15JxeYNQo/j5s3PlAUJ4Fiy1iaG/HusnOIMl815SDrj8EReTIHZNAw7XSN5GW2esidL7BxtFazuzXuKcvufayMnAag7AumUp+7vMlj0byv6LXVc5fZGaMJMjFoGcHwOt8QBgqVNlylvq28G/1Q7xcnlYB8aA/5skPtyvB2izn/e0915GXcp8qiimALoAx0Sisl6eatl6TvJk8G7Y94o80vtVg7HE7SJbhWa9NvEerxC2wf+G1fdVIl50vWEvDcAhFsR5Pntr6MQCt+RNQP/PWt5FKzQO1xV32nlB85qa4qaiLFS34FNRLfHWJhJdmYeGA5hztSgIPOMY1i68C0r+jHZFEq0/BtNq42Qb/l0SQVod8zAxbeEzM9ChAVuKFZ+s8s+lMjEJ58gptPv8cCLXWQc9TgHFoxvi4oM+Evu7a6iPwO5FuPqkvFXMOqFY2szWplG43XKVs15kGbQsC67NFv8XaOtyD3xNt6LAfnrPruxp3hp+UAmE/WuDYh1jd+bakF8xTzmoF2IcG2bXmBHRPtyQm045IEIpikdXKN0P8HxDTD2PlScJkg+mJ2yiiiNoAIMjGhnaRUl0euPriFhW0BVJW2yhMMC+9v/uL90e0nk5GyRRcsTzHACfYdPihtUR/VpshlzoLHQzsbdPXhKy04opiY0bKT7PlBmsVQao8dFua02wf7L6wPgM0B6NTWD8Z+DNZv3R+k0npzUHkF/ehs4gRLT9kfqamfYnssCvWOwuFSaFqtgCH5s3/v9uybUtfvQ2uNN0YdjPhiqQFzNYAzm0coUwzbfckRsYmB6fkjWJoS3tLNPmMUOq9dJVcCTHwZq5RYijEUYqGzt7INrROZowptF0TFb7mSQ7wpbrhlJGf7p9WUB2c3HOtG14txm3yhyYQfPv2Qo3uZNVPJN7+vko91CVt6+rqbjj3yfxcgLtGIuakABzBwvgJPcjVeO1IamYBE/yrC3kJ/flfEWPLYeVXFtIGJ8+KIXew+0ftHEdRSg/EiRLQAY0a6zphu4kAi4vRwhTPUkyE3hXoIdFzg2ZqsA3HF7XrMCLBCrnbXsYyhZb7lB0TZHfAmhg1hekS8seq8FXEno9Qlm02C6gZFFjhljqFdyl6Do1opEGv3Yd+sUpAt/vdvTmg1L0iVXuTgJ7E0KWEN9FOlFvjIWD1nxwerR+ZdFaPoPLLLgq9ksM1zPxVP1oZBAyeCCbjJSbQW0vwFGr3rIfPhO28PWdJHtd4VzMkJtPb3wHVLpcvjIkxal0wZJePdFx9n93jjCkJJMD8Z0+CJOy3KkAg29/HaX+egGLJ+Bxl/ZcKn/NrjEuhwGVCUyb/boJ8mvGmy1yZGsOwCTrrwWL/rSbi6VA/g9+avRmGAQs8nqvLBsxmk+RpmEG9e/ge+01dsrgISNzC7ALZ60eeBHqb4rrLZkPH44lEmgF9rRYdtFyVvBmpRbvZtvMdpNzklFDp3ygp4p4x44eoAi2BO9RaM+wfXNqaNIeGIYFQS6SJilm5TcwHgpB6+vg9P5eBTPV+ZG+2XHoBX1gb0b0iUIcOCFt46MvidCFU1QVmVbeUd48f8FSBUOe4uQEtFElKFMNPy3LIJnPaWHztVSZ4ggQZxjATpgagle1fISEszitghls/mf0pdtXJbyX/k1u31iUMzqRPMeQbSSY3JAeNIxlebBTAOEy8ZbFTigQBo6h+AcfL9BDK4+W2wx5niAM6NdeZGJ62sMiR2sDXGYcEkayGc/mMxlLtf25OF6Im1ZaehNQhj+Mjua+EXF1eWsSViM3ZHEA7WsPlAgV/WB8FxgDB61xY4c0pPOvlslJR7aHHnEfT32wsVtZAliJCsBqM6Sb4TL23I5dY6m2Eq6uVtg3MTom3ciQcYEHBFYHc7RLWsCAQgpBRhinYsigHkrQDHH/ZDmtD0hvwMwv44thYzS4uAGO2RDb3wIBHtdM8Blsie+UCx1PaIG2nARGlHvZ107ge8CT5M2f7NbJ/W25Wi0Bw2ABuSGuCJELL6HhQzX0wyNI/7oHPWYtUoLrUHs7bgI7x7pyjp810pU8gwSnsI9oX4IBSs82YgMV5K6Zd1TjW0Ttoa5uEW9e7CzuHh3mgVP2a7QP5CT14GNeUsQeXISVn6C3Nnq6hVo+u+w1zJsD+T5qPrE+xVisIxvJsBZUdlXUbHTs5DLWU/MvoeNmBou9kve96loMP3g6O4gbNKA28Nox9osrNs8MDyir93h4Lt6FDXmowwexMFCDMo7k8q2YJSpvpwPNnvoDvUI4nbhhsJxBByneELyyu3sfQOUhEm7aGyQ0QmOpWveU44JCkhsWEscRfzvxuR7ZnUAfErxBNUpLrHl7T5WO1v0AGLEntwaI63NudhluqFHkBW8zJ0WP42FOWLTZj7vrXXlc1srjTva9C2ONI5Eh08mzfQWf8Si4ZSWtow3fXDVDcZE7yA8bM1h/fdOabhMhoTOQIS3k3GgoxiPzX736N19fOAQebOAMK0XK7ZMWHAVhWKfLqIOWzjeHc2m02QEXcPQpVaBMxMZnV4r9uz10mL7v7HSM2fnvNHSRfHCJhTynjJP0EVoIY3vitcfJP+BwxdKBmNmTqSX+3TOibXWj+2Iz9apott9x/B+sF9nvo8mow6w660KPB3J4Mx8jYou3IlpS2W5zCC9+VwoGzCCtvU5dXqKfaeq2Yx1XrmEZxFIzta+0Mznk5l9SSPOb3PBMiapy5A0roKczwk7gNT5fNghtk3AgtZMgF5P8oA0JSqGVDCA9qy4eELMwwJZYsFQgxV3aqPA4nK1PkfG73aZTJUBZgcHsJhQ/UySHtJCHVb+NWGzAzHWploQwBj01nWqh/ZFzUUak/ZL2G3PVkWPxdLRfAmlpPBi6HeKLKPEPuZi+Gv2R7qrDwJEOjuNNvfGQGmq+eHJX3/auC28YOLKSaky+HC00x9C9t5F+tDFMRUoU/ICDYMOB/ns3sfEFwRB/W76GiaF6ye1lSSghxxoQiTNSkd+05E+SnXGQWfdhXbMrykxZ6YSzIcTcJedlWoF1HnSnLDU2GjQiREMSjCLXoH19zCu3gX/pLcVI+EAFRuRDQaIpOPhwD0tvhZQZpC/LoNNS//rXl13Tk2+IBslCj+wckmPIg7yhwQts3SiHQn6BzBJIHeyb0+3ed/cyY6JNm+bUj7gZG5RublM3vEykHmq8ah4Q8xSStQwLTelNAvT+aqgWGbH8fxIGUd8vcBmYMV0nmPkLpHnpcVBabxrkUQKK+43abgb3PPV1xyU9YELRh7NMcn9ZQirN5/NihiU0UnNGxAJPddJRTRwtEdmjhnK+YtjmX4/lcgLHH6BrIygP+y7g61472vfWNF3Zf6E5NqDdT1jbM44+fI/CMUgJISbONUEcbAwndEGE4MXsskYhaCKUdtN0pZTpEIecEd9wyP2bN8295KSp3CG1tPB4RD9xlQr2pKxOjEAu4YlPe4vSMhM0zSdPNUWl1/hS/o4ehsq4MA9RgR2cklcJSbRDXUr2a5NbT0PA11qz/TTnMe94WjMO5X1OCIyyvyE7NG1cw043sEynjWK8hk86HYYmQC1LBAtRH6ANvLQwrLh8gAsyQ+3ED2aqkh7ikWixQtXm8Ibn3mIcwnmcW/zVCbr9C+5hZXlvPC8gltdrfhQKwEB/4a3F7RnHpM/Tc4E+ksnKVLHC1hkWn+u5SaNv5UZqXtI7/X0hnG6r1NsiHd95FBC+tyTBU1j+4VfB4qc2c1kOp3fYnZ+GJKNPKB1hsnlvt1xxVqSYX4vn+XSit3gWOlbjMoRLyLcGQ4+Mug60wqtrGZbYV4JIqogsGKGP5Z0mf+BCRNdcJiIYvTcL1OAuN05YoJR2mPz4rLEqjOrsOdW5AWpRFFicTHafRp/9/tLEUN2BqXKh/nnbjqkIDb9QR1K3PlPp6BmYn2vy8IVbbaNTlQhP3qHdViI2UjWslXmckpF+MAdfBmqqob5rqnZ0gJ3ZzFRzOvo/C4/8iveRj2kwpI3PL8OIAp6H5L8gY+wOFVsV66YGu2C9jiyuR9fyVrouhjkaL+6Rf//zbkXHPBbr0L4gIUv+j5YsMPgHqE0LBHcCFjWtrDjki0iVDC8fb58sVhj4AVzmOMCfNDL/esQIe7VBgWEzHVtq57FwY8HKsohuLzl5CYcaf1Flt8nVdao4Nmh+yBuYTYlTS5XUyEa1HxenQbMRbqEpjgnY8BQspUsVQm/Ia2tjD5xfyVTxKUGuydcwAMe5Ty8f9vrv+mE24+xo4NYOIOLVbjTnUgfx6dpYR6Hv/qtDE/crzxBZplc/qY6goDjHwGHwhPMwQJwRUp/Gc2UKjQ3iezRGfChE+UCocyFbqpU35/LWlRmiqdlxgza/nfuxR+X4s9lQVFb/lU+n2ZkQMToWtsfxOoQHru/scGuk2TC1b/6Yh2/sfaIjLR0di3x8MVaxvFz4JIikrl6GUfpDtppzETwXFjEjTQXYDTn7p24Ur647wn+k/ykv9Hj8rEHs6SaRbdui0WtVzpd9M/beIHg9MB7csYvjYxdlt2OHaMDcdAnwlq/pR9mov2Pf1qQ8907ZDPke+hw9qPafNbKP4qay99Q8OO//tSfq1Q3GqVgaP8yY9eCyLDqc4k+N/JRxgtztQiuhgF0LFh3wvZk2hbcdWIEXPCJ/940nK1Tx+nTPoB5KSuf0WICYB4/1oYEGyNcNDgz5FayCnZM/E3/M2i4YaCVf6JpPOb2qbEeVyr0JHfDDmqzGgak5AnY+46rgzkJ3/UXDE4FMp7TOMyw8Zed5tpsfoi+ONoHJYTW3m9/DPGYxBE9gz3Oi3D2QGs1b4DaCqPIRFV6G6i5yubG1rpuvgVIJjWj84uKaqgMLe4bz/bHdiwjTYeRHI8Kv9J7c5igMPIoZeKMjLl6C+sGOhCWYWMjZLXQVqidCZsMfOhrdNXgai2PI8/HLvnOcoceLMLmGWdygJe2iIi/U5bOHuAJAiGksYRXbP/dXNrY3n9oXs54dkdR1M4PZ4AGZb7einHU8NdNTOdOP2P5fvGJSO4md53Vf4htMk4Pj6hj+P0WSz8A709QLJb7INg1ZAf9eOGI2pGCTLZ530e0B6kgvMeVXI0ODcXlaz6+An03DeegCdL5QGMr22+UbIVKTGrhPYuM+R6Z3ljjQtA25V6kMpt5Cu7oZlgnhCcGFYdhSj0wsJRaroV2KSnidEntugm2feXzluUw2vHJwPC5IA78j6JgpHwYEqXhxKRAVGRjcyupXFkG2STtXR29jFvbfkuIbmJO2RernrkYlKKJZxhN7F/VAaKBQlm7Nuckj7FU4okdG8MruJfS+wlGXeT7RuQL84Gc3qZsfmdliXRsc1OK15UXD84quiEDbgp1KhmYlOWhhC088UfD2ZtFa5PBe+Y1sqdbM7WcQDhTOUZKRrVlIYKiyZT7sfihA0J556+gm5MlbtiE2RqfGDW+neWy2piAr0SN4Dz8YRILb0U8j6LQDtnm5x7xr6dmaiJRt2RT/bUOmClXVERj352XDRV4jvxIsMYxLcEHIPXjMCBPKwctCQTYJUYI168gZf8MwE5wuhFZV2V9W6MP14kTob+ojgWuRIYjwHd11WmB6cojvx1Z1DxWyfMrI76FOYs0AADyYuol2NTdG4tD4dtwadoK3GyE523KIW7dC81MJkn4CINL4t3ocwdO2vuNRwTPGj6LcgdJ0GYMdgnWJmkG8NlQ5+Q3hnE9URL+lReSwqL3IvkmYxgT3O/iuKMMCsveQHUpxf/BvU4exL/alOXbEj+43gkosGcjvUXAG3dh/iDv3sf/59TAfBwXTzJz4koiOaNv2lzCtJL+arapsxhTeqYfz0z2ESeZ6JWj8YeSTlWA2crrYVMT/BUalWIcSfE8cjYINB9Ay/v2GNU1K9VEOQRGStik9p7u0zBjRgS8m/V3dIX6rM84DB9wjmC+4n4+c1WFEaQ4MUJ0ryriSh6Z5iYp6IIaBUlDylE0sOQRnPZq5jKNYe95qIrwQt7mXNJTu+nRx2Zxhe20MwmA81ZTlxsRlv2MJn3IOv6yp2evi5aae/bHZuQle+heDVlMB08UUPeRRP84DZeIYuIbz/WBityl5DZ22NNbr4cvZcnaS+lPDiJ7Eq1OMu49qc2aXb/EryVUr/GnBTjO8OVBcOnUg5K2ScwVFZLqiWwWq+jlqdlKfZr8YvuTD9eqAQVJkT+E0qnm9AH5a6e9KO7QYc8hOckoz17I/DO25wpcbCsruf5WoIqSr4AQSOl9G6O030uQuVUSh35JLvct5QnDD+TumvOmx6VEgfy+YOVbswGHq2ABlSeJcJhibHZFfj035UiwG8DYk7g+ijqawsnYyjZSuGQ1zGR+nh1blbbf3sOgy6HeUyk2uzfKxOKvV3Tv/iS9bzYsbx7zeJPvfr9mH/5XNv3tu9gToQ+tjsrGHNKf+ia9wVNw8s9CkUvyGb/M7mQ/IPJO4Rx6t12w3arRVwkyTqAaCYnCFjgCOEj/4/hKPyNz1fQ7l6XbGCx7iXmCr3Bha30mbt2iJimSJ3OLNLOGCKTpKHGpaSJ10yQ72HX8nmJHWOqtWOXgZNjW1RNfSxLdhPQZPovKpNdoyS6LYm7IBJXCkY6IRFZ2hyYjgUlUPyqeYUICpsDGtEs1dLhMJ/PF5NgRPK2NUutDsQ4Kf6yyguVm5pjSxkFXmNOu+KgK29SKwXvKXLxvZ70NNF0YOfBQ+SkYa7qgOU7ixmS2z+O+Sv631KbEHKoGvs/wW0wV/kJpURGx3iz1rJ8ufsmEKzSony6jAoTUwtj3+u07WI8+aF1oioPn2YlDqs2OhgbY21OL5qmo6DbMtbMvSFssD49eTF5ns65C/P7b8rh8+6xV/Icx0D34eVxrDHSJMDb86gV8v4k4rBvATLMXNq5kBJivXmH0XTMCgM46mZ6E9ecUwziKi0zD3pU/dhXZP1Bgzv36HALRfBm/rYW+AQ4n782tpK+gr0xa+0bQzN42hUfPHNU4pR2dKqfeEhXVpw9hIbH6oT4+io4dx3JLb+t4dVAi5e8RVVtzUrgad07VgPfQxAqiHsGertjTJ1PNM+NbFvBzBQ9vddDOx7Ydx8uSiW8pQuPHcvgJwEHAbxcFcf/zm3qNDsy35CKw57G5UbHU4vsQxAvHqbvQ9aOwfDoeAlE3N9wcP3i4jK1oSvf6E2DVJNQN9CtiMs4+XDVWF0PUoXnEmwUXcchl8/FlJdHn3zuwbDA+lawnGb+kjVgyt2KlpXi008Pz/KKyVBWjTf65+0Y51P//eRkjsONvnkk7MSSu6lU5m92I6aBR0zTLYPhz/MKihz79cYfcO3YL+oV2p5kLPasLMsF2oeGZ8NuWpqGngJtGIb+XWu/Ivlyz7jAbnFsdp87n77CRmaceV4igKp29e/70oGdXawuJT1N9JpvYyjKzyr9x9BSOPjkhh4os7C3zEnhXAS0pGbbW8n9ybO8G2Fq5p2Vjj7QbZua/H9Dee7Rkb5TpeJiM1nrl7X8XqyPfLzW7dgI+zQKzjXGXrGb21P08AgBken3NlLHEs8aDovDQEXWvlyQl2MZD0iiGR1Xi0eroxdCzND2inz6zOHkJxuLL0qnEJrJ7rNYDQizu5iON4QmhEbyeaIYeZTbjduLLysbENfezYOUgaXT2vObT9VeDQQy0zLUd8MN4IKc4XGFC/NQ34NtIz3rmzk1t3j0MSx1/X1qXXW/Rd1hJe214dKTUmG9YVfP+J/Dutc4GbknLLnr9KWq6ja/o6Vva9q2A9Yu24NrU/6ksOWEWm39ezUue0vamcsPcLmW9ez0IHYlUZ4a1AQnU+4Rru0HGA7ZNJGD+DYPILpobUkAtjVylva6/V6RE/JTILXFdRP49AIcmFG29h5gWT5jpgpdwfG2KTieMhjQxXFAT+VI5sOZSHmGBzpIyrnObWSjnYl/YQLJWByMsXxEy0qdVGCIKQgzNHWXGlrfVovtgANkrzUoXKpAdBzSL+4+uPbIhXrNmf8jl9Tk99JYG6sfh2+YWqzK0eL1Jgli2fpkKi/nJZ8QeWz3hzpkZEMLworNGJJJflpweMzuhFeG+6Xbrx4yWVYX2npmFpDMl8q6Kc5j0YbKw1frWFBwxg7fz3AUBr0nnyKIDlU89e4EFXiKj6mNOE1bJyW9Ous6ZUUt4aOhlbRv0pqpIgXuRgzp2TrIgZj0u7poqmu6uljTKsa3pINxce9pleb8JQCE9mEUNb2m7bfJzB5EKWke2mkswrUKRjm4TzbvrL9xE9k6T3/1UThdV55n3hYxYK8w1G/K/6dvfXB5btPe7IRLgDzbL4q2iy+8d/aKyz5W+9PNIpfomPgSObVXviMB94RJDCkBQhc0+FKepkFeFtxoLQISxtr/yaTcB/wAMDAyVAeSP9N8NrCM4n8FWyR0qcJh4FnecWCA27DGaGeaQglIlIiGw5kc0IQj3dTHyAZjAzSeaJQT4/5i+9LecBK4G9ECbMOMDlpLwkIr3uODEVK59Z8Rqu/yQ6lCgJvzR6lB4MoaZHDWharcPglSYhSfSzL2vXqVDBR+BDkVOqhtqxLXvEHl6BAiaOlXj2vdrN2bCqsaYCJhD7eZZ0yXB6DXWU6HLE+2kE8/VA8oXScB0SJA41DCMZbN7hSMOrsNcDjJWymw//2I4GGlRFKB2bMlnpMoi93fo8cg94iRgv5OBB/VqtRom8Cfux5brOrpPtwRD4+F2nlp7naU0zlc3guEgWe4/bhvryQl/Ymx1JiTtWJJFY35TgA2uc85v52G2HhI5ZB2k2zeUwSp0jks1LMDRjMU2AFLOXrG38Bdz4tqHgbcsOkXjL5LdEKFRm7lINMyRfrblKw4gCft1gDX+8y1PYHHVzVkqnqEDM+0ikX9A/rjBJAzDeTfMkdCujdjRJQx5XAPxbG2xammitENwLhzQrcT2FCHMXMPBtv1qYX/3ax2wJ0upluGOoAl7FygLLcj/FbL7uLjoWah0PLPPjj0Fzr3IX28DQ/b5TqW0EYC4lZdcj5mzmWGcrBwABWqhBZYPdaJDU4WBdHeE3/CbJGURP8RbR3Ku4trh7rkxT363n5OpWDcy0OEOZtPSQCgYp4969F2Pxh0OMYyxFcEOpJiUdMWIDVluoXS249eSWvxXHYXno0xxzRMMKI338pqk3Y8Rr54U1ZzPAjby3YmUzKJ0RV4b5cwgkubYWuSpcTELr1oeotlu4jlK13fEPO5TpEDI52iu8dLyVXM820RntcHi6w0CY5bnMh5lsrAYOC7PdaYwFS8okWmJ7fg4okjR27GvQR/FB1HBKxmE6AuZTb2ICewsROTathllZZCY7pBwN/gi08NK8/ccjFrGTtAevWRDJpA14yzWKASkD5HFNTlARrU3g8X1r23gr2Rxd5733g8w5CkWk5cg0toV9dwJPXgu0aB3BIvr8EfobUJ+gYoGX8LisMd3v6jTxFZ+z0VwMIalIHLeftlEhL+F6wtNABn8+qmlVmASWbcOpm3jwa9cTpt+bUjAlN8vMrP9wLKV2EzLWRS/nDY65mTAiYg5hd8UcVpEhWQhiQ4+Ys7KivTH23eN6CYmzOfspNAMtdTxfLAytD/qsNjpqGsehcjRlCnxfqMV0jlVsKn4KAu5Lu0k7OJykkPbcXMS7GSto+R7/ZjTQ4vGGYcLCkX+OJqliC2xxu6Kv9CIA99G87aP6uS++UE8lBqiJJ5NZsZNbfeHN2ES93XZgXmJw7mZDjrozSuUYSmRJJfqxgYd1CfMijs1EQgbrOI+PVKk+e4iNaRu2siDkPxJnJmzONjGUfTl93aN1HQagjmtYg/9n2fwT9rTXovAg1Vrm2A6idpGioYbyNxXa/zB4HtHZBIQ8SjqSObWMS7EJTzbYs4vnpB771/Wk/yESlH/a295VVoa8oJjq33T3qtR3bdYJVGz7mDXn1mkJqH/PZffM2+Lp/XcGKeekwX0JjZ+XFMEIKE8a3J9NUp48lEm+xJ4wIAqqwYvKC+/S/Acd/zxNccZA6YPh4iBroy0521nqm1BpG0yFc4sIqqES0WPFGdLHr2odt8pZaTyS9yYziDctCpeK/GAoBu0dhk86+IRwrjiUiDiRF5iFEQJkW2rxnaiWgHD8IOz+vNZ+JdfxiCjEBClA3jsN69jLra4MY4szy1/FAWeoBoEhlhbeVBUqNoCtvs66dmtqYMM2jGur8sPpdlTXL1+GIBcGcn1bbSPaDu2jbknC/gx8S0Z0pEMdC4apWiXkc0PfTetTUPDr4q1VWdsqE5VeT3iDWE3gqlN/fRimjtZBFz58fCYmnvcAKNdwgn2DVN6Jroh6FKUXBYeHt6FBRSZY154JHRwf2u4ofC4VWVU0UNzGQp68KhdUaWAGLwgdyqsoKoyTsLeuSbZVKV/7KKpuMU7sh59OCclbLuM912XOZFYinWeR8DuzwyZd5qrX8VJeXhfF5J/6lcPCSQWNX3A0jG1m+ZnJrQTBrMXA+ERvnD3hmXbhDJMj8VK5fMvbEJyb6e1uFpI4KzOknysI7dl09UTX6MdiwI0wiZzJd8L/MrXK/jw1kx51Hj8VrVtneFr11+oQGyvHWlN9hzZHJAkntUZGCrHUtNmmZSyyg/VdXoYlG3UUPSrAKLScMSnxoIfOeISnWJklsrgQySGxMPQrDVcToSW8MlROClcQEehoCufzWxJeWTGd6IG5OH4pHyY+QZrErR67cxJ7rkLMJhI6r8OjYH4UaTGfNDnAeVYn2hIaioZYGJ9RyadjSBbPMLEhWCUteQQSISaNcV31UnRHgQb8Emr5p9qreRbxDrGqsExsKahyAqs+ChjzycOoK567mmyqo8uF6rz8jiSLqOyPoCTb8FIdTs+XtO4gMbr+yxing350PvjFKrvB9rn6M99uKW5lQFgswIS9bMH+q8DBn7+5SHcZYpPM34C1DLBKXzkrUfzkHl5En4c63YD+eGOddiehhn8j4SjDnZD0fFfBG6fKJMX3A4fQ7k5pl8gHfKz+RGYKb6O1Qme0TMFEd/FGnsdlylhkSFYGP+PD9gUZANt75QRMJLVC0cX99adwUq2pR7+ssNDxp2g9lcONGOy+jAUZnxyFyGyuvcS+8VZE9BndmXf3xp3nLfoZnkgFG3lgnuLEx9GwJEkRcHkCsRLeuvzQ5oeY0t3O8KpzsAmXI1oAnnsDeJs+tnTEubdadwu/CK8yY6NWtPB8PL3PAIWiWYXk30xrSGk/PBOsp+g6pcN/TjEsH2inHjxAr4/a562iR+F7IkjQa7iJk7mzCd0p1YLDSBRthX8czsrblq07rWd2HwUhlUlrtlrLAdYWLm7dVlPBPvupVACX70gH+NIUC/zGIxi6LTXVOBdEb6aiy6I0pgzFXBfAEG69EVdrsZtVzWyVw+CEdTSFnG3m89Xh79dIcZzDlExLbaeK3zDmT1F2ULX+kx3W8wFGG/O4j7QcXj3oyDxeuos/nRUeWis6+Xn0NyK7yo7F9AQcBVostADnyAOPd2vZR/ORqRzw7Fu68WFMifs/1MGkZjD/IXLuwaC7Sxc2vDuw4DYqtYX86BQnkcAfF9GJqM17cSKWaDWdj4N9UhTGnYJR0WJqAfShLG8X4KNwUA1F9stYQj6e+jDuUE1qJdSlCv1spPwPzUyWpp9ewBQZ3rAepJq1CO8ZGrY/wT2oNTYF8voZLdR17xchFyan8cVSCO6bm9txAXmtb6wdOQQxsIPCZ31S+vEz1PrWSykNeBHcwUIb/NMGJiJrD2P1GrpqLruFNTMyg55n6sgJTce100ZGMGznrZykWRcF2fFawWYFjPRzsnH2WACbEhD25Yg2Z/tq9qiTzUUK0Rf03rxGP0zmYzKDOisoIMf8jxC+Suk8CSQp+zzLpN0Otskln0Y4WCiwCwJuZ/OodWp7CjBDzImyt+eHric6wkHgcT/4tyvqYQ9psTBFcbKffpuvyY7yrrBsibQbtO2DVsNQrEcCTmxVnGWmoD/8kT+2PnDPp6fM0RHhqVYyBGb4q1vw8Kw2wbJDxhvOyBt40yDnJBehXBcnOESDBpSjTkVVjWUqqxdL7XEDbt0yG6yAC+qRU3nAbBYxmV15GNZBFUtDVqf/Vl4WVPRvtGJoCrVxlkxg/v7RNqik9P6qIMztPjlUs1tTaMQ4QaBn6ybNrLj0ynNKVmy7oiMSLL3NV59L5s2GHr0x/ZZXxZ8Bj4WiLDhU07ZEwFFS5MxI/sHlXfstzSsa836iVSRpT5UU18AwD/2xm1kErjI85J6ARNgtHepqrYdwjVGmZy0GQLkU0Utvg3jTvIZJjibwAD7yADA3b5gmDJkHSC+mOzZoUqSBkwZ1YbB0Ddi32NVgbDVDh1aMUXTMBUEyv6jKhqV83fuUSmQHPIWmJ9hFNQcbFjm+gnYhnD9fsXUFjk998UFCsnVJ8/nrd/8vuvxkVIaMo+d3uVQ6pi4yYaxaig5i3i4OYIdmJaRK2X6+fgCxipy+apiBq/H9A6pMOn/VuTYQHGri+5IDY69Drv049WjWdjP5do9Es0tDsl4WQP3Gmz/xdcIWPiejkMBmNe8tL3GtN7c0SdCnDVRX76u/PYqgcitfwAWr/zVvDxhZ4BNzSdoNePq05N57HfCZEiPl5wDCwQ5xDG5wPgPGetj/d/fdFJY2GhATtG06wB+uONK+wiwOtYObwQw+vxiPwN6wqXQmF4UJIrbyrNtrLY/u4hFewDupAf9apE0k5TskiXCys+GeFxV5z6gkhQIL9JcjUzq4WRRvZKghw4aIHwd7UgJZJwRrI6CrSBsy/x9hpJJ6vF9W0HimI4kmTnaFOUgHes1Jup8Y1LU14TjRLymn8XJztLO94ohAFXLVlqSoCRJCAhLxG9DhMXldqDQ8pPMRkMtvpJ8mMhu70eLN2itmo6IwEoxjAmuRDEC0SZzlvFKxgI+c1ZrnrGbPO0211lmhCN565uTst8jq1TuTJHCQmIT2Clb8Sr5adjwkJWqNdl0CdUz6Yb46WVU0uUgPyaGYmbe7Tik8MWDU8EUMdzoQ9YVKNqR/yzSsoHVPHJzJ7jCYKfQMl4/JHSeNrbQGsC8+ohHTrakVcy9zGWxAexKhl8iZYHM37iEVZPMII1z5O7xXSzS4gDA8dJEYGsAI65onhIeLDM4OvGBmToC5Vs1uwsCDsxrXReNA2rZS+k77YFjXv8hdrjqmoZa8+A3rfMoaWbpp8U3ED/Vubl9/3x/egSLa4W7LJMJOMpTEgbGtEU6teUP/QJYyr2AU0PzahETvLQO877pQlvVhGHqGHEEssV3JifpkZF7m/dBHOqLjrCpZ3bh1QAjCMG/wZrV8KT8uLR7FXYCnnf6P5IoXTkD5bSxHyYs7HlZGXsRlmQtUs0VuU9aoJupTZhxt/yUi3r92aFVlSLzYVNfQWNLqBgTfEUxaHAksbQIstJfG/gssjOPctfn9VxnV1idN54LyB07cb+Yk+2NM+1rstJy99oR3Sa5EUVgOSk30VpMTd85g7Q6WJYiT+dUEMMcgM8PRxyVEusZY8J+ccR4wxakJUbwKG9IrrMXOtD5FrhPBYMYmvot4yOazpomtCVAKbBBqcTQ4LNHUunpDG2k/JBJxTajg/w4U9hq0W3DCYK7KPWjwGyZD9li9+4Lz6Y9czAkV273Y44ltkrzh7PKWhgyce62YGuYCHRWMiCOmAa5n1rrTsXkpom0EOy0a676p6NwMGLCScLlrH63lUtUyimKg5XKBsEhC3iOSChCcreGXQd6y83oS7RW/On7YXDzn7WLnRx0AmkdsIIBoxz5ndhRXepnXFJUMeDKaaHLiwFexg10LZLDJCswu1gAPli3+PKX24cMnW7+hGkElJUay0hBZC+gOl2VYT1RlXiH6lyUNCS3V49fkxqSQkU6pqK5GddvnZzeAKeu2WgHnfZlDS1T0G0n5WKiEaDGQ69k/6yKSkKfkGz/6078BKTen4a8cUdsigKd9OtDi/pmpnebQsBzAF7/EQa8+6Fb41HcX+U7e0kQSYoPqmpRGDzgwRuLaymCbf6+mlTLLqUtuSnc+EFcsT3ilQbO+rUIOqGQywchPs1PfZZLYQIFlyyWgNebBSLTUz1d6oqefqqqMq4mQbM6sJI3oQ8XoEcThM3VTCCvJs4vVRnn7tfZ5c5H4hmARH/5vX4GJ33F+dlAj3XJeZ21oLqcXEdxkMmAn6sxutWQYO1DK4r0l41iPjaDjFqI/ZY7LDAG9RHu7o+xN84lY/CpLD6TJ0qGhwWKEUjCrl9iWPCOU1O1C4paB0c84kDvIwQ2/Fo2ML2yZz+OqFPHb2XvcO+DkOCpd5OH+2bFRK/7+B2btvXUtTsFB57s/kG3hmuI6MnpXnAKQDt3VXCbzIEYlHFHwD8iSi+0I5bf8m5sEy24LYjpO1V3QK7BJ5RvGTXf5MS0qAwxhiLAJqeSqoRFJH1KkgFdUBu41Gf9RKbpnYmgc42faz9VNivX3X8zog/qx5EdJY+T9V77qRxOFlLEG92byrqb6MSfFrTGOGpAJw8RxJqxnqBFhuvi6zdaPwFXkkrC7UCm+wYYv+VNNrE04h0PlVBgwussxOPzsvsa/QLMD6VvryJ5LFT44+KR/zMtXGKJryjsO47ZXlsR2agNB79duy0Tz1EifEgQuhfZdPUjKgolJxW83Ev7D5txmL8Z5YJT/0TwAhdVcOkKu+fAsYOm1h7UYQbtLkKWff7BGQFzsG65h3O0Mot0z9J3tOUbC8Yj32Dt1PDQ1sxzuL/H56kVN3rtjKN0WjYOe8qXAEZXwXBXi0kHAtnpbUUR6bbQTGPmqrmgyVfYt+TdlMRI2ViCj3RPYCn3qlXiUL/DrE+8keO1M6dLCjNh63uy+NDTwj4ltO0oklW35/eNEQCL1L8zq1C7pr+bYbDtl57dIKBjt80VwtGPoOnL7cqFiDmJzCy8hHMOV4P+kpPNBtcZH5AAYLdnV0Vg35map+2lDS3cUK3bVWBwIi2wHgKBi12Tresu4kzfTmvXvmiM2TDDWNf5UUhAfZ6+Rsi/A55xjTtbAvQcdnZVGIYsjiwOwaj3D4fO/TlgAX5a6JzEenbus0DFBlaah3EJorItM+HF8NPkcI2gtZf8MAk9HzXE+9LiTgNANeQHnwr++txKDMuUkFat0/OzdOSIiENu7JavYx9GR6QPidAj0irk0iLsHtNTa55uYS50Ju1fTf79Uut/6hHhqAmRWLUfYwdtkHgSfboJvPqpS5EMBm8gvHyAKP+IUsHelxuJynVBELnlWUqTu1UEFEnIcgM++CrZ23WJuIlwNf4qIoq49J2w/qMBG72S9bz1/Lw3RXy9H0Zg3sBkv9sZOKR0g+L1tUyQspsOuZu8NGOkCbjKwz9w2JKELCAHOKsZ3plUrtx51F24VfiFes4hTITUC55r7EPzaFu/Wg6rMzyqpxfAYwQ/JERw8gi/MC6Y2XSeV5WVOGK9MxfTjaZCIWI9PaWliSdMsZ4mgPCjp4WoONVuK0itVZ21GdG1U/11uxY8UfVKo4megfr25JHurbCZHPkZILI4iOX/odC5t6kOs9aAOskKjrWwN8EVVA91tFn+d/h1AQReBWwMDEyrUug2Cg61pe6LzJyVuZa1fWAqKWU6d5fTQ5TPFzjQdYHqr3wONQH38vKalTjmVG5CXDNvKQBe9BVSKuv+859xrdjJWika7BlAklUQT+0ohkMKmKdlOTT7Ppq3oXDjA/dEMf2939gmt373qRZ+GwjfxAeIQQkMAATP3y/kwkpa92mVNvHELq+l7jOR48P8iBFlTf/g/KSDg4Td7G55XHOpSIIKLMwcHw4HgeoLaMFa7I4ELC05XhTx5q6+OlS3CXRtOU6xXd5vB1YVVLAgBxZAbJkSJMg3ddmC3norpbrFHC0FxbFI8sZ6Q0lvvni6RltmyhY8nFvTnqmTfkYt77jJvpbIlC7AoB+PfWk5Yykzt1gMVY1VA/pFfVP4SnQYAB0YY6ZUUP9dcYnaAFytEPqWxHnxI/GfIUQwKwFLzOQO8EBxdglbVrtwkeYj7dqCaiHdT2VTIknaixkdW0VTD12Ncsc6T9whnWST2AAhzrr8ViXzQKkjibDPEsfkr2k/B6ayyceLIklBq2eDyoFeFf5sBcfKNxUEIGdE2qzMffiQ7pjfDWrvxGsCdnE33B2ncnGIRSZpjqfB6cZHH+304vU0qJFtzM9KlzXUYuvghl2LUNWDXXmbiaxveM8EQe/727qO9eCF0+ExigFpWrmfiY7DICEoeqVkgpu6CD1vkD81i9m6gHV+iuB8EEfvfFOu57LQYylq5FPUIzzxWGAQBMITPXTl5tbKs4hOzjhaJyRY0uyfQ+Vj6gYtmGCeU26gnFZBIvjJDNVqq7yqB8aLzMMLQk30Zy4hjO2O4gg5bF5zSkGeghusb4G6sEF5+pY/Fqf0iqjZm7e+muuLULXR756qRD1h4vwqBEQIYx32SO0zIjwr7hsxpst+0MrFdaaefQ6AxeO+LNIstvT/sjcfoLMcmZTPjioT/zmxWGiIBP2OP32l1+82IBv2MLTkOgQcsk0DddSGo7MlTgo3i8e+nst5omWdY6EaF90boWgsItV9k8dNa44mW1EdRXJgQNUopQJqhGGlOjHBoNTzkJ72QW36wmr46T82uUWnzMazOL5P0ewUc6kU95KcQeB6cvA55vqEsfca/M4iPEuiASo5Fj8/d+mrx1xpTvP2xln0JVUto3vIeD9zbaj++WeBA0JE+6FD2jJO2t581Y/UeEoW7TxsjVul5EZboxow5xfIdRKW6/9xayq69XG6LzF1zO9Q6h5uGaVonwz9+pm2c40HF3KD6HckepQQm2mSk+kQWGtOXcYu99W7/G//RKHB7A3QtRs7jLidV5NHHhLHlgQXwSSHOKyUCH2492zLdBms07ZyDPO1coO5OnERs8j2Rqe+KfP2QOzK/rvDb3conPY55hf416k2MqxvTcoIzEQq2N2p/2zspUCQjiJhJy0HG4fvMA5GiBM7ZId/ZmBdLJ5cxsNYgyKCuQBgNpgtxf95V6iSVNwiXmTxhgHWhcQ3duIaVgpxQfLLr7tGOPhhqh/8cSwoxmBdsgQGX3+HAYgMzybBXKfEaCbfPT5Y+5SNz+C8ZLdiTltjcb0q5wmCjwSzabGydeZgq9DMxHSUc4mmFyVZ4yuL3VRYgsi7+5IcOQbohNj8+cPqH1mwtJh1MCA=">
            <a:extLst>
              <a:ext uri="{FF2B5EF4-FFF2-40B4-BE49-F238E27FC236}">
                <a16:creationId xmlns:a16="http://schemas.microsoft.com/office/drawing/2014/main" id="{93C9E5E3-812C-4274-BEF3-0A1DC7D13F1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058413" y="1061074"/>
            <a:ext cx="3283731" cy="302878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5F25149-7E6A-4A35-9B5E-717E33D8DC6B}"/>
              </a:ext>
            </a:extLst>
          </p:cNvPr>
          <p:cNvSpPr/>
          <p:nvPr/>
        </p:nvSpPr>
        <p:spPr>
          <a:xfrm>
            <a:off x="184089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1248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NÁLISE DE PRODUTO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Receita por Categoria e Subcategoria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67866D65-16F1-4483-87C5-AA442439330F}"/>
              </a:ext>
            </a:extLst>
          </p:cNvPr>
          <p:cNvCxnSpPr>
            <a:cxnSpLocks/>
          </p:cNvCxnSpPr>
          <p:nvPr/>
        </p:nvCxnSpPr>
        <p:spPr>
          <a:xfrm>
            <a:off x="805191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42D8791-50B3-4465-A0D0-FB6EB1A6C92A}"/>
              </a:ext>
            </a:extLst>
          </p:cNvPr>
          <p:cNvSpPr txBox="1"/>
          <p:nvPr/>
        </p:nvSpPr>
        <p:spPr>
          <a:xfrm>
            <a:off x="235847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1558506"/>
            <a:ext cx="251891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Nota-se uma  distribuição homogênea da receita entre as categorias Technology, Office </a:t>
            </a:r>
            <a:r>
              <a:rPr lang="pt-BR" sz="1200" dirty="0" err="1"/>
              <a:t>Supplies</a:t>
            </a:r>
            <a:r>
              <a:rPr lang="pt-BR" sz="1200" dirty="0"/>
              <a:t> e </a:t>
            </a:r>
            <a:r>
              <a:rPr lang="pt-BR" sz="1200" dirty="0" err="1"/>
              <a:t>Furniture</a:t>
            </a:r>
            <a:r>
              <a:rPr lang="pt-BR" sz="12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Já nas subcategorias, os produtos de maior demanda são os celulares e as cadeiras.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5EF175EA-1842-4B2C-8A6B-312EED9DC1EA}"/>
              </a:ext>
            </a:extLst>
          </p:cNvPr>
          <p:cNvSpPr txBox="1"/>
          <p:nvPr/>
        </p:nvSpPr>
        <p:spPr>
          <a:xfrm>
            <a:off x="3350734" y="1030411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categoria de produto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B768CFDA-CB9F-445A-8DA3-EEC7F3EDBC76}"/>
              </a:ext>
            </a:extLst>
          </p:cNvPr>
          <p:cNvSpPr txBox="1"/>
          <p:nvPr/>
        </p:nvSpPr>
        <p:spPr>
          <a:xfrm>
            <a:off x="7320950" y="1036093"/>
            <a:ext cx="3214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categoria de produto por semestre</a:t>
            </a:r>
          </a:p>
        </p:txBody>
      </p:sp>
      <p:sp>
        <p:nvSpPr>
          <p:cNvPr id="27" name="Retângulo 2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wxULrVkzG4rF9RbKKzbKxLdYiEz2sSd58PlzKQt2+53n4sMR8nuYGHfP5r+QVWGeh7TkH1wtHZ5zxvCCVCEjSMs0qeV6zIdYWsCCB4wiHHWCAOmBUGCTAUd7bZHV/Tw/iiaghxzso5Yi2872Nhfct63xOI9lukhby6qIbiHTS/GbnN2Aph2QhKCeleA0xl5ulukzPCZP3B9xe8muhWS4YjLbwQwfC2WlrThceyp9owsSVI4e/CGGoNlOrgU3sYDEXs0Dk49jxnr6cFSdKmXrXjTuYyJYPnuxxKsL2gk+ay3PaXUnrvBNWKnuvuX+72OmxavdGJHl6eskCDkM60aYnDRkeA2R+lr1Nds1CsxrbRvF+eVyA2c4tKX2fbzqu5AlAmM4/4EbtnyYzyTfLNkWiSrdA2Hhf4Z6ipmqfGH+tXcHgDk+F5YJmgLgh2D+tvWq/Nh+mqRpiZBMukwhhRLwhTMljawXIoYx9Qqql6nb8sHU/GH/eLdnTNYxwlho3X4SEIz8F5xwhQZZsT2TVQkeJ1OiKHmqbp2BU+Wv1YfPKsLsKKKy9tJA4ruddKEpQe/t6IfyaaV60Puc4pLc6f5maDh+fbJ5jaAskg1DoSh7xdduw2kaRQZBQZ39/AZR7X8uqdbNuywFB9UxhXiYQQcPPDu78ctADeRuvZ8sM4YpfmrrJENd76hGNxLrKey0ynCIEn0yUM/ksQqzUtmDCGWx9uZIbjiuD1h3GQW4kUyLnsXcSr8+XtM0R4IVnFwAD8eWoKDxjkfCaGnEf4VH73DYq96Xm75eN5hvM/cYVEittfzvYjoAbOpk0W0XpN0lLfzMIYpT3DjUkIvZ0fN8xzUXqG6GXbHUbz5EdHt9xlhDZu8QDGI/HzqBgEvJD4w0VgUGjD9/iSaa10g99bJjGB1HDkWARHhU5+F0ucHbsvYtIYo1bcKfBXiTMu41UmCgY+lJ3QWudzumCQ3iCKwQJclSKEIExm3DQZvIp9Of3Qadm0T6cSJFJbbxR5TsiGwc9pr7BBQtxWzc3GSkqiGr2B5GGAT9sMqWOdKBG8Gn9kSO9DkgdH9pGnihmK5SPv2lQDwGV5QeNGDgLB7ityPa0sylQn73N7Dej0pgxwh4aKLZCyS9XNBIqNOwDgVthPlj46+pou2mElueIoj40LUjeP5cv6UTYXRSQdj/NYUcdch1xVfFleeiJV6RIl/qFuMapV+mvQ+50rxuQqxAqfF9J/9tlVAPCY2/SDmFhwoVi6uqvO/zCBiJo8Wxp9SGSo9cPISLgZfhpMz6D+75NzGEgASxTg3gdiMs20py+rp9aPBFElulzdmXSh/Ey0QAqP6Wzzlzlf4bP3wbX5pE6e5Yrh2O5NcduyB4Iw316pzOZ4kyOpMoA59Kn5c9o10sQyTa6NAk0fs90bJK9uInmYlHw9Ia/J7jbRo+Q1xjNCVfFlKIRVOIDt2KxpkxuPaf7EqKG2q4eJAxddK8hQFAASw4EpsKCDbF1RM2rEeAr1ReFtOHHoxZ3zSrwRKyMZ7CEoMqMkiYtP5NlDjVlzMNsv/BC1NEUaJqhCeKE17ISSvo2HLKhNhC0O0XN84X44y+k8If8E4xJrltn9eOM1sfQpkppd9fn7uonOsT/VoXmXaPYGtK7VgEucXL/L0R9yHlbOAc3qmsjE/yJz9lI2sr+ZTqK8QFGqIwcHw8WC2I0shZltV/AQ0KT9vS00w1eHQ2/SLd5rgVjAPPmtUB0YgbUogcDir4vme3gD0a5Jhk9d2bMJiUwKof+V6t59baDQk8N3vQLgfhM55d8mMTn26frh0O0cXTM0z0a14wtj1wAlUr3ZCegnUPDTPrCI3bXhgqcNvCd4AziP550QzEGdvnMuHjBf7038CIXomXf/kQ3fD+7NFAToWd0Qhw1HzWxgxgeqCoo4DWzAgeRGvTRN7VZ//OCHVZt2Lcct4FoKaWsyGfhN02GsdxfOa2Se9IBJehlfe+l5eYOLZSTSue6td81CZtNggKsEnPuQVV9++pEcROzOhzrwAoaLINigb1Z6H0fM1EZEe6c3f6yVWl2UFdp7pmmb8csyLEW0jU8Ird/i0DaPi5ZVxiXDJ2qsMXYsHjac+DTWx3vaPahkmxLH6PnCjJwVqSnbmLWua+1OeYfi36O3OAcit9LQ8tcb8f7QvzifYG4isyMZ/5aXVHLoVpX1o6RIXon9n2zi9vuG7hcSSZPr//aEa5ot0A3YmkkZn1uWY1QRILTxJbSLDBeTyHW+fB2d94WQO+4545xftaQsHUv/aV4otUleUs/0/XhDdtRKrg0ysrob+MeT20EQqVsfB98btduKGYYkRC6KSiXA+ayQBIQNw7vrG3554SLhY3jJhxsgEeJiXAGgZoBchqV5Q+saWBiLcfQgx7ZxT7K0lBsGOVPJePMglK9b93l2f4mTDMN1Duecb3x4At/2v8kDQjicJvb5xmsj6YAtb+lgn1RjWtGIY1Evgc3LlUwteUHA7fG5BgyK5y0R21bHq3Otd/rZjPH51Fga86DzgokGIuhv+pUfApXwmLt9DM26SDfzJHxSHdEzqBu/rJjHjnUDmddYsWv05JnOxEex502kiij/AI4lyaitnrvN/9xt85gvr1GHxVnGazURQE4q8rjM2ef5e6B6rHcRPVCIX0sNa3gNOV8jW5y896IHuPKLMmHmOtUqbSzSd+rgnmBi+QynhsUUMZQ4jSotPFjf7VFyTwAHerYZKgogpC05HagVFZb1l2OuYBMpSW9ssUrBcw+QrEPKeoYGvqPhyb78x59UIvNOLEVc4TxsSNxCqhtRBd7RIZ2CQ6SNqZRKPOfKsoYQYlXiZGE58dhAP8Jkxg8dowzjqZgFojclmj8yxmvPzPWV/CAaF6SsT37x1HxC20BDHXem7TP2InKmmeCWovd7am7Dt15J9osAInvH7qT1HSvuOnQVMt1ygdGQHJuYlESiytP4HfuPkiaO2ddKF9IPS4IxgEzLu4uz4b8Q7GZwDegrUa47kiONiMksaLyDrWe1iXBGdbV7Dyknk8qW5s77YOPoikdcYLXDiS5uG2YFPZvpF9j14rIaXEw+qXNQhXI6XxrgllkDY0Le9vW09NyaNluPBlCL0m6n9ryvzAmOeENwCho1I5Lhb7+ae4UyKT2W67p/LcXgTQIFh2FclpgJKFfzLiIcP0vZcKCCFASDHwRLQ420BvNkGmWLB4seBLRCJtTPjWuRGVVIpEPHDcZ7jgTRvUOQCedC9HNMZFRF0a+lHtfJB+HPglTopEB5wNuQRh7czmZ8ka6LdFqbSzDTFu5rcvlE7ajQvSDgx24FJAHLXM84KkcQfQrahEmcoBz32WUpsM4yuQRwzecgcdxVzDBFsmu913XAwPBGjkqIzU0qqs7IgUacGaLCbx7DSoawKhtHIyKDgjLn/ZKPwWsbswpiDd4bCa5Yp01lQFerpAyoi4Pcnd5ud4kbs8hiAJ6np9M2Phrp8yzXhSOW19THi5+4UcHHjPJPNsozwWzUVSvsEIx7snwegQimJ8U8u3uNqRL4tzrztg0syj0lY0JsmO4ECyuIqKOjQAhNayfuqbt9INnDvuspB1fRXmTR+k67dLpZuz3UkmHf/rP1NzdHew/5xf8s1K9HityVA2AumbvG9iEx2GLzTx6xO1SvL9XcB9F0+RzUtsp0+aH1TmbcOgYgfY1UbeMCJeL/DHZAGVhnImtCGIshVa/659gCPK1K51s3Ev2W5cIkXaPUnKMSyMnT0TZOmLQre+end7hToYkwxlbMNZZnb1Gr0ejSUhS/VvnCRR6oy4An4OAgy/e9GOAnnagUwfWM6AS8W0Xyh0U4fBSEVfcWUaLZ8i7l+WnMXaK+9Aug8VMJsyOwsmDWpDnb0XZB0NeRqIbGmn8LisvGUnhybWIEs89lx6+jhcqY52DSFX2tzvx4JWVHMEZ2Rn5DUYR+oxN6+dcpRiPmeYabpz6eCKPyWxbScRNI+1LFRhaLib9JZANTJgI8A4F+BktzoB4W4Di/qVwPX3y0PQGgpWrJgN0/Cwy0jXjN4jmPia9dq0G8SzD7KLsFetaCCeT34keHHrpZDSWjivaRwI49nmJfhitoeWUr+heOjKoRZ272Hsqk4o31t6fdIiNbhBuQpgZcO3VzSW2594C5/ztUhJzh8Gve5E8CYYYnOhIpXVVQEAS1hR3SqujKsNS0fLND6Dgj7Ymjg4+Ril72LJd3ulKNxQkS1waB7G7af4k/fWh3gUZcC0EybyBvzSB2eBCqJH581nJpChCGpbJqtU+fQuCUx/IznA/tdcl48q8aZDzdtN/Aq5ZWyT969kBjUNJwnHWdO89vy7FLtN6bLBxLWaIuKgAh8F+fzp5GnM5nctoqULhyivpl54VJ6FG8K8006594WReF/lBMo8R6EqwMb5R2/eMmdJpjL4l1RqW+hgKpfPb/pjwMCkzvodPWtwUrWgvhoylo8behlsTKMtuY1pmyLbM8VP42VWNAOHsn8SmquA7s3eB/JaqIJQnQddJPPJa7aG7bpr1h6qZ0EEhHJfzMlK9BXELMMaa6rm4wg9iHlqtvZ1+MSX0FIETMbsUc3GbqyC3trde/hX+OLkIKz1mUMuI4+C9kK0Dnko5IJt+9vfaaA1IZam4dNAvewVjt6ZMHNcBa3TAJUe+aice+mHD9l0B4ct2bPdFV3uy86lOwGsNRuKpKhLcpcIBjY6HCSpZU2sstZbJDUxs4R+8lk10is5vMQJiIYDmpjAdbVxQLenida1VPsd7OK/oXsMZ8flx+xZtd/qp+X8a7alUgoewFDv1fhmHEst5WwOihCBjfJNGjFw0J2fNipsOXVgUOkhDCuS11L4Hxyy3cEtagnLC7IAbpuke2d1OGK+VbtoseQegkdOaNrEDublG0UeBVIqlKYmYXEX0JgrJVrkZTGpi3x2e7SP5Dmw+/vZSSslghu+i/GVckxnuiukZhEJ0PgpVQNsOeVD/UpoMgpNARUyr7+Ng/7WOn2FbP9N2+3bOOIWBg9bjE0+hqNQq+Ar4g/+ER/zz3aq/McarBFEYqtGgf7SbItzgCwTLUI1/x/wnPOvZ7CtMgrfy0GkdDZexBtyDJQI8epIPUKB9xg2PZExGr/U/Lm82l9SQxQdvC071ZJbjRgMeHdYrE/ZM7MWy1DQwm4+6Q/6y7Zx7wvkCHs5FXmTXyJuS0pzYNTLl5Wqokzvcsrqjo0TICYC+gJTIzJuC0Us8PRsnVlSNZId/IVfLQdgLdS8VVcEqSxbtyc2+6RcOx7zM5BADkIuiF3t3swC1xptrBcI2Q1GszyTFinXSce83SbypQ3dFjNYJS14KAWn/wHWsgwdGRN+RJeJFVuh3Leq+bZUZu96xDQi+sb24q0hz9dJKV2tEc+e933lI+sHZDf7C4o+j2k/uPiLhZs6CeG//S7ur4WmnocmgyrwmvB6WxCovfvyRbWgK3rcsFffCL739CIx7tF3ym7RY4U+o9VNXUK+sC+c5THIQ3Ho25G5BhpZNcoEXk9x385jxayUTUqVxuoUnYJDouiCg4ln0UU596atl/Y9DLJVKjFM4kAffB6pULg3UqQ98cpY6aoEfVRjCGQowUr5hQK1WXzPAuKYBhaza1irX+XRmN++nljBRZxb+Lpl1bq8NvwOcca0bvb6t5ibu6cANusIRQtbdJbwYvG2/ksj8YKLEAndug1YEWRVl/HyzRyRoGEOOJUkMP41BWnThrDRaDK9Jm/u53mZpMxfrvkjrLN+gpuiXqEhpD8FmQ+/gK4Ae8mMaXIIEbssHMKWgChCUuADRA4FdR4FqmlhtSUx/yOOF1HA+/fyDLBOok/2BIBC+17jW2gw38lYoBqweVlCSlc8COkjm3BsovjRV+roFPlJLew5N8L8YJJ+60VyTJgI6LCg9ciVZDID1aWugVte4Sshp7k1eDTaTfEXVF8XOv7LtMxt/6KgpPMkuSsUVNVGCXoL8LGgHrk9BIVzyL++OY4eByy6/RNrOasADvTUr2zmxIlME5Fvx4dMq539CjfrZl3zpqQhPB++53wEO/uYPMtRrUcmpD2KQYkoIKX8uSEE4IFSfz1teO18CcvXquNbmugcXXvy6boYc5feluhHUAa3K6kmrWLh+cJ6283G0KrbWELJnHc7qzHJ9yNtabJf9nl6GooCdlToNPeTFMnD52nJbvPhAzj0ChC+S0Syk+y7+lWmGrtfRruvGpReJUN7u/Fvh7uditTJvdVXUCMq9mPtPWIOJjZ6zqR2mhgc9cuc69LTjvUabLeY6toNBHsyU4zMog9qh+Kv8iyl1xFz1tlCYQhw1EULAsDuQM34+/7hozrFjg7eUF3ia1sagw/rR/Wrrlx9vFNQcFXOg+zj8pmGTBKuTUlW3MbxoLQOvS3qMIjNeJ1xerbpnKfvvLSesWpxQMp4zC2vlIROCPZo8saeSMOFTGURXaQnkRNBNBHy7k9szlzNKzzRMmZnkP5u5OoGaGeAEoO5PyhxLDodPwVkgddg7fROc7fK5Yn4g3riP8kpl+icoLHle3KDBOG9YRTaOqyH/I+2+f06WJQuhzBf9w8ATIU54TrNKncz2z879tvp/ZoZsq4U7UppdJ0xEJDvjcicXYUoaSxK9hGxHEyyJPskKjjDvBkCMmoJejqQDsHxoptfWSkPxPEDPWPDBky7Mk2iM56NXcPstX8Yt0sDS3uC5bxMfOQ0ZQofTpucT2jXhBRNZeTh1nJ2T9eKOC936agjtYwuXkb82Re1QTtFadRfc6TmzBQ3IeUmk8Bw8yqH4gyvXFYO0Mxjaau+4blvxILdv1DWtnU4RnE54HUN8y/Hh74VPFcJfNyOw7qJo34AhC4HKtkmceo0myS/IJek2amWISI5MdERWmA6YQwtJN0Cq0h/0e6X38jmfiKkm1j5PhccSW4PAIQwW+5RVFnadGlV6jpSvTvIyvCgdBMFxHL45OdZGVeafmG/rPMhzbfdHoGUcYteieh3GS5ppqi29lOK29Cy/IzAz1yk8TY9AKPol9zGJDEb/RkIakpf+jFcx3JIh+JcievP6khx3S/Tp7WoIFpXaxYtJJrLnWPCYHPUvsUW4OkuSroUwbZ5AbWF8kPP0KLaQnycs7M5OQzGxpUgr8D5XYtq7sfBlyE3d9E/y3IDJkwGTjXSkeKCAK8eTAbYFD4R/+pKw15rDdKfsKdl6U1MH1yEyMPTcDrLfJvhh0ficO+hRTVZD5U26a7BMO+7jwe2czw75simNxVaSjy6yJ8pPmjF0gL/UGlpshE+9MzKKwKRqy7QIXYjjuVcEuYKqsUV1dGYi24Od07ZaPzkvbWLTzooVxdioSLPPyns7bnSWQuEcHEWWxigLsfE3rRMuFnfghIhOIehk88rNoHH3HcYYK8z5CxjajIyXYg7RAqoV2E2PvjViOyppu68P+nFlG/u2nqFAAOY32IGrhCOD+YJvi8DbV0H+1iTWPoouSMmL/f9+WNNh8sopOu7+ri+k3Xk+ytDmifWlfcABAlCoTUJct1pLi1HWsZM5wv0AcIo1Fi0d57uYTJMY6P9x1DILvUIH0yNGZJWiqrWVt2+MI10xybGeS75PUYRHpWNeew6FeRPGtG9P8zDb1fF31YpAz7zgdJjnRHyI2iPSWrF9pJwlBmqJ7gB4R7y2MHeVfJEQI0ti2r/pMSS9ISWoy0kzZygKQKp21xB0ZBsxBe+8I93QEanYwJSi9MABsxUmAuh98d8wTo3l0vDlzs/sWtuBq2PQvR6/yqmFytkj3zGwGbLn8+ub7eHgScVrCHOUbbepIknmY7TbXlaZMa03x+rvRLNO5C1S3AdaRpSNoGC+BDD6yODhJrMcxTMs/P7URFa8pjqWkU2Y38lHNjXVMg91JeWunN+B4Kenihhl16UP9+4/wnz7EcVaxQANI0P+NLrY3bZ78a4ss76BAVBSrWLE8tvdAwjDmYwPa0xOsh47M01CDhB/+mcFHR0PHI1svCfQbdt+YxYxD7EwyKKFBjx4MxQceFpP973KDJ09SJBi3t5sf1Pc5mC6blpFkTu3L8EQHfljsq2QWVFxgRst52rRs+wLLepVra4dBYjBprORKpoYu+iJFL4G8piqpO8f8Z/s7c0BmEQmTxoRnCH6uxGEMXACvaZKKrKE2wbs8vrQd/IqJwujYxx97+ZnVmlC0LjJfUzSSFIhL5mjIM3eDk0CuOqoAjVYd2EeEPi83r3J4KxRlegIUIKN9hWF7ZytizyoyTo4PdHoQh7KJliLTkIZ4Nwr745g+sjIyvPfNbhfxYNCcQKIGKTBctAz27qN8JGFnNyMpEjL+7GRe1x9tdTAr8pLKj0pSKwNmtFL/vPU/r/2rr4XUteeScOGEyDk/7XUEACzfPjjfvu33M0LHt+JCfr3xqUmt8VnLMzANsliJnAl7X/A14YExRAM8Amf/qYO76qno52M/EDcgFlDntx+4iv0Np+imAfgTpUJBfx5fGrPjqdh3GT+Mmq3LNp9vJAj524rxf1qVUt/TsyQAIisqSzrJlVmlgbLprv8f9zLhb3vqTvDImsm9dEqhQCQQKOicOV48O5g6PywLHwb2oVqiy1R2kfkz9aArWAsmcIqwBoJR6QLel7dwSC1uv1vNUg0Mw9DtWW3Zvpg3yvnZGNUP2rbF8OeUjXdSLDcah4p9YPDMJauq/x9CGHPlBuNdcAXvf51bgJX46vtYe/8hCbh5T00sC4xRAw9x/OE9mXPeIvcWGEvxmwGwlC774G568f7N56nINdGA2Bm6h3zO7+k3rZSgNT486TtvjB/A5kH73FsoHJkcO+ynpiblAJcScMWofOryO5BrxofcHq4cdSpUqhgVUQLpcAdWQXJ4il+sw/8QhMf0G3jgaxgn73nfa54/uRSnXiOxwHqCQRsW11TKFbmqaJWzAroPk0WlStvdBGQ69cBguW9OTV+v3LeNuG3BW+MUpEn+9gFHM9wezSjrrrjCYOxpTWsggVQA28eFWATpYxZQ3+9uHvQ/hTMCGEJruYPH03qrWDWV9p/Vaz+fe8chbXCy8I8MPcdUsJgRPY+5Rt1zuRssMgOsuKPCcyb5MLDYkpJwpJjKpGMeH/qRfBw4aOQI3N3jMEgrbk8mBsNPJrJrLmPeMIhlIK8TRs6oY3Z++XexwlqO6Z46dS87LQhelZ1zwRnJ+sGSIE07RhJktUNYeQjTVaQflqvyiujGMLDfZ4ZH9nOs1/ku/3pWsfUsOKJziuzxEed4HyOCX0GWhYYb8nahufbq+C4JLRmwmNS3HBkLtQcpBrkdjVg29PeDv6JheecWldjLPxzKEjU35anX4Oj8A73X93ahvVwdZWY2uPg6gCJL5VM5AInT+MzYXOa9kWpYnCwCx5KBUhCH+RN1O4aeHOTt+WXMLYELBXLzkDmDtV/reTV4jShHInsPjI5SGSUhrOHm5ZomgJ4xAW9CHc5SnhH5C7jwBAP4fygGNq2qgt246Wyj5Df/QNieVGm+QPc5Hw3uLodSADL48eHiD0FVr+Z4SAQfSjWuJWOtRJAXr66Pd2P02ZCxfIMW/i/anjSkGrbOYFPDyXptUNqIGXeofge9PCmxztfPx6IHHp19QAT0LZOH9FqlslXzkIxyWCmSD9NTCHbU01jY4cySopDQKBxZCP83qoOS0+ZqDT/DArojiFO+1OYYApllAonNcHMdZ1xHRwtq2NfDsGCigw59Zplvxvko+AJI70RG1Yu3/xlF/bRiajhbIx5oS9BKewF0CTqR6FznGtXpmQ5ofD43bm2KerqLm68LlyjQ1qbyIS9yIpOcLCoKzFhttRCs/lhxIZxnVWYP3t+i9aDmKaUkA34K7D3BSyveu1b11xTIDHqgOLOmG0kPSr4JQnJPsBGoTcGmTgdMxyH6BkXKGZpNwW/H7JsnfOA9k5DbsiBF5TT8MVb/uC3OiTKWRng+uGTA5g4Z5iIIV1V1oZIDNVDmOYwd1abhs9FEuWiPmN1eUWpcHbtfstsSqqkA6YXZF4wzLvHEeAUp+l1QlBKUUZ4zKRIegaOjPattWanc4jKJMyMkvcHLKnHDnN8ZFeU3UAAOREHiRZzBpvgMN1ABADpsJ88mPdqTycxQDBtFMlkGtv4Zkp75DmYuiOOOb8p52oZmwajlyDK0rUVqLKHIVNHNC/NFvc1lBWGQRnYe3e+zFCw2nFrX6G50wspKuG87H4PD9dGO0/8JTswRFV1qawJ1NMhZj7ywsM1KMdTzYK4zwqXNIfC9aXSiynncMZgnF6ds/paqg66OOE+Xq+AAOqvyP3jhnFD9yKgM1zoPzi2U1+9tRLJs7auR5BMUWGmSIUVNvFSjPS19rXODJp6s7rBLKbqK1Qnh0HYD6BFrORw7OahgVQd4sQ66EZWvhxxebQ4yMCLWUphaIT/C6BrM4D+Oe0JvWuVWmnW3r/EN3mK3SsIKFRS9U8aAOggcP6XQDemy6UK40m59ZkyCWRFXzFlhNSwjy8plibMkmWorlGG1vapcaQSN1rz9Lsp+uplaPyArTI30FleKYu0j8mSGkYY/7xYhZoep78hba2R0Hyu5U/eD2v4KtWe4UDXCn6DdegyXG/M/hrePBHSTv6IIoZQJiFdLEk99FICeMZwda5DmQhWZJO3DSbs+YdWwaGPM5lVnHBZ8K84kMQIURiNbY91K3R3aWLXjxR3IFdqKX1Ro198RHcyo/KsbUam56tMYm6r8ph/b/XRYwJ52HnOKVd2m48o3MUKmEQF4f8gjZeJwGEoKhAe18YrOV65GzWJnjSpc4QsMpb/o47rpfApfObtrXyMglrgaZnI3qOaB6qSdriek1Q8o9biMiek3r0ftUhURXwZWPynLjwfGSWXAuSTHpmIwsS+jY032JVkRnusyRIfHNF5/lgUpQ7pJifb/WGu9avWp4Ug/3gkmdlWviKegmYu7m4i6BgFsjqesvEo6WmTR6nY5xdTvYXLQ5pRv6NjpAvhzLowiBIUx4U52KNGIsSCRs5QX/hnjo+0Ltl7IfyfTSKiam4hk8cdA1WZaLzp20TjMwU+IwTmxxfsVt4HcvP2e1q6ADtweT1eOIJQhGptd34CTbUOUK/037j04P14CQI6lcJ7ss05PLPc09Ntf2EKI4nCMCqMiZDGSiO60qoeQZTGw1/3JGkfjzoCPAMNLlLUbuTIa9LD7vg0YaL7m7aFYr8E/TxH2GAH8r2YIjNvCn5Y4LggTJjctKcdnbjIuwoTqWGyo4oYLFIbq2y/9t0ULgqnfGFbYtLbd+MGCoeYOxus+4MkOoFbkNC4WodQ7rOX3MrBCheUzbURGlwSY8DHqadqkoiN1AEnFUtfSKXpKdZxvt8W2CIIH36FocvO3RUIZoFXxv0Gz9G96q21eeA/lyaXp5/wF/JVFbA3VhWAhr1t5sNOwbDZCZc5gdnPvvR/1t0cIVoPMAmENXIiRKpOt/5cxqt94oqAxLKppfiHaFAUGLywDb80/12X1gFUUzruU/97AXpNl60h9bzQVw3HEV5Eg/6ghuxmyWbgKZjEImWpmY6qGtdxGElwuJDwr+btNuTnZb+zLnI/j4heB8MYY/02xeFdQ0Rxhof1fdt7JrpPXFLWDKjScXULZ+jPveEa8JdZm9vi3Uv/GC2lMh3lFiZ9IWtiCpxtXRrAAqBUR3HIZA1A1kBqX9qjW0T1tsyB29PwSlLLqrATtksHI7GNTT+1lruQobY5FsByWzMzjI+EVlinI7d2DcEtPeDxGIemzjGf9FWlxlYwKg9+70yeQiM/+hr8f1SL0RZd/xOCZtb5UGMiEYN+8II9CptPD2KRuqZX3trTf4dZiaqy63Zie2AJ2yaol/JU/9pdD648pF2hfNVPvuzJBqOiIUSzL2xe2E//LP7LcXqd9ufF4CH8ARzlzR6jywSamMVx3D5Jr3ZZpndsnDknhHhwh62iBRhmH8Ur0BaEawldOzF+Al6dCrBtLb7zZwfwQuAcH7nh87jGWMoaWW1iAy94dRnim6vTpPSfJ08NtblsAAEpvB71Qbmbv/TJBP6dbkiFNeVKJ01O0zvr8CwSUb33HB3YibQ7v1J/ugeFVmcgnT5xAUWRy68xK2r3jibxWCR7EtXDYvkw49U2lgzkfgroqpaVQUuMmFdtGlBiVZ+18jOTGJqB8Hnx23zCP/DwCsx0Cc3BHQMY8azYFB7nl9YpwyRbhU/D23rPm7ys7E/57rnLRCV1JCjUFS7B7CLjwgD/Ev57UXCB9+DjM7iEWXQXG4slvXcATUWFpReE8oJrQJf4r5iLVN5rQk3KN8NgH5/J8zbOWLIAuHTL4k24pi7cOHXRkd+UeO8wQ4but9dn/VQMgTTeG03znTPCAkmQC1VCvqHIQ9wRxA9B7mgpXMebM0dXLW/MMIUseiq1vuMXgEm+WKlATZbr16k8dcrDLfVFO4+3g+lHDWwhDYvP7nNKBeF6a47KmPtNNiJfmGLCA8QqAQlkUeoI9iVZHg6WICvX9+6Zkb31Hc99g5POooVKIpyhlPxGXZOaivXtAUnPYUMXE7x5cQdr/R/tzgQja6cGG58UmeLCSsZpEkL08FOu3+ykO1l/oTw1D89sOgsz9DkemTJh1GKrNmqhMQAatZ0sT4rl67Qdc8uP89YV22UhpBmlnypxE624xm6bYU+Pw2Nr0bzPaup1cXKD10dy63I6ptzb/VcFuVKclHEihqDHfFcQjfrPqhX/OXncyl1bQ/QMxsTJx4uzUpoVm8152To5/48/sgqbRKRinaaRHhoqsaXKQdyPb4lH/aAHqdO26ZuaBqxWWVrbfkXEcD98YKqc/JHBIKHFmRIRwLpGlpsavcncaQAL1b7PcjH73IVt47lDl/9QXtHUUAzbo9PeWYrPi+O6cior1eK9NivhZmH1nhfXTRkDe7qgZwC9yRa2HGU3LZYVYCrlg5RvTrkOMjKkPreyajLnwdpI7wLOMZ7oB1FA17jMpKkY6qgsZ5gYX/mpGh25Y9i0JF3ELmgDC02PGsqvp5vmtXp+7Oap1GleDhfqMc23yHhzog0Fr5wtM/kMUCrt4J64xCWOi9a5MWrln0FSlV247dXJtmg7boPqXDtM3Wk1PgasbXWNVs2QnaXYgkq+PWVDwHVOqPXD0UDqAlfmG1+PIeYLZRHdRBSiGLKHpRSQHiUXQCYUoXHm5r7xI+eR406C7Sjw0W8ZOA2gZtIBt61Jsc+vCFUwiYQ8KM9k9g6EUtU0Mn8jhLreOwHmY3P764/c6u349z0jlBIC5vDca1ts9dmVSiYEcb4ABTm7695VxhBNyXJyGKwNeTY0Ficl+4QkVDCDzwpXd7MCV4iOAwDOICwhVVq9wUpV5cIUT9Fy4hDlMwqth/yyvs81Kq0+MrJjrx7C+nZXIHtPairLBgsMS55fYkvfhjB2D9trr2cDMTOVkYTPBL2q+XPrNCa1OlellUxKv4xRZyfQ/R1pKWO1coLD9ML+Lq54ul6BN25k1YActzZr6cOCsbBxMr3Qr9UBszGCMJG1HTkKMHApDWP5jsw4DHd6y0hneeH5peikQ3DatsOGlyPQ/c6zm3w527wE2XLaOVlJWLDin6NgJDfCQAqyqYUTb4kf6a6Bsk51+QQ1tQtjD3NBR+CV2ZqmRVX32WJkeeiQlvcw97YW4RMOMLFsXe1a+vNNaDOgPq48jaJ2hfNEyOEOXnLodZMTUMwqrciAtlwY+hKDw58mHg8I7HTfGT/6mVwsBax14rViMtd0dY4y3p/ZW/GvceuPEU9lt8veN4JiigRmtCd3bxVpO9P6vMECsnH94etrca+7Hm3rGPqqKWq42HbkFv/48SfS6nW1sXKabULfokpVrlRzaeVCbz0JSf78ujhC1hjNGzIabLXO0YK23RMc84cymTMoAGTJVhCQ9EAYMd8/Zfk7/GD2Hidg6t1h3EvLg6f8Ck8UVY+V2VCjIkeHImydT3K/2bI0wicT4bbakpYDYAVfx+wVLPFsn/VlTRsllrKTYZg249v1ClxOY1hmbcbMamJ/0DzqWo1wjyZ0WEiCy1F+98aiNLicVrkU+Z29+On8D/KmrY+sTq6jTZeX0/UX6xslizsUHqYGM8u0pmlVsoM4C4ylG/eAsCYi+e1DexWj1SNJ55cWD0abe2kFYM4NhAxUOlBNnHrn73FEUOrI1q5SzukLcu7/FH8olK4dWJ+oTcUcTyJ9cDygeuFrionErA/mHrf0HZG+mnOpM7+XVgscps1E8vqT9BkBXU8yrU0+HQ3NaYsWxSaQJ3YcFZf/VcGQykjsJcqfy6+nAfajP+aN3ci9CBosK/0YHTuvGvdq9KeV2d24mr1hhIAxBGiQnkjfbSW3HwM2b3XfsmP2f40xgjhJzgjEoIQZLDz3VF1KeO5GdEZ5PayUO4gTVVI6xAEKQZY+DZrTdmQ1kuxVY7/ek6YxOTSj/EDMVwsOhJMT6CoKlfaZZ6JbB+ny/3bcOXUNo4oALrR9PAhY8CC1WPptoZgg1HAiqXKIbJvagoPtIpjVthJ+8S/ksiQc7JjHqm5OHxH9ZcC7MqbdwwI6u+862R+Ul2AmgpWX7hOjMYL/ZpWorxJ1ojIEcFRZ61/hjSKEtp5aqVloqrGY4nWK1e5DodeTXtTBavkd8MzE7Sg0jfnkKzYpUOFNzspD0kNMvfoFieM/NkD2KQpemLqhzHhGX3rzBs0uwqdRFWRzlrk4ZMWHK30oirozcx0jbpt9HjWKA2saEJR2CttFAQcsYW0GZRii8r9XlQgYK2+Xhrddo6e6Ky3S96TKmj+PfNYA+Jarc8YAbsWvrMi3pUyQI90Houvs7ksg04DlgRPIO1uqXhQVG4kkseJFBpHcZK3617yyvj3BJXnVmJonQfategPUASJsdMsgYnoWACtH8zvmZSyQZkW0rfJquwnbgk9MmjuTLyxtc+PSXnbEBptQtqAFvN8Y80X9tY9CB4Aa19qAddTCHm+BrW0482nhUjSFTVB/3qYKJ+r4s1vBkgm5MOgnlHRfzFwhldZnj8bj3esGl4gC8SR+plAhFQhwW8qhDd9eX1SUieCQuwJat2/0m12Qv/4DKaIUzz/V6choIo20+NEdRP9/sXqjvAwEyXirqXUeXxs80Aob5VmVXrS0anf2d3UJdAEw8RlhyvAAJ3qFrh0UTuBfRoo51+L8RuUBHGthr+hF4pQDO+3BwoiATMnV+IHY8kK1vaYPw22mu9SfJLdtGoPz6ldp0epbhb5YX6/vM8hQFsPwtzEzl0pNOVkA61kFv8lbtXB/LrIXtkWxD9etpR+DZmsvn38nl3wewEYigy2H9pw7ECG9S2rdBVWE1Qhipxe3ys9IXPuOG3Gz4UpKDq7LmWG0q9t1pks1DIOoidE6Ot2IVDlHpZRNmlx/Faucx+KrqPFSnCaf5Klt2+cLlFk8wXrZsJOp+EgqkG59h8wqA5SSOkWIjLM5x8ajBkOspKlRaRHi3g4UICkoh6RgJFu8NKfp5U6nLV7l4PZL7hAcmqtnGZwUxA76sLsKCGWHBlrz6L6YbCYOtA5gFBG86wgvQnvPjd86lJZO9Lrd/VKHk9A3lY+lkMOo58goQ8hnDcC2eayGTMfseGWZzvpaQ3Hc6CJ2LbwRf/G818T7Hebs/fFJHHyHaYvQo0D8sXHZ8W7HGifsXQHEtW64PiIMdmYW29VQLkNQO5LwIoouhMAlHAKcbx0F7yMV3C+vTHRKJljxtCveVmeyue+9RgDX6nmCzxVWEsMOS5FFIVW3467x4ANCtlt0mMXoG/Pn/eJeWbzeuB2dRMsIfldGKHCF/PpYCPa4R+ACF9ut6bqpdjSpQmoVwhitJ3drIB2p15BqFWTjiR7pJ+d/Rl/WukqeTxc7un9EjPEO4havSwVTGGJPseYkZBnwedB8wZbWZBpYdAM0OSP20ROJ7Seaq/1nhl8Wih9bqxakjqVuCL+2BeJj91jm2Aeh3DHCQZTXhEZUOimMCuWCBGvQ+3j1WMvBSnsvgMg+NPWb1jgfZaP/vqUTswPVzwWovmQzu3zwDfARgWxW6ogHO6zh3TkoR+72T32ZXC7qa1BGdCaV4UCSbLFFgOVdBActBv1sv50GQ1Gpl1lk73ml+fEMf/dqcb6cZYClI8M243EmASuTwm+G3VMqWyElPf6PBW4WAcrJK0Fl0X/G3v5IH3E1n5Il+gAKJvANiwTWGbGltBx24rZFrwrLtOaG+32xkLsRS0X8Rdem5pZipORks+wJJZQeb8gRZ4xNaQWXfctDPUg9s0XOjlViudLbOIi2PwebGLb2TaAK1g/V6TQ1CZHd/uQVfzZD6xlOeN+wbz3YJzTeqKXssVZMI+vuv4MMelibp1bd++i7tmIbwYCw4D4iP86yOi1INuAvQYTlnNfUD/bygWD8p57wgtPaOT2L+sCrhWh9nnrtyefvnI7Im4AEHSRFVZPr25PM3wXMm8xlf4VzH8RAsPoqNwP6Vogh18nV4eU1d3Pzd8Spw9Jz+gKztarA1ZzfUVFxO3F5zhCPxwbTBGZwpI45zGMCpoIk2de1qZqnX8qGtriLRXJzMSPpasMaK9RiLkqh24UzIU2u0at09EjI7bpd/m6ZOA3QutlMWkd8j1MIFJ4wY0+bNDaW45TFPKkKoVC60JKMFlYThnDY9n/TmAb7DIQrs3E3QoL3JIqer0A8XkMcVhezcY4C27MgoASGXYRjj5yyxOjz5A/+sYZVgP34a3aNQHHmV1oXVgDIifcqOy3BzJAkQ+aB93TKihtqBfvJbBoSD6XljCPGaD+XjhzIeK1IcuRXfjE1OBOQ+B9jjiHOOpINAJFrKQ56pWPXh0GNt8YUSlY1DpO8ICT4fgcKlWyk6DwGCUx9SdSkYuBy5TGXf0LSl/QWnlREcs6WdtwzHFn4XbbvKg4z+SD2Hr2hYHxDJvI8P7orjHUPcP/aqlzBgLR5nBqgyyLee/1cCZ8s85BAxBCdXarVNe2YbWjUZcoGwaIofHuUuOcFvKopVGXOK+tCBfGArZn3vpJ2cbRbikk2Cp/qnLno3KnDD8+W9/lg3wwDQY/kiP4kaT6jklWAnrxSfn/T4LZt1hPg4hTyX7YsQFgIUprwdXUK8czFg+QyEitzv4ee1MHtf9PVYTFnE6d8FrpaQoJ8oVABTEFQkd0ZYRyPdHLwPkOHtdYGlzuTF+edhBnY+rF+iLTzTjSm3rNQeYCplPzc1WBZqiUoX7MSZfgdSMH9e6yv1hX0ojDVV/h0eTiUogl2ea94y5uFW6B/zbN8uMF4nB+HsdZbsjR2x8qnJsLDm9TvVy+DR2/GkkgK/NTwEFa50Slvyrq/jjWxj1lZJLDNKZd9BZpApX2BD5FCJBi4N5gWrKjJYuBK1c8OTsDTvKX4s2rXm8qrfKct2AUtPolPvTVY9rimrwKOiuSYUkA6ZYrzpOMarrVYUqmeh7J/VmcdM78l0VvXvAytTs/TlYum9e1iK01OkTiU1Ze6Ego7gwM7yg8O0kHUWXPNb3fL3EG5ykXXxFoqXsZhYTKwCaJAPskxIcWBa4kIxKr5iT8BmmrSWbl+GCHX7hzyWb84fOFZc9bMXTRQ68+jdtJrBW6RHWfjkNF0j6OZqNedMjIWzCPomHY3T7wcAHhMp7jaGO/fx6RzF+t65lrlSz2SoZzo1cyTPgs6jbEJ2bgN3I222j0MYSqhsMaIYDRS7Ivt95ovDa6bCJgcNPCL65dFpgjQmHOzDi88Cm1cKEZrezfzOLkHVTDDKDbeNDN7bb/UoJmEyjtU0VxFJ7wTwXIcd0fdgg/yiw9yuFCpSGNIOOHYnEKAbEIB1QDrsUDF/rKJCRDI1WPQL6I1LW2RgGOFN3vpCx1xJwobrKbSA/ks96tRNJX+mD9kUHHLZW0d+SRnR+b6qHmrijmuKJKnMi+l8n5H+u426hN9pczxSYr4jmFQTXiC9lchv+Qd3lcgNusDSSw04f9hX36S40DPx52ATqa4PAS5hC9mcduN480ft88iHiBJ4ru8ZMCytxvyAsfmZkHzY4ISzHr2FjTG/hAKYpCGzES/GjLYmEn+F4mhTy3wx32QOKMzPgSyP0l85XFwEIYESWpDqNeapbru/x1lGsm4b3uQzSET9p08wwtdyjsE7xSMJUS8k4ywTwRGyDymFuaDkQUIaU9CoGZj4Rq1JDY8nCFS621/OT0WMdihJHZrqXQhStwoodfkAxjkVYb1bfXZ91RmG6tbn7CWGIn2TtxTUc1kKuzf1GZn3qe3eYG4Czw0OfYb78CmglKHSAE0L7Ad0N7riJnF2CPvNkIUWRogzEG+Kg/XcqcKtTFzoD3RGjUa/nIzI/ZXW3yHF99v2Wxmm74ldy+lbWOMDpTQ4xo2uNB76apCu3i9rIMZ5zQRSMGlr9/kYeFm04oTjIT78cTxQr6Yey5g64UvTkjx/k0NMjfNWg5gWlR1/6OpvbNsO363qIpAZzS9oT+DpVLgcAYVPa1WzP+NgZH0D7qII7UtpcNr43jLaaoeu1Yg0OLfIDBp1JHCMxQecOGyYU67wMCqCWn28O5u0hUWPjj9263funjXIJr1wxXLSBvY2qX2DrK2+thJPCUGTuK3SSs0Ww/BCd+sNbnCOUbXrkdTtXWoMEIYmR+OtrxyiACKPjBDJ7W5CZV590LcnyoSWthyJ3Wiq1hg/XOB9CsgSRI9c6dzS9zCEEOlAKJwd4pU8IGna3sectTEsZ5WDMMiSBh/h4pab+jevnLOxVhvD7xkISVHY263KN+ziSYONSHdDNujEZ1QdOXvgu9bSuvsCAPm4lRZ+KAwfKm/3YmrTjlT9hZjiBZlKwQ3iIOit1yh43JvmRZQAi0y/Rm1ywx6EMqV8yfACUDotdk3dhF85biaVZHvJXKJ5RKkn0W+d7J/hv8p7bA9/G+x4TMGUKYrhffUAnYlTYjKr4Q9v1sPoJpj7f8ueCup5CxqPswDxZV3qonKYU2u5mVfB9lqnaxGCsAKMIgAgC6jjLFH2e/msTfJ0CJ2aqeUTWynScz+pXq74xITvJEnB0bqxlu9/MpTNWG9GGoLWgPremJJcar+7e+Y0B8TdztdHFbva1UhkyfYafZP4bpuy9b+YaoftgymwQSaesc525Lk1MFGhd64MrbytzfL29ywcjZC+fT7XWOWyQPvwhAb9PatxhD/fW0574MmivjSkoprNRzbWgfR3vYq6Isa2zb0NevejKelnaq2ufyslcYawhbtGM0c4SNtDM9+93p6fV24oh5jJLjlK1syTvVkiJaKDoX1KZCcQEZXRWFq+dA8rQ4g59ECdHHF/QuQ8pRT/QCdy9S44+uM1amiJjgTPQ+jN82C92KLTaWfhFvYiDj9OqiU3wjOHxzj0JHzUQYt6FC8LGZGwDM4YyAUR4A3/JtgvEzqRePNi+ylbmysm4AkCi8WE14uMT+amTAL5YPq8iIzmG34xjq+nLifCFyS+26ew+Lu5hDCXR61KIIHUhmmze5FndV9lLlyMq4BMKqxI9YBxVdTB/QmnEjaMqi/Rr+Jo0RENsn5aLc0Rs0Gb/kGyY+6RGQyfmVt8ZUXntl9hZ+f2B0mIFY3juJc+7kcInzkzUfa9eMmXm7o9mKe2k4Efd6ybcw7LfOjPX9yWf/3//hMh5RYMYXcL801tNKHfvr2ex2oSEi4I1z2Kpxs2qWShHg0Sz96HsmT613JQzGTbD3GJqixIzElYpQPW6WAK5Tev70D5Qzuz6Q3NkohzWsSikH7jRzX6v7qUdmFIUiaS1e89yiZ8NLL8eizUi6JNGcHwkNnDl+FJQ5hmZ0hg6u/A2rtInTicAz+N7eOTsIMWeiZQdOfkBRKw8FUSTl88c9DHmom75IhqvVz+DuCRlVyI+xwCZOeztFx/gVnXzWFQd6di85GylPCsCMMF8zkPYo8FcUVCh77YVuI30FEz7w/I3tina3iQaIaV5vr02xloOxkhtt10bpHYNSrju9NgY34ruoz7mxzSkHogG1IuE1dH8rMwNJhWR9ETvVVfakFiwO7tUxCk4BSa5j8OF+XrOyY+fVuZlHyVdL/QM3ZPbf+Ci9zTLmDu62q1UZy0PhilrRees38xXrJYyWci8bM/96Ll2hU+N8BXcj4N/LtXdUXG04Y+Ef7QUCvkpl8gpVC/haQmbzi3IN+gHdumXzuGrWfd0sB3JeQj+akP5xK4Gx1jDrg+SJEsVlUWLr4iAIQ/lSgrpgzaUCPdJTd5b7KucNvufRjMz7RSWhKuJyo5Gw3oXQ8/pnzRSmXGQwU7YHFMjtIBnIQJY/S7jpfdZScKU+IybCnz6tvBWp3KIoocjdR/x/wdl0VWyXveOKrh3Z6ImzUl3E1AhlvQNDFph2uWvkgTrn+dSjB1RlwapRb7eKSh+C1JupEat6kystUNSXluD80q3yhifc8pyPIX6NNEtyqj/mWyAv5TTKDWyTrr8X8NQE9cCOIGG4oSGJYgdwZE0CuVraYZqRyVsIEIDO4opyZpoK4TIJYtDHcj3Z6RsnupGcGsro5giChsDAJrhZyHVCcPJuw3NQgb6l8p3pa2rnfXkDazY5yfiaxKGtW7aMaH8EH0xV6/ZEC9Jy1pcCB1tBwKyNJp2nC7uts6MWCGYN6n5nJMnrcLwaFOo/LbPp0YGpZcOhhSp6/SNWTtPgRr29Trw9NfnvyVtRJlR8EgGvT2rotD6Vgvs3g6gyR3Lrz1GMlbVfo3rO6fsE4hDhWVtXK38D6JtQ1vGKcHTneHFCDRVMcFHajFLi5fDewSsqNRUaGxtglQxgsGFn9Mzg9TO74/m+tBHmB/nB16F5GvjMxFkN9WVtrIEEDFY3euRMLosNkS2Jovk6Q5xk8vY7LCLgJqOCd9h8qKdTZ54KssbvqElOlZR9Jy6j+kvlR24/NSnrD7ZudqHa7mZ18Z7CxfwkoMn8uo4hT01TXaJ3JbQpoM6H3e6bCk1cfCNhsbIw5Xi7TiCiPL3xesT3nlXcIEU+mIhybhWGsbpI83P3gqz+eMDuOFD4q6SfvVnRgDieMn9vETmzU0l2Oqte1gg51ssJMSuFcvb2io++1JuY4EPbSRl5CN12fbezqDwPmh6JsfOtKh80uEyQpPUZgeN984M8o4MebQDdpBm9mwzj+gOvgK7euPJN6c2vkbzQh01+/M5a559V+J3IVFHznAGsh0WHeLnMJuwoQI481KkmiMWOcEIPuyXY+41a300h9YHDeNPJTpYHE5V4jdEOQpGpju9B4cnF7KiLc1Qdf5ZYAmBkYUha2cMnkD24P7UMZK25sPFtpjS0gUDt60NjdjHIeCv4EwOx2aF/RSVGjfhzcqjqjPNKIvaSGIh1g0z9eCmVOmVXFbFATm7PGFEOWEaRTalXf/o4ROcvlCMzQZuWoRjIkoSkw51WS5I+FCs8x2g9RFHSCLd/jbh8fkQBaYQPRBerhlrHM9JddMyzGCqIUQVl0Okx+tySvCOTTSqAHNcLubKbSqh0inf2J52Umh35sA+3rY5qeZeHudhDBpP+Dgae4KYGqe+iCJ+6bP5/kiZ0ShqqvArpxtFTAJoniks3ibxIp6O1W+sYN01Tu28hZlUhVrnFvVd1EpCqLLPdVOov5y3gAhGM2CR/HqZo16rLzfwkYSLTKmZU6BxIFaMyFd3L+60jDXBFLAMhG/Yo/5bS/MXtZ5JCg/ImlmMkeM4NZuqB9dLd0TVQ1GmyK82WELDnAYz6Pdd/N5VRvXiIBYOeYWHnuHLrd4t5W7hTQtEn7oiRvrzNYhtd2jEXzO2UQZprscWjFjZWTwxopaodeVVFPLuUjJGrdTWak50N7d8UV7cdvMA1Q6HkskjW72VFByRFP8eacvIvxFI50pRMhPufZH1RDHxil7aGi1xBNxl7naklMYL7bkVXCuaJidqNLnaeSsOeI7V+pe6xYAk3lPtl1cImUW9zpMmWAE7mw2/2RL5nq+vop6ywGRPUppaLXEO4HugHFt0TjxCRn6G5U+KmMlwfzgaGVyPw89Byu3GqUQX+RkrkfajtaZUfTynxfokdq8fm1vLapybOa6XPHbVSzoTXQlBeQ06wLNJQvqLENaHlefrHncGs7NtqhN6ofg7CA3pmSsMs3aGWigIUEEFf3lK8cY/TTe3Uft4s/WaUnjweHUEpNFc4Uv0QHc5Ey2qA2CAZOg0rSyRW31zjCoR6qvd3iUFsLxpKISOT0gMoBd0sEKDUAb/o7MAWR0ZHRN4tLu5/iHyLqp+Y20yuh2O+u8UZqUQhp2Xi7zXJoIXsmxhGmFLDIM6u1GdFmbJ1UFEmr/zfDC1AaDrjroUjaxCTGsw921otBbUGh1VIZgkzukiaoGKJu8kk+0STLdiyMa4LD82/ijPXWZhafrS08jyY0chG0ckR5TBys3oTuIbnuTRHySDhm3FPERJfe2K2/5+eizqT2dRo4Xd2CAg8jlTitQ7QkjbHz7kfQ/WirD42/VTStGmtUMhF41EU241D5JZ8XiGSK1lbx2UCBpptR1yf7WJ2HZlDd+EV6XmON9GT7W82BtuEFdc7rCbLLIM7DPteJBoSQA9BqhzyVDxJcTvztcs0p8KOvw7pmCfN8M8iqf0j4ryDoBT36nFEjJSYvXRl0NYj5Kvtitip8wD4lo//DM2W1pvDUYTwZ8Bp2OupHt9/rJHtvdtyJmBaWavmVgJNOm8VBdonxRoArxtrXGSXVZg2WN8RD8nPZMzroLR7WrmSoLEcLSXVv5C2LkVWEI9/Dmr4mVvogv7daO8Cp8B0+up/aqD+IAqyrn7M0fAfcoqKOxPA9lawn2XBbK2oGa1AvtN7LLdBE4/3ZR4sNut4QrST+OlKzWpqC39vE9U2qOm5iMLsXYgeAHk1X1/i9D4hohTDqzXz0JDbmz9YI2F4n4//H7mDWGpLedqEMqGC3Vf2HvwlV8073Bit4WIRU+qbKdZ4GL7CvYs+5jv7OZ1qsDdEOOg36ZjAHOAsmgh7gCUpDTiY/7H71ma4fOgDan2NQjkdQCgCegkxCQKBqsU691SMGZpxJH5LL7mF9/pFRMD4kXIPrGnxJhTnD6ZyWWQkaDVUmTJQPYmEh3efdji18HaZR5AcjP6UWEW1jSVQVZdaRspnFhsPevhrA5Q7JvRFEsfyP0Y9d9Bufg5RjicY6dx28xITgs16lPSLuS9FPhOE6Z2nib77rVTdj7W9XzIXEKIodxVQ1ju53tvKhguNXbxKC+3KndWqe6lVgAOVIac4yKkt79TLkiG2TqFhMJ1j5vZU0Y6hf2fKLeGsOXIwv32pLyj+eMEAXm/KHrvWozMJLXr/smF7vIl/Ai7RYloIx0dKcj+19gUDFsRtG0ECORnGStm21lxqpgBD4DMCeaI3UQQiI1gJaR1sHDKsK6sJNTgfTtnFu9ZxJHGkHaLid9+xHuqTJcEehZTGpwM9HC3aCSfCyF7ZO5nx5inowZfMmN5W76qe2toYCqpeN5vjUNwvh+whDaAmOSh1VarVlUQCvrD15kJsA3lE1r1xQqV5lCPpXBd/fFyl30OC5UET1f36RlDBmUtm1gUjtgGcKyJLhnHvFwxuTgRFPTjoKSiAqQoyg4n3bTmP++Y1mZOftOHNtZrg334Xgj0VrJzVNKfAOzbqKqhgtze23ndqvaFVYwdOXf5Knezg046w2OuTfmqAIThP09Xp16OkrqR42+lgYWdoETy5yYM4xvIVEaXYqXH3wyZaX5mLeNsO3+odiRHOA1wzZ9BinqQ8EEw8Qow+GQdPMOf4iVmNeytk8prH0znO1TURHKct1CFZDetQbafVgYuppQZNGXbDxKw/6asmLC3BLZG5PWORYTzdYeRaPcxfgLKtJyscAHuRyrsfXap4by+rxuKCKomPBiZQkS3dhrqdteF75qxAUXL6kTMSRk+obktANiE7yEShPstCBAYqBVfx1La0qwykAyL+VyYL6YDvJDmenY3qWA7o0yhlL6BYV2oD2N9vmyf0IRjdxq+u2rB4zHz62GsI3nF5cmRHPvd3xdWIhUYtwobO8n9rczrnDS/QMCaPESwTOQ4+LYvIhfeJNjfa0cyPqM8A6vrrSjleQPMSjvkj1EJYiuuWLNM0Zvs0DN3QYEiFCFGJ+1FxfXJL5MRLginnatBtuyyg35p8RHnCl6jLoKDvmBDP1GMiOf7a4OiKLzQOEH5Ob2Lk1E0tHbCpht6oN3le4m3RVKCEjWyMnbJnIZrWPLLpOkIVuQYknpWPEXUbam61DVGNivJBG9Fw6KeRBjSvz91/dp84I+8PrYc+lJpImdM5vRwocnMf5UL1syoVK7I3pwqoOciIeMfcn0TptVT7OJAsb6xv1X7FfDVlzoMz4UFO7mjwAsyp7Y6CignxT0oRkJM6cDridYXEjDIdC03D2ZAl1/MollF9q1ZR0eWQQMp/VQL+6hMwRVrojxoghkXPUe7YQk9HgZLCyxtnNbfxFkZPeyQd78fe4IBIhtBbJMbNPbpVVEh8rWA8kGfa2WCTh54ROsaJf5vY5T69j2GgXWjyhMRbozfi+yDU5AqP2StWzONrJsI5JxvIJ/RICozh66V4YQ9lSvocDIQhvnooPAIvr/MiVi1NOOxVFVJqDaqeuQD+XezirVlSKAWhAl3wsTcK1gDcK/c3mZG6ZnpthORoyfUv/0JXozDjn+NNUz4R4/j/J40APQGINHJcY7+FITKvt8993fmSSZvfFMHS2oCs3bMytUYTEn4tbvuxEdiCCxl9LalnepIdh4e5yUzNTWQ5WQGPT9k/ZvCSPg31uG7TiXw+/OYQOgm65xCJcYf29fNny6HMs0aCe2GCtNxJUfUkgEguOBf2QNg5rLI/yc1rkaKydpFvdNAfl4x91ZYo8D5xO0aCVxge9nYCOX0DtHf72XUOXAtnqyUHm6exZeOZw3xRR8ix6i+u5zs/BMkDMUF/T47cCGdKtlYPgZGhQ1nxG7RiNMlR18heMn3Gsah5496eowTBfF0NtGw9VuPJocdxj9emWwVtYiz9HdAGkA3vaDhFoeA0X0gbDo1I3CwXsMBDkEROTQZ45s015DlBA2JaCAvcSKjTRhibnbZuQrkDCZ+ZS8mQO4ePdBgJhzFgGvKa0j9xgzg1JBhv8q5ezRw3JJz8norPN9MbVrUKrjNAYRve8znWp9jy5c7eM+Jq+7ufLWPQzqdq5128Ss/pIbwwZ/eho0r2JKLf1bHw9hfcgc0KpD86EX0Cf52wkmZmFMIAoIYsIbMiVKl+jEc2t+L9WoF2qPlX30oPhCzIhpC/R/gnPuPgrknOuVdfBO2MTiq4xLcHqs+N9II3lrcW3eB2GOq8W65U2N4FqZXtSaHLheDTza3AT+l17WRBPoi88dCvbgjPdzu53CMrUx2epNCTu/vLLPYYvbdlP0P/Dkm+fHzojJvuukJoky3/9H4DESkRGiy4OD6kWKwiuksw4EZ1fTqz8uQKrp1TrdOTqpAd8ZF9WHcgjWCg9wrYMSuWvRSwo555K+ezhiGdRbR7ACClAMvV5KHMTubqit/CLeTRYiHNvPZgPbSfTKERcPcUkeKLo75wIOIrhVGOtx/NMjsuD16luCUu31KgCcTxS40Zh62ozJxvWhaJUHTBktNyG7XOExS7UKcf2A8K+kVStYPYJpvntiCdI63XYeP67ILyxZKGYzjNYknmDoKzBiLffYA3T7KqbO69UUxpiLUg4lIYEEohgfIU7lGCdJQnfeAOMf9chdgBQcCCga6e7L+a6Ue4/kcpZaCHZ+vw//4rd1YavzJnuXPEH5e9rlRQdR/qv3bq3JjURMY3x1vvaztBU/N1GzyY+8auJvhIkAxqxyPuWbJYINKLc7u4atiXeEvDW7YMeGJPa0/BZCrgTiBghqm6cPTknishkS/0hVzcTlN1kMtcRIfYmrC6b0fMoCPdkMwFCw7CajXK+zbAOiqowIoPjPkt2F1FQerv65zjsK9j72KgScCv5btspBdY0nSDVg7wRucenhjVWGUIrhjb7zDz+7jgVFrSoUUf1P/kycaw78tn8/7hyURcMef8I5DS1ebcSxTLKOLLSa6Ioln32VXWZhXZcKiyM7pJ+2qpwC49sQBoiIOp9H/ZD1c4qGGWNLNvuBnZEH36foqBQuCIxlh/GTO5julmUofBB/Wg8ifv4b4OeC3n4F46rAP29/gB8Z6A4szYwtCfmRDWg49QbKB4GSE1xRnsK5LO0p7FXe8JBNyT22C2k4ukyw3vARSXKI+WFX0ZZKpqsos3tAbNUXz4X8nHCw+FQA3Bw9DASAn3jlhVtUiPykwFirXy3qD/0ofGIc5llSz0z3ZExYK9QuW3sXQXYm2mU/Em/bIvGq0AZ6t2A/bGHP6Hrfrn9FqysvWCSRlbm7Si1b0qPDDsTVvJDEhPuIi+DiQWlx9Fx3hXsCjKI64RThNOzEyBBnp1+foDEoFLnaV2btUtu3v8EOmIHDcYhUUwkzCkQi2D1MjdhGsYa5sHt0FqCtcv/ftjV7PI1GdqPnF/MMw6Zae7fZHJBgYSZ1javRqCVCw9wravXpg7k5+Dp6zeQNwAEV56MMlt6JFhhVl3SG1hyIMvxJ+DGIwszPiWIWfZlwShM6vnAXQ1RlKoRbd9H9/rm5cAxXC/KfZ9W1quCMYA0w8lEx7z7hxEWhFrfXIQPyZgbbQEmn9r0Kvs0L20nD25+oDYMwakbPUop2RCG3Es0S7hUPOcELAp29kdgkz4HkNA1DJuwLMN66N15ZWo7nZNEPAsImYq2RknpvDFwj5631VtBbiK51j8sVHQpbvi30KzMYQ5BT79UmLDFl6HB5UZ+0PRO6sJ0gZ6HlxQJMdr58m4hs5dWDvXYmUpAZCEgFbkt5bKViVZROWjFcAFiQo9Bi5A1G6uaJfvTHhbx3JzbUb0rMEnHvc81hsGvWUTISlTJufOaf9sAYuidyeA4C9Kf/EKCeaLLQhqfRyI9UaDG8RQDNi20re/oTHbcRdpjLHMYYmdxBsk8vOhbKDegleKYwRjPo0zj8nweZ5flbJbZshYY95nJIfcLsGP0bcPEOQuHsTbtjXcp1tZl92pUdn2wVRsHrTDJ2e5meWdLiCa22k/Ooi1DEHX0haS0HujOhLyFS894OodlcUjfQkYe+lZqsOIrIV2sHFlX00CcAgbfgt3tu5dV0RkGraYMeXrn0AKqAkVxezV1pxIJsaFWooAcko8bhfcXtD4+MPKPhVKBLPWxzogIg3cEdePHDahKcGTm5UmuBLMwsTawrI+s/StNUWLNpCr5+y9rQILDTOfZxqs7kLkklXNDLLk9DuVJEXO3IegTwrmqp2wd6veEaGRGAzxdhZ/QTlNMiuDToluvqKiAgf2NAjqqdik50Zo20XvDYzTeOsF0yK53ZWMl39jvnPMDuFjFiJ0MwgBBJ+SjoY/lsEFvEagWAHWgrEst7FEXOIxNGnP+72wk1Nq9Iq2yamQ3SmJlP7LIWAIN6m6acGwJ300+YdDVBP2JW4GnpQYNeGdhCe2KBYE/cIXBgivLUlfPVT/BY6xfAA412SKBXOZPIjGuCJzlmJT6W2GDRKOuW7TVJHuOEdEdyZU/lWuA8qZMXea0bFBLwIzwOCtPwLvjyqrgfTCrJgG7Em0hEHE47FM8yu7OdVwQshG1SVoU6nZbr+EBxfyEGOFdmrW7/LWphlC4GjywKub8dmLSwZ8G3crcLOpAA/vSWrONw1sdbV22WHhhfM1NWtJHin8Z2NAMAoo+igmqD3oX6CoeGyvWYai3vXykHSLAspbYulfOuS7TrBwcE9ZTDZpGwr6swYmQ1YDCMITeH1bgjTF5uly9zWYkFdHqyBY4EEFvsJ5B1iBh51XOXbRVENbVefnbR3bIpE1n2htCDVWM/BE5tSOR5xWaN60TnRrwqIKY1al76TnZWIvtYcr85Vt59t0W/7fDEbCTP9O0aH7sskT8ZP5VcvevU6fxO5CJ4dV2IArxbeORQdWc6Madc7ldYuuhYUCddU+5LpZngKpSusE+j/gkO5ok4FmochzvOsZymyxlvDWIUGrCdoMS0RMFq2O70mMf9XOq6N7a1dD5sOGV0X1s/JErAJmZMfzMwmxMtzPfcfgES+Ny4WNguvizEtmOGJ10L/0fk0xChaXht3N82jZhbrLygvMnXPJQpsI+0Ns5OE3UiA7XJTGxmfjP3EFjHS6YriuNKFmbI0hxDZ9Yf1prlLqO+dIqeIznsPZ2wlTyzG+ePTn8jNyZF6I61fzTowvQp8zLvkMbiDFx3a6jhj+uRM4fsVgOBYXQq4M7ewNZgFOVoeNYS7LGliE2Cpt6BN+b8y2982m0T5fcmMRKzP82KSqDb9uJWsFzus+sHfNZGgE43itCi7Rm6kjSE6QIjlVnnPNFZBlrJNk0Ia9tq4QTRo0A3Gc5P4PSuzwplkMDCwqctsvIRLpKcjTpocTqghulvb4XXOVPXl1Cv55t3HkXhAHvlqDrHIOvQiRVIv1Ozgr079SyIkDUs+7rnuhTdG3QX66z/Opx21czzsn/jkssXfzOPkNBTRgiSXgasxweF+vAl4QnZqj0eUcCH6Ocgw1v3l0PT0Cef0JaivnI82FZZ2txkzeCsHm8XM6NysaprJGfp6a/C53tYf9ZzzA8FBEayTe4HloqGJqkq24I8YjlLziJi6qj3eGnBliBYTw77uq6GPtCWBpl67e/XuqEacgbNH98wT3+fPr73OahK4Z0Hr7tJAPnuEsQWPgBYdMdRNg9iGf6suW6VJHpnSCzoYUkE+tG7fXOtlK55I9n7hA5E+spwjjToGzYR563JTu6rcEn5CBtX6ZN1knWUfPECySDP6HLpXCR9Cehl7EHCvk/1O1MptaTRKy5UhAbgobEHaiPedxVJuvnCbzZ1oDZ7TPpl+IRrYqDlMlmxRFyues83cx4WiBBRjqpNZ8lXbqJn1pNlNhUlhSBONNC3KN1ZhYDVvYwmR22mQ5ZSxs197MF2rEZW8jJanat/1SmmoLY3UxIBbI0SUmWgWy07kDMPdAG9XGrTw7CAJfDtxlYL1dFIrckj3qm1ck8VV6NuuBIRlUUdrdphM1PL44uXFdmn75ZTcrIPaBrkb152aKfPq6G0Wo/rGCdlEBN7swwDJ8AGIfIlujzuh0CZJl9kKP8LrEVKoNf16HfcWoWYdIPuTQ86lEsU2JFwnqvP+4Mpku3nilLnMElVQV2XBWwiFbNbKbnqdE5RAAtk99VKP3Eh4Yb1XV0TRK3OdifuZmid0xZNz1ykmyWj9w51Vi2afVaYs8SLNyA7E6E1PcGj7On/j14U+vnKLouufTxeyUfbfvmPYrIUbGQrInF7Nrrl5doThiSnp1xhEMnYG/gPEtpf1QMY+g4+VSRZyJ31x+q1U9X8dgTWTvsqYBvhTYE/8ILZJBbswotAgyTvLC+Ppk8G8ctQRoDLTWSmXGy9wTLYolhyZ6sDpFn2EFIqcxC9lBEz2bPdkeAijK/KPzWg1hY6orWNzEPPaCPAofTZmKpVedPtpl+KQOBWL7F2jQPg6iAkIukllqR5iThMRHHBw+nRSancURr6FHdCi+qRmjqlIYyVCyFXU6ISE+jiN6a6lvzFeaR32xB83SFIT3nSswqoIzZ5nHdCmEUCkIsgI3346Os+s7nbqDdxAcL7EfKUQ+M5raTCPj6BIYw2p6exGtYsNAH6d3HoEiz77FqMpF72uBvHU8D8lRkF4NLs8a6KqhadfqO5snP4KmrmBbwgIwhpJGEFYIM6nxO1vhG/3luBG1HFosyfSz2sFyDynxyc+Xdlzx3c6Y9WKdDMpA/JbUCngNPsFMUXbbtN29ehYVRNLFXGhisyno2qW9a0bWOrtjvXEr4SZXOrkibDA8JYmHUOPbS7LIKxFTMu+QkwyoM4VcUV7sAxCf3Mig/QFy/BHyaf5ohO1ZHLTDsFgGfwRdxjDBCVA1W2c0LdUXLkfZ5HIzHon4GsBNXtDGplD/SebjeQAJ2eiNG+kETwywiK4WlyRSBfVeGuFs360hQIFrisG92x0BFA16u3M/U3Sau8fYLI7tRlP4/G5fuooLoAwaJHmiex7K+Rp5v+jrZEAEFBB8qoTLM0UvFipg5fi3OEf203lKWjVUT9IA2fYV7YqPU1JWE1GH5PikBUihFCY5CZrUAmVHq7t72qBQHAmXTf0rbJf875+hI3MzJyAYCzsJjtQv8tsk2gmjF2URfFpfS5eq9lNaigy5Fxr+HLwwdAA0yT7HhLQyqE4+TcaLHrXR78GxmAqPklnrtIGsU825foA3ohQF8eD8gq4Gih7brBnpZLQHAQd6N0R9tdhx2UB/EI+lkZQjTykmOToUrwCV4gZ+Ws6c3eb/tzNfWiXzTYKtxjF4vYjKwizP8kRi/+z7KgXHUN3bwcxt3u5ctGbN+vH6JR2swrKrPT7fy0bJLA+Sga+cANbPQ9BY/hGkZO+cgr6xb1ksS1Ow9q2v6jZS95mZrjY9tF+pUmpccfjjSzr6iV6eCopL4Jw7qJubHw/wAlAr7pBHUL/zQ/ck5QvrBdjFWZUcXyrfAPl+6Fid4YzA8jOx1zOH36C/2kvWPv0Zw9SOn0oAmPuhIf/3XJnsSTBk10fFdyU8U8rmxveBEcc6MOGkozhWOPcttuz6es3WyGc2+ZGE1U17Ef72Om4Y943LVPZk6mOR3gi0Lq0Xb4VxBpBODvOFh4Y6x7aTdvd0DtowQsYBfaqhJObEAi4/0CEyfsIJWdkFLK2P/RlCgzFSwle3W2rmB07NDP3Bzis18YUeILBLd80a2If5BXU4VV7fLoIQLaNkOmJLo0qeg7juI1xtr4gGE2HW+hYXqL8ileeaNQPn20LTPOX2W+xNgRPHXuU+FWVnJcXUjggWUYWy6NcFfQMR5A/dVlQM0+dQRNmyYKSgE3LK0aKlQkDcAf6lpIDt6U2yYLKVL6JpmhFojItb4GpMR7bFi503kDwzOILszrk+DNG5fZEh8OLodq6HBqJU0Cn81kh5wdCvuFJqk5PFNsj+Rhik9KPccZl8Ohc1YSvSHqwawAlos4DlD+f3Yi4qciqC9fovnF3r91NmXEnOb40eQCA1yRiuhzafvN33DxQChdtGYqmkbF/dVl2RfxdKRBOsioxGq3htvgPaxwMDSfahufYYZ329l9JVMWtJqVZK/R6nNv9zZKkx2wFbqobLaevQ7TUPC8+KIQbASh9cNsJyKPPUiTMXK5CVnjnZAa6uuZgngpALKf/MilGJBB/zG0GyZ0CqDFajFhEGlz0/4ouUrRtpFhvvtxYIH3lF+qcwtuXSRANoU+OAynFaVJTSjKyMUHy851S33P18H/D1CWYLSn/1zxIjTfZrTEMOoWMYOWXC0fjoKxu/jQ5UaTcdVl9thSllHZPG7Ox5+X4/8tVazM71YtP6eXdOtdtiSDzV5MKtUlFuSZ3ougXC/DA6VH2SyzeRiDMOk1xhGsoDleYopa6jeMHp0ePp5jcp7qGxDVq8MG+fJr3SWbGxCn9RDl+m59/eGRa86Gjey7CJ2znwed35/Xb7cYD0r+QlD6nKz48O8QpgHv9fUP9E8erB0qpqq65fQfcSRD5QKRssHhVoao7Qth+0WlZJa28Sv0Rkoem9AqQLxurr1afRacB8KeQ+y+UQ5wqJDoaB1s/7wqcr67VODhl+Xe6z5VdkLP7Q3zqBeQNtfLmHxRNP0uXc4G1TBp3rQQ3pAdGFyNTgit8bQdItMF4My4HcMU5FksFo98lpBz7imZXm0VQ7dLiWitkAAL/dwiMyDLTdX/PAqwOhmyEy7ny3qJu71vgvOPx6LTVHlphmdXm0DBkb7F1qxmItrvRy6wXxl8rjaCrriFKgd+mvmD8s31vYKUaw8lsusW3ks/O5ML00fAw9/eP/oKRz1P4aw8vjBoGsM2AcNxXjxrqf1usPeZh5qUTVc5M+U0ZT007UtqWJHNaoM8p1X9sZNncAmEebtJ2f/ttbvYs5dt9TlM9cwp6JUi7GI7Ru9YTF0XLYZobg8/kebSuXeJj7Q7uICRPsv/G2SU5EtAzX1Tc4A9Tez3NOODV5usBco9LKchouXgIIQijgDpUmXk3FYnktMkV4/Jas67dQY9oRYbVsMsMSklBl4xvcJVPqQOHNnN5ArKhLHgc2kAwQysCUzKXoHGQHmNvsMWkK8zD09h01MNpUuWmq6zDM57LwNKD5HqvFoo0AZng08UoHx+mAM90Dt1OQl795A1TYLrxlHMI/JcKeoe6NSAqTuGwkFMIrDzv4ylZyZA/qtAAkxRcBKhsOtXtsPRLwqhKeErqYU19DYDrc8X9k76rtZbwNnspnErhT6jWrzPovzPI+l+245ZwWTbm5ZAPnRX6eQtwA/8itabyTtZ+EaecLS45Cjte0FjIhMF6unz3q0SF7fmswyvTmg4qmb2hDsvybv/0KvcWimLCZ7QKHDlZuWwx7UDvkSLhJs5OLMYWoqlQgphm+/04+oN4oQMlEotwhWF7EeG6YMWFF7HkNgrvq8+I7DYBLnP4HECaOdrT5j3xby69REE7l+Yt0jJkrvvuQRwXB0RGlQosNwu+jzmHyjM7J9RQ0nAFnL7yaMnVnbh18Z03f6VWZfAoTDmpW1SsiQoRbBdgls315sv+MiQVnu6ZZINEH9MjjGQjEOk8T5Ru6w7Y6WyM5EHPF8xPounDOBdMqD7lr1YFLgGQ+3A1D4pMUsx1WeJlDDujoj02HwDBPmIro+cPAS37pSGVqtK3F+ibwCkSB929MZzVWkm8tllQY3kO/PLvSiuBwi1SxkIUxkS3osYz8QlRmIQEE+wA5RuDJxZrnF+QI2/kpL7fQ09yjnymMwgL45Lw5lrMTfnbIru9veQUviDUBFddkQka/nQ3Nz6qbH2nBdy9lwiEmItPDkiIn3zbUE/msQyq31pZ7ZBgF9N1eZEXlXwYrwQxD92bxWKg+uqSy54dVJgmYRO32c3AC7JeoZqRF7v7fd8Ho9DvnOW+l7qiiQzKCW7hUqE30A/n9v9I/x8G0pXvnxzijRqMbTKMBhqYuiGFPEsIJONucKT1zo1L/vxYYhDemk0XcAXczUI/BFDfYcYXUQv4lXdoX8wboTVyYDeSp5YFvfCnSiNgw65fWjilRoDM+wXcZIvZnfB25i/SnAfqt0Z/moCHk6mbD7Dv9An495xQlIDLCJ35ERnmey68HZyNQtXIWOYmzdj4N3/xOuRMmcH3XiIYOIChXeYv8ajp8cQrVZt/zyq2e69zZDUMSyyHE9q8q8Ohrmu8SKwwXOTAHXEgoBbuwV0mkn+X7KZYGbd+lDIY2/E4QH0VDIOhTayL34UXreOGhrLQx3OYR1XlZxBucM9dU/4bAay9PEXrNBbUZzvu9d9AZxLf60cIiTCfGBCFEuETqhfhUyoZB9wS+HthLFcD3Wa4r/BJpggbiX7kdV3TBVWpikxOVbbSaURe36foLd/h88ly87m5hD3Hh4PW0tGD8LXlAvT6iDPfAJBzyUvGS8bRKs68Hhu2hjQa2xI15nXL7vNwiSABV5JMe1Bjrn/HtmjX/UBh6DNVfkdqDc6tV93knJW19t/9WIHyWofx/CAg1obm6b6+FW5sxSus6aQe+28IsX9gMWy1ai2yiy7mN1pF+e5ojd6doVSnJqkLVHeOxxTG5YylA/fBfT1Gt9V9VPD/nr73O7FyT2D1T50cOvlBtqavU8w6SdjLogrY6A12DR+hUrEKtuS1P7kWr4/3bJOsvr16i5YJ6qDkK0cCuyEIMI7StrtyDHWeijNA/yopah1NlJYqc/f5ikUc16w0ep+jwazP5QomMGwXnCL9cHoKLnGW2v0xpGUauy0Y8wmRGUTDe7JLBqwhgSpbGjOSRCm1kTzih9ALoFOlPDYrvnjBIbLpwhacggwrh52W1Z0cDIuFC+cIdhECgK4qiigIPdHBiDDO3ZiMj7a44I1Xee9cFlg/eLDUmvh031iOUwt32uaQX814E1+sXj0OrCg08sEZW0f6P47x+BdvmsUn5h1q4VbnaPHgpjnXIQr8zwF0ajjkwjIoIfr9a3tbWgpjrFVRi3NDzzN9i31LqPZTeh2l1w0aX7klC7B8Zign+Sq3lel9nMB9y5oCSTmITJt9r4nbpSvcbF0B54otWPzCuRyoncsFZWuMeJfFJVYIwghD1rEK0m+dnwfBZaD4qW+S3NFazL1Zy/QiVZkd73fJx2yjcmxg0yAkmoxBZEZZUA1Dnb7gHS4rAseWQCkpWEBJ9pxC5R0TruR6nM2kjEgo4HNshc/GrH7CKu9c9h/5+weOaA0VDI0xGjI2o4sdX4iUo2+Y+JtthVHBW342hErFUQLNAQjVVL0jjGktOMwKhKFw3x+JamBLYZNIBXFE+geclgBXOfQcnSJqW+9piN9nOP+wQQYoJMPBKs10twzRlHAr0Ipa5zYt30KsY+dZQxZZRWHBSIFP9b75br8Ni3d1S2WqDz5A+yb5ZaN8uiGGYLV/8hZJ8nsXE1g7VS0qO1e9dQt6DjSUcXH4fhGrQC6DmqPDpRuc/OmUxte6Xt/pnTrH19FdOhAqRPS815VrSvmmtzfLHj/1LJdcvqAOil+yDU5YnRM9QxrjBtrBYwK9CPRHNTNFhqgZiIirkCEZPJ1CK6tjqIG6G12w+y6DJCClPzdxY9azZDaiw7lor5ZX1HAAwCjBFeEOpBDbHYf2dzU1QnWwENCqcopUa5Rdai5E86kcjNK+ODPXXqOtduWe6yPQmNaS2Do+e8vBWYTxMqL5Kb0xW5+CwmyTsuklljH7pgEcaJJPnlrvCOCkxtCgPET05gRwHbOJNOUfR1LuGiztqvvLc3MmuxQ6SyghVaIc/F4+VYw8ncIB/4sy7d88Zdyd59S+YQcGWRrqWhtJdIOJ2TtTbkre0N3Z1x6NkE0QCX+7X9txUJAS2FbtIlUtzPRGvGsr5k1wIUIuVFEAG8Fuq+/0MkB8mcqD0PozV/M0OSmkeVYn9jSK2wgq8vKydpEvbIYtsCV2Q/RwO7UFojuTDx2oEj1/2eOoda3ly5o4s8XMIj/sFnWW63dkFeR9HNic332JBl3eD8/RrewZ99q9zBE/Jm17jzLrZngVrnqB36d1+8CsSHBHyJ8jLfU0ziQ9IDDEELMNp8grcOPVlTwzj5lDiHiV3VRUAWVc1+ZtFkeQygvOk5x3t6tEK5fVq0d3C7+F/e8L6SIfAT/pwie4wD9+Qjh/pPe6RtvRPjzzsPfrmUHaG4xfQ5hhfKTgG3vK+NRkOq0HzpO93VqEPxOlSuWYqsKaaKTB3QGujXIw3pbNUFznI72H5+vCpADVvMdQqiHOIpndshJX8rjFIG163tvvnIG8qMjvZGdjfnphsobMNcbzZDgv+6ojqV9RMjx57prtd898D6x90RAlTo3Vq2RBhpoN/rCfEX97yg+Vks+wnq2SxPl6j41XmsUfmtIXBD5D/A+yyOw1TMRF7DANqnG2Zh+dnqMNTkjDzitpnsja0SqoV8aNn0DoTvcUcBIprbRD2GFJIrjLGhm6AjSZlsPObSA1ugvQYryj5zEVVpjlVBQ9gNUAR4Nl+Sitoacv5t95nJrjdEOvtopWjDkd7zpyC3KD2AN1ne7oQXwiqWZ3w40y9K28dFJONAyWnQIsYsR9ddMhZkRRzyQg+8LJPHyQ+trQ9NHtY9hUE1pfdYgg1hlUMFY8DGhtRwbMKUtWAXqUYxDwdHCQ/7f/nDfuT4ekVsQBlX+iQsOj9AJb0JmCb/4/x9oUlegAe2VH6O5sPOO3M92mldSHRVuatQXutbBJtpX8+jW+7Swa5aFrFYDMTusbxHjXWcZYosnEKXN+nUWReEglj1vF3/pORDpCwAkBQOkxvAYSVJri7OZQzKK0N5B/iU8I8CmCJNbGLIVxA1opXt26OmcVPfyF5KWU47mkxbaGdcNe0kl49k5zaP36K1/2hRk17nLeLl7n91aCFgS00GRZRiZtNEo9QzqiTmumwCSxkC4iJogInhr8vXLsyxKKbBFjlq7202RMJHZpT/J8VJqJxJ/odxIVpfJV9bldghSjc782t9C4mXCsEOAQXxGAVswgbisPdWS+D1a9ROyapAFJdpwyiW2AaOntXh3J7w4G0loVrDTpa28mnMt2ptG9QAqb9TtZrK2U857N4AQv9TmuOPojcHxpT0uOClHFRTAiS/rWWOWPFDgRiZhM0t1LxLJsu4hZ2YfD467EdSASiGMQOv8TDLdcEBm2l3WPVEKD3QOnpBo2oeYuY/kJRm4Ileq680EwjGquBdTQAcezdCeG44tbjdVZccUm0uYagmD89sPmF7brpvCx/hBEs8dRk/2Iz8/tbC+Q6XjsoYCG6LbiM8DY9MFRBnOZpTVCapkXV4OPOJgB1SrPLzoEAUVjYk9wAUJz+8oyQAoDlRpQheIih3as6MdkRZnyKauFMfTffr0P+z35B7+U0oztWL24LKERkzhIlbQJQpgd8Xo+3TN1AnzKzXSvY/rVdIYWLDXn+v1LrS/llmtTKeGOFqlNiobaZsy+Y24oHJ8IrHe44sdTJpBlGoUW+ol/8CPueJAdtEVBcjpAJtFIMCihv4+BxJ7reISymHaTKhZf8fvoizvfF9U+YiVumawwV7Uc7MKwTV+bkJCqin50FLSi7Pgjs73rWJqEX5jzo0/cfxyl/osIxY3oY5PcXfg0xK0uNsWee8Aht5uVY0ow/UkktoIcDVJIxu3vMtLDimT1Y06WXaiWFe9cM2LqEdAzTU96zVhEf0U+6HFEqGSouqFZQbpYgQBPEOSOENtEwtMnemfL5AWudfgpdryqu7KrTzwSQTC33hDb3n5vfRuY8cczpzMnakjb7YncOxLJR22KFzdyLtEMUIXBaNR9MCeskZ0IM0YqQE8zmd9wK55AYXfNB+HVYOODorfsb9iRtSuU92pZxzyNzZLlRQYIyAhvr6ooD7wB2aa3RrBhX5eu8tS8lXXu/lJxLTWdvbExAyD7/VzL+i4IAYJBdjKBhNspblDPO+Dvpr0Szm6LAUT9MG8bhkm+tyuq5rhhnUME30neltTbdg9QcQhGdiMOievvfXlbVW0s0N+m092zVuIpbI6/mMjcdjiV183+ld662GwQ0ts9+N8SpHtSh399a6+2nLYDLLJhSc5Me3ZJg5YhwaPeDtY3cVa+Pqb6PhkYbk/mZfgLEg9i+1aYepmOFRkpJstSeA+H1ok8apZwHqGovN8+AFga5+2tu7O+Lp5dp5w6nMh1H0zXJPGSUlTEo/110K5GhTX5Sp3A6PmMSJkiY8jT7T4rVwUsqCmyLykcLXD7T1XGCfJwaiDmbQPGyVvDO+rAh8apQAkgEmh0SxrU7z2dQmFA2I28Uw8qum08/A3B3fcl3FukFPl1Mj49WBrSgyV17e1TpAMajG3HTZYn2Ssbe4KznN5pnXPloEMPgtVwDRaxMKtZfUJ1yoyFhVNDFQ/Q9Znvqsbg+y7qUGyra9RUF6wPXeIASZO6mdVmxpaMa6hfSSU5RrB8535Zre6tbU3qAoVu547pbXabHm7ILzqNIkwTMUb8OmE62WDk/sqR9rqC/15IKIdZiKxmwha/LtFqmnUFLkbRicLN3ACbPQbJ5N17oHKukw4VslBTbOQPh9fbIomyRpAhfPllk6J46tJDZlqCEGLv+NU7leAm6zCX4jZ8ahE4XoALQoR+nOcVTo7cEL3zvSF9EVj/Qg5Z6OSD15yhxxeFEauLFtFRYitGtIGwX0J5skyoeRAGtudD5RNOfGXQOfesBh4z8+dYarF+yZVgIAU5b/gQN3vDBO5z2gCY3A3C08Vf4c6W4g/l/QEDy4TKsJywrxPDsWa9oW5JGYee6rzI2EMbb3//FynyUYvUfpn6zZXyd9iKWfLOyzgP5vrpOcNtij4VCPyFzovH+zdiKnfIxvKy/jcHvGK6pWmpjWQdb9sXpTNYl0JAMS6GbL3VeEITL73J8vV6sRGHYX9aRuNS0rcsnkJyLzO/5mYs64viZG6SiV3MMeXuQCVWG1sUGnulPdPNdcxzybQ2OdxOEEH8DgLFaYqoEutyXq/3gUnuv+yLJl19bzA4u2JsjLm8HwyBKtGetDtlAdd44beldRjbplmAji48GMhrQhqrDHUwGwP9b2mNiqaXn3tYErYqZGX+pCtpgDH0hnOyIo+7WtEScnjfXCt9S4nNmF2/ngdn+RS0Uz5J5rdAoQRj9CQArbAH1VGhoZ+hMC1mgFmzWBouufgk9YQ9KDcHFyd5ji8kjXsQ23LHeYc9//tSaJ57HqemqY8JqTohgX7wpjPdlnAlog3Wlvra1uEt54XwNa95qTc2MEmK32JL7sRR61nR2jk5JuXBqdqg5aZoW2J0RWBl0w+47e3njitOg1bcDMH73ZdlBPUSFZGR6mFOzLr5ETrjklpSffuQ+YEAo1kPBIUhyAixRW47Rv9d6mzNfzFKkjALcadDaMTa74dlZ14T3v8AE5/a2t88FvuDk3S8VpS66DEPhhOSK0JWRqPcakwsQE0n83XwQ/+Cz/hM+/5S6vcFkgQ3cSm3rUQXoOA7y3G/dP8X/xSe8fsb/yKjw79wAJ9ZpbQLj4LSjh3e6K4/Uy8nnKnLBUy12+UrykT4YxxyQdPHaHfizXJUisGKqZ/eQyLNC2t1bqDypQijWaKyFIrILUmIsjT+A7V1dDHDD6XP+BD0i3c49c8IBhFGIbHB9dH4MNmezj16ehCxUlY0eZz98Sb/T6ROH1Cs816R2GQLxkUjFZzVS1PnnuD/LGgs/kNOdwTdN6rt4xO3NiMfm7PRrbmqBxUyjMMOB3qSbvCH45eAZyzAVLq2hr4qRiGSVy8PJrXm2UMvVKRCDm26UBzTCk8IEGXRT7UtxJd6XmYBAg5y7LS6nHEZExZ095Cl6tEYy2mTqJFgXQKzgH3/qDohOfvDOKV/wgtPh5/hA6inA7ZQg5yHrLaNspCp9mL+D+gpkooqCDBR3XDPQmkvB4adnW+l5kSfL4P6GraokWJyFC3tXeMRrtUU7WSrNFl6GKzbjrJYL2rYrD4fgCfC5vlQnKOswa6jXMsSZZzeB1p4BUvk8uSfD0yZWOUzxBHgKAMCzyvatoq3voZOFCGbDqMm142ZvvvVamI6qnp67FV6TsRKtoqmFdZLLJ3/g6hAsJiG0sa86r0J0nDH2WftjCGwe/iiNf0jfjXZ3yeex8nRECcfWp53XZdGXjLaHGnE9uAcKrTHud+2NsnwfS7MV9J0DCuZiis1Rdit5w+yEiizaxMwO8O+kNkCKK1TrWYE56085XHcu8FhVh73i9Fo/oB00Fm08aop5x/vBoJwkTQdIeie9WV3HqKxny1vkM+BYR2sXtpYw5nnJs+SqypEqZsH1YfEcTqGniaTy0gbgCtWCsnjV6m7Cjj3hIYZOrlppKZ31h4ml0RRMax8O07yFMHziKOT3OiYifwPTCnCNeTKsKXebjdJsdHjvswt/BnEKc20Q6EDn/RGTDpXs7e27S1J4nh5EHe7XtgGvL/nofVnjTwGOmDU2mN5LbHk2Hx1XkAAHpoc/LkauPiv3Hl9AtIo5Dae/MD7uzXFIPLmSOZUwQHoiRn8c7eIQqE5MrTLoXqcffj2Rqmp+yi8fTuYW0e2hDHDk6ujPb7INkb0mLGsdBbWoHO9/5hJIUn9VtSAXG9ZczWVRU4YJncxprqVTl5M/ZDdBjaY8+FvwywwpGduWLONWft649ngLoVFHKZE9cGAJK4D1FWhBLsZ+dvY1TigzYNzvasSflVXSX1LTJtOWsZBPK2uGL9kLXQFZ7MpW6fOTuHogQKep/ZEIzwDRT42VxzgIlLvI6aJcjP4MDi1gW5O4672MuB369zvM8DRIqi4rwy6RSon6Rf8j9UUudBOVvLdsqii6Gpq74xp3KYzJWHhJE8T9gfxb0x8QlRusETCNvXk8Muk487DysRTMt7HBxgp117SRXgCXkv5NJIdz6Weu6Eih86Qok7x7dOhGQ4eNBFXo9TRLg6N8hVizaAg7ApDYT0b+SVSV2oe/rrd+9QhNBt96HDnrZdI7P7pnnQmVHIMFrhO02+RW06IYGCqa1mL8H47FYumJQhQG02L4L3R4Mp1m3dhG3k/eYMtHq91DKEZpPB2FaHwR6j+7GSOw3curCS7rb/1YgP/FMfL/KwfWjY7a7RG2QI9gdy40ZrkV92/nlxyzTa+MRY3zGzCvjk9P2GPlx9+L0bs5E+j5XExUF/MTzJk7XpZ0G0KZ19spTzwgeFXsPzf/4T35Ht0lviEBuwCiW9Z28I/nSieyd1Wa4YlP97IrfUaC++jHD9SPxyMNK53oyW1V5xZoF772Wr8ryc+M1gPHxI0anssvapT+syD7omIqNUiFMw49CjIl7+xBL8QsH11Tr80nGyPJ4tB5QnTO9K6QBKFWhIBknbLU5TIP0+/lcWxBP/Nd1cncifJSP6G9yoosa9QL4GYe/qolaxQPUqXXAh9AabCRocEVgyx8/nsvdU5ryGi6hE9ruoWLeFqdGsv5nzvfx9hK5WDFVJCvAeWSpD+9XLubMYFVEH+cXrBkSHTfo6Uei9pI8x6DMdOrhn/QhH7SQnkHuB5UqcfF0uEO7GfDOhQy6Ag9/0vDBePtd7FIJ/cbmVe+JfJuhXybtp2ehoZCrsP7Gzlbsm7oX5pB32mLKQx0ZL2KwTYaKC1HcgY9cRcoz9M0msPH/Ec3jT/kqwnE+3jcBTQHuGN6FPJFHsQTXCzafFZojHG2hcBbuU8Krok7/Ep/tAHoBVEziRE5l9idi+ndyhQAW1HPdoDZQilieMuN0ArU3SnLr/Vc+t71ERHRtuUvf6MCb6XF9QV8eq1BuafFxNqEx4Y1VsEOZP3dlmbqIv0Syb+PRBoHsEKwPBHqM7Tx3tSmbyiFUw1WN0DdkOXZ8BxyLNhAXv38uBYl3Qceg+IkVpC2C67rAlj6jiP2Xt4CgqDsjYdQ1dArGjqnn+jqv39y2Wq6JDxqRb7vybFLBHwKxIVlsjP/8zEaysGJVAGXaRIfX/wtaMkyvgJ2w5zE1dp3eZHnY4GHgj30OVvVoHgamKe5OdLWLaSJTD9Hb01uZ2K6/PcjmvCx9uKapWQbiOhPoqWrUPKgZeqysEi9+jbB6mmSrUzjioonGZpB71m81ZilbH0SWKkRM+VpGhU3Z5zIA0BE05ZbqNyxCPjlSMDQHqjlUADil3AtOu0Ru7fLV2zsC/AqADUanDMhDLTd6rlOI9x/nJFuRkCRHK8eZzKJjC4bVcnLI9kvb6Rbme0UYVz+/LEu1L4Oda3wP08SmmBT7PWgIirHU+okTBfFhBagLtE1WM5x/6lZPU7wJj5wopAh8agSbMHt63YMsSpeqBP2PcOocWmABsN8gfUMIKetKCilrQxL7tnfJ5oXASX7Vk74Zen9mIzOB1rIMTdCedJq34Dliw/VQlXcibtZ/lkcTWN5Mkonvi/GhhHx6thew9zKFpumgzKlT7F/H2idBVGiakMZprkcDXo6lYZp+ftHljkErM+MEVy33EP9pFq3t/ud/PAe1i/U5R05WZPanpSLP0CzGJfWS5fU9r59Xm/JcNaFRxQSKuV24Z/JXMe+6mKaFhVzPYfAkZrR3TOskQm1j71zQx2r+wF28tODZ6keeJWqyEDUc3VZvKWh43Z7uTcL8/Amf5hi2vRUHZmJq6AEUg8BFhV06y70FACSWaqPSrOK404t5gHGtfbsyLFSYsBNH6ovJ0h7cZR+BDc5YgipMsrae8Tnct1FW6FXfKalMMWgkVb1Jzyy109Cj0nNPMfMeJtSTCswFK9sJ2RwnI0U1ySPAh3cD8l3DpycCWb1P8st79M17cIJeQaNMJrMZN+KHKTtfFttVcraUbVT63XEoJauRqB75B3TI4XV2rjWo+TsNYZeXVKkGG2/yLV4R+QvHtCRvrG/KEi6FU3WfcR8SFXqUU1XOaueUWpjbgCpDL2rdReUBaTApANQn29Xw84G9GlgifktGeb5igeEApVA11maCPv4HOxbjmCsr52nad0A/X2HADlZ3BC+1OY5VcW8yJRQENCrM4rtEozkYlg9VFI3/dojq+ocojoSG9L/d8lsAhCar7GqBSJ+3YiP/2VXCkaLATPmnCDn+7WwflYamPP4Vj9MatxgofDYgeWMUTdDz6VRH3AS9EqFr6/KHFdYynRkNpbtbTkng7RdbckyyCWIodxnZGEGh5ZUAvcC3ngGCt/lTS16ZXNjO/vmZVeaQhfx6v7rvmFpRjFxUatVsCV87TxwLqP0qBFNriCKboiVkWsyrjpN42NM4+vvrRRgO7ir+O3tFk6LZSGIVTMVvD3Fp+ONGV3o9PlNuwdO5gq22LPlIsqIFGW4yFCw9hTO9JCbaFKoCzl0aRBg0iUanFArfUERHSYXSqy/MOh0z5ylapKbc0JKNDLCJPx+dZZWYK7INcrNIybwri4t38B6fGWGuIzF4ZbgKqt0x2LpOKbnyDlN1t/fOzR1zFUPlPaj7bBXuXqHUmdBbBJKJvZGupaB5y0AWDcKEi7ehEWipu9e4Oj02C3DbIpzQUkOmn1+JQIqq+myp1yhhGfVZrHv1XMFsWFuEcvdWI/62i6EROvKfkWZxobl0shhosvpGX6zntEHJfDj0oOmRjWvB/GhCLE2py14ZUkAD4/b4MwRS9vyydFCk4Taz8YbF/r8oMol3Gzo4TPALIQZ9C+tnTMlOlLXYYHmHn/uLA7l8oVu39u23P6O4aYAdKPG8lofD8chrPDrF+H+TnOTrTADsaDib+iesUOn6BQbf5LuYworBgc9ygHtP7K5CYg8vnq9niERGlfCT6FyUl9m1ZKhv8qgZbt+yGm1a5EilOYv3nDoP8LBqKlvsvw1sRRR4bCzJ+n6dxwBHk3u4LjnlK5XdOUapK71a1VuG7KixHku9anECxBED72vzc8Y++tdtY5thiz+DtkdTe+b5zGA7/mP9bkfATbxTRDHQ+D2AlOXYh8hAp032U9CXYoCX/ubmXAq5gfJIFJrupCIqE5WwBvaI6+6bakkXEG1nE+jzknAGtPBYDwkaPLhPIbzQvaMsGcN2HaZIixfEJPMP/L6L+Ai+kauBXJ6XmiI3D8EwlrzxUF9MEDXFfRP2DUIXp9oP3DSDErwDpfgm5jSfFBc/ml/Me4kxf8PRYKheWTMur1WZajC54eEO5cl3qtlLkVI4akm0TcDdxWEzk4k7mtgFZyPX3mYL9+5dZcQ6xJ9okaUmBkwF2eL3LIiVxVY0gx2h4eojS2Fg5ec0SlXSzOh7i96ImV6Ngnv72i/feCpZZ/gvNi8bTd4kQZGKI42PERT/H/bzy2ClBxzEGyhKUa66C7aiXtjCoM3knoggqPtdvexb4bnusDLV0HtPz0kbsBLpJY8P1EUW9oX4hvi95WNYcLK9AAumfvvypqpSm5kg4q2DViwI3u3gMC9m8kdWN6uKi3FWtWCE5Elv5M/e5g/gPylhuT1eiulLZ9Hqc4g+5ewnjNGmtYW4YhG6uTx83oNUAFyfLEnORM+6F3tXYKb67IXbYuoTwmPEdbgJtWRYtQSyaxMkMyJ6jDEn1d6f5wzKKt9nsi5fCdTuWR1Q0ONdSgb9qbDh01uezepvMEYWpbO2FrT7xTsq9lzIcZ3nRmyMO6FvuE6zZgN7fOF0lbAmcbnW5axv+kB7pIFjSvT4Uug/zklDPmAFZW3KcDwgzNWfK6grPEf8vSPCdynKXEebz7lUdbKT1EjfkVAMl31BCtAhMKuFTFaRw362d0w3Cctw8YJK8XjC1KCr6PDEl7bttYlL6l6xTgxUo1k4S6dITdvW9xJLKC+Gr2Q7lkk8Is7EfG6FuuYxHQ/ysFJngJmK7la9bGVnDoaCvjDArwdtG5EN/3D2GduAJexEZhb2liIUT7XehWcauCENdSVo8badGHAlu2KcyIPiuSJwITJM+Ndwyc0NPS0HkgbjMj2k1zN7w3Kvz3cr89gmIDXg53sg3tN5YYGBQkZQceLROLFzrRuKwtEU7kSyDuxf93eBYtLVqWaiYK6xm3onaL+uKsqa2PHte6xOHuel5NrCxehNLYcwxvkyiAS8EgjFT9jCLyxKeO54Vy3TJFsQLYJReM33OqFXH7rdxb5RfvEzKN3XMna+H2dkTH8jx+7p76NVKY2V52QrikLHX82rI4mwLe/noK3CLSrvI3f3y8VuOxyzXLljy0f29U2rPPlwQ/KPs7sEURMrPFbT1lMqs8d6Fudn+Kb7x0chJ9XCivmR/TTxMz8kFvHzzCyVlgm0TWKDZENmCuoeXBbLmZtKzvTX/Rt8Hm04OmD/5NzrPWoI3KhAaw+tuOdkB1igx24mvLwa38x5atXQUbDKiqd73jfokKPuPQ7JLOgGz1K88hf4X9ra6L7w/6PEBM+mpaJvJOCO3HmKmKF4/9L4avgdPdjtZ4nLBf32uwdczNEsU0GoG4F+T/4msqEevQEqRkdjDia1pjwsZy2DuAVKHGpI8JDCNtIbSCvf+aiaIvRe0pAp1PSNLIDoAoXY2UwLz0hjD72QaUi/kdqg4TzBN+HbgUfHYD/nlaD2WZuWJJcVWS2MlezVcpaCK5QzUhMhl095052+rpOw6JZA/fVhTGMNtlYP+bTkqzF450jGC3u+qSOUVeJPAxwFZPmQrSjsy446Nafs8u4XeVox1XAXBYzvHBO3luH6jGZlJog4cZn6rxurlHCJkUkV+ZhgNBx+im6aLUGQ/iTWD2EM4Kp7yulrGdMgF8pNtdkYJgtXIpTOwsvGfwQ0GEMr+1D92bgTHRgGbiAN6SGPARlmMkDCaXICFRVx1yfzGmf9P7Cgo1d3yRjG5IDA0p2abR8c6d5RDyFhsVHMcA8xN/yAS+4QPL2hxvubw6Q7/s1yJ+DKC4/pg4hJE8kMyjWpe2Exg5AY7oaoUuHTsamkdDTqlIcOjkcjMjyTpmoQw+A/q/5uw3iDiC1t3sTyB+iQ/PNWokJ7JWiHmrOkuIZcFMBVUKeD7HfttD8304bpByRY7kFVmGJDCaFb438eFFo5g6lks/ogyKpLBFgemlBe2kLPJUAtE/Tmg0bl4MTwXkgaVXKWHcLrRZSdm/ATZ18wivuQWMKoPfeUS9ACOc/HW0BY9Zm2wmHHQVJhRPmbXiFZaZ6nqwS6w/ZsE/BDHJYJBuz70BuJTWkxGf1ZNyyeOG82rJQ6GcSRkpTK9bwES53MyDe0+lA/EQbQwLtE63bJ9VMdx/VuL7VUcS6MHrZNxRXMm6CrauswvITZ8Nwld49eyskDpTqthG22SzStXal1xFQMKX7rL0pKqXyasxXfAV5zcyNZD384ufPKszG0aWNsQH62evoZXkku6xQe6ra0IMfnoUqazFCx1WBqaWYGKLE/uzV/DZWDVZcl5m4qmh46qQ36wHbAbZf3dqUgoZc+T6q5S57UVCcJG3ZKCpT1aED5KoyROn5PbPAirxsh5QVxMpfvLdcamUwTBIShlXuIf13y78uwfBknXSey3iH/XAR2yQCPZ/jqrtgMSbyx04/f9GinSnBZgCGQAeEnNChT/hHJasWjlAcHk4pMHqtS9rlGAjbDwV/1la3xEogpyRw3PxzWZXUfFVvoZJO89q7kdASZgkEojKVZGuirwuYan7PffCk5OczK8ZR55sMFtuFMM/9z7/CNujVQnzj6edBVOjtXg2y/75wi38IALW8aLzj4yn5pD8i6aEOUVr6Z8Rd27h6Sf42N5iysut+cqkTlF55l1+7ee7JCmdlvocCAA/wS/+5ajWcRvTxOaN6yIopg2uKsU7b7D6EYVZhLAKuQdhK61na+Pn+PGcBFnVqT/Lt3AAowxfySFhgcM9WDOcdCqaZr6pdpa6PpRruhwumVCHzNACkhBNUsfB60aBlmWhbFloGC/FJrDAERLejY+iet22CzN6X+HiOig0UqfpxusLO9R3th+JZyNnrZFhoS9UpibSVqtqg4nNKcPMRUSQ8lWGjpayRr6tRX/LMZN5dXW6OfxcPV370mlP2JbV4OKB2E6bqh41+3dIZXs+XMl875a/IAfj8GTudRxJZxRGVKi+K1OF+TdXYJZgCVGt/D9TzkorY8/YPVdD2JKWQtDM0U9FPzEqJ3/h4UewEpQCiispVH/1af7oAm51x3oEGfLBAHh4t0UMR/JRd0MVJ0Oto/J8zYsp1NfNZ/tlzEZdL86legJ728zi6YnW4TGAjJ6Tk1Ay8oVOdkTwPBQlqDb4zmYAkOHqk3JqvTQqBXZdUK9AUqb8kBwMp64IBqK3Jr103gAyL4UBXzcG+8dE37ynAXjFjR0ouNNfQGZfhq8jKptLmyGB481ZvoyukYuZRzmiYPEl8Gibfh8SC8j9grYxDZ0578abVMzQO/EYeBKPOdeXOLMWHS8SPBoUXKKqkZOf3gHlpS3E/KrvYK1Ls4I/0vYQ1aYpTLAKDjXDmkYac1h+j2uhOjEsK530g4o1V+gGyqMr4r9zeWQArC2t7936OxqEq2iT+GvFls4gMQ7eilC6kXp9/0Hc4Dj3Ys77OI97W5BcTdjoO6dSM4x3Q2xdB80Pk0xIKSTsSzNGl1jFh6nnTWletbsfU1g8PRoOxueGsRj2dRTMQzTyJEPjhSSCpYa9vpJlKA50NPAG30Hjd9bbUabaWC5SVDsd6L2nmQGuffbZWKXv98D5CJHIiH287Ack4aod2D8ehS03lV1ZcqS3ntk0YEso04XWry6uiHxB1NRDIFmuxkFZcsukcrOz/Uiu9z25HUCG+gdCGL4JHhp9xx8b0bdA/QNz5qdbPfG3tUHdHW1XbddcS7IgiwsoaLlUj+eHW3/r/Xn4CIqy40rSb22U5PuGVQ/+sGZkgPw6eMBLqJ4TUfeSNj/RSeIcGVdpBuhb+LiO61dGGf6eCQOeToEA/P8mIPjyAYC3hROdGPnsI5Kv7mJZfvwkLfkW90OhLFBtNYWAbpf3a5K+mOpgwinrBNGAeaUufvkjS4mLIp/oJhLIJS9FjCQ85gmgBbcx9qAHuEHQD65q99My7nVRU+zzIoQaZyTZkhNKg9gvrOnm2yJQbuCTXuUtcrUAqta4fAUhhVjAtCjxhdx6wxoxBOMEtq0CX4E9Ys4gJigZStMoCL46r/wpc6nQEEGGaWrrtbO0cCWlJcPIkNNkCxRws0P1m/aXX3fBtqloYQ5VaNpPkeEJt3DNtlehVD3HGDHOEWcAPF9jgTaWpU0ENxPio7N+1EnINMWw0b5jqKUFm9Q/U0AS6VnlHQmLYk68z2Mox+Hzyq0gcGu9cJrA4o9883Xr20R40/MYxQp/66tK4m8tzH7LoB7MRXDW21PlLiqMzPmEBdeCG7ijFqj89snoKDfMQmeAm/zr3Dj0yDu3hES7+spCQejL8DX4F8aV2gNK3fHgRDobReH1oakRL6LyYe/21LNTGvZGF8yXZ9gMA3QANjYdM8uZ7OnHzyfzNE1h+bnuI9agTEaPTjtd0SbxR/qD/xUMzg6C/R9wGjRoX87cUBG4uLvaJCle8Wr83GJubyE22Rfa/Q1cjFZC7y4swjsz2ETx4ubVeWxhjcBBG/4AoWHt7r2zAyzn2Owlhuo7C2DJVJWVNoZQwnE4B9QPdoBFbLAkwTiS7ZV1sPqsBTfQ+ns3Nchy81uTfZYYQyTdfGNMq74GFmRMPFCbAgm0m5r1vwn1XMlWFhY/x8OAJSZl7fK9IEq9lQ1m8HdCce+ihVlHqGja5m4Z/HXbPZfaUYKfMyDnmT6cM8QOvnHsy6xJxPPWPZ0u3y70WZJoV11Q4r5UCevbytrJ6NF7dCyLc2MLWAFNMVQ/+4rzmCB1+83IN5G8D05CoDoDi5iArDDvBOPe5LXjVJ6KpkaqEz/6WUhSZFCIrs38Rbv5QVPe1mgG9uwBf5SZzs8cu2UhOuFiQoM8G2csoQs60EPahxExloA60Dvvi73KFY+cJPjdeFGimBACRI1wh6fR7S3Jpxt7M5m/p9r+Rho2ObF7ClH3BWR7WoFXOGURkOTZOT9HCc6nIVPLDYj6G1E8YW478z2zmbYRLbWZxVB15HZ7+x+XehV3VcmQkAr0dUmurnHmFysj2yT47Xw5dKQ9c8UuX9CetARy7rMUWPzCvqKWTntN653kH/D1kEEkqVkZFo6SQHVzhDyubq9GsZ82cIALuf/EfNKRVIx4f06Cgc8HlSzWxMrQ/hWkmtc9Ht8hEfQ4zlW/pP7XT+gXrrAWP09ws0InLptUcQ/O/TIEhYcZZhHNH/AiTs5BAXCNF/p5x9VLAoOdy5IaT0emDUJ/7zMpF6T9t9s09slQIliPvHF7QW0/8l/69+MxeH55ZHRWFTtUpJWus8R2J8bGocEqY2cajn4x9ozGEIl/1XGNh3LEVQv/9DtthLP6oboykgxrnHzy1dAEk15/j8A5hRcYYKOBA/SZvFdC1pvbgHfCmAn/Z9ZKrnFzSDIbQR8z/Q/KEcYU8qNS1c0myGiGohzQhEaWf7IpD8OnTL3SDuORhUSHf2v7PFFldgPeV4xKP0Tr6xmKutUQSVISRtvhA5KFLbTc1nvcEjojPK3e72K0l0u3BIP+Zea1Au/HNfdvSG7H4Kl5lgfY1Eo7A0d4JyBT2M8Rg0y6zWYDQkCwhh0+NGkhXdOmQKiH3z5thod7VrHjv5UPhM1sAOfZgCSj46rDU9Rndz+3YVqT8VnwDUKdGnImMAoHTA3jhIPXM4hK8Mp1Mjln+GxTkpKPlQ4aw1xj+2xVUAVeaF0E3DnaRJSMeuzGV099RrCc4lnslNfOuegzIw+FkxYThftXxhpkvv0LnwxM4I+FXEUC/egZ5foBRLPzgqcla+qJcHJMp6V790NROb3gZRbC2mzcRIOyWPJRaiFLJlBtFH5PXSLTmR9E30LG16vP/vj/T/oJZTVyb2xTPfs+PbYFKwvFyVGl2FcCSbSsBYvNYLJV/ZU61v0pHdEiNFfCP8Q4T9MAe9GiBDjy39l0TY2xnF9mdCLwBmEqypkIGFUV/1pxw56B+TSm+4gC5P9BFmBnqsj2cbX3RXAqIZCnetpW7W4ybsag03xYGe45gk9aRrWLhMmGz+MXZ1ycfaUH5y7BVlK7wk9v4QR46ad9UDQOijvdr5n45wB8agV9X2RR2S4hAb4MV1jacLlUKEu33qsIb1scJdRZQjKN2mCcxEw9eJWXgyrsf5faU7PjS/PU7Dhi8tkHmV0++of8ob/MqmorC6OvcdgcmzEZzzcdA1BZYNGn9lIergYBQw7Gs/GIK+SgzeiivZWWsn2kAoQp3CcQaCM4FzL6CO8G5hKWZR/Tuqzkj9YSlKt1YaGAiPmjqbY0TkenIQZsCJc15hW4Pna1+UUaAA59yz+DTmqz+DZ+kNJ2cMU2aTwfMgMzXuksBvN3DiJG+jiln5wvWYAtSUd93VGMZ+FxtPunwWLPzShLmTYBeW92pzBkT/DrPshSPUH1kCbqIkphihof1XjopJk3btt0CqBIDsJnlJK8IODmKQrZahFNVdy6BSXJvbLmsHvr7RpuFZPWbOEa29nNQA5t/q4HrX+OjOvD6cnFU2q7I/DjX4JaLSpP2d76QAxoddk3X4CBPWkZPqUtTosXoaRDQ5vVegIHUeFPJ9URvIjaqhD7z5NpFcywSNdsAS/2Lpq2Qxtz0rsqf5DjuVac7hgT6eQycMfyvsy7oF+EBPXZgqAFOg/8+D+9+Efqm5LKPzQm49bqUQh+OX6m628DjXAn9vX/c9JwMD86V6mq/RjfTiwNnn8+gL3fTEyFz3drKmwGe06DxFwb6D4SW/FD+po88swd1h2nZeTkyruVIJLGSm4ahk4IZyfzz5aYHGPe1OrYvbs4Dkci9Ukpq7CPkiu2qPdNQGy3rwbpopQYpFkyu0E4r7+uuOHXpUvLCSHGc7FKqxP6XO27YwElMEdija3uLvDsewva1PQ6PX6CwUOwYCx+/nOeOg61lo4JCvzlPsaQlrvIB2Kk/0G/Md/25XNcTwiyx2jYD7mt3p1AQApXIeurEJJ5yrWcsn+M+5tEJJTTYm7yW4XW9coMbLr0mvaGfQ+9JUDSJV8DFDx+JhT06wEtvGBTajA+M8kCTrkWX9nSfUig60kEaXuE5q+TCySn7k/CehlLI1FRMOPRm82RdiDGOdICuhzm4QAhvpu7Gjtn5PNSOmlfFRiMgUbQTm/NXsPYLWcm1xuOX4sxzWmjLvOlib5+nX+RZlKlCBHrutbaHnX2yF8YoaZC6Hs6uEAFXVTK65C4ggvnGWBB+3gA1c9yEUhyM02phXAmcIjsjAHsKc8uCiJJksPgCsOvvn9qYUYL5c7hgDqY4Gq1661csXhXL4xgPBWNwYhX8X4uEcVwHQLx32Llwb6xMvI+jAQuLQvzTiCVOI7cRMLMqiYktmmL+hBBBRlxATd3Jwai1WebODifhFbCuQkl67keMDUi22a9ANEUU3njRfxe3NKqkcyRFy34hyeAYQi4fNtzspI9mEfLKETe9NyjliWhEY0TnsnoLrqVkHWxS+ywePLNj7BjaCNS7oP1UuEl+UU2wuHlubJzsGuv2oLKAD8/E31VWeKFt/ch2iEBIxtnbojIitIMdEYXOaJY1Jd5tDZSYS0raKAFChrjaOJhi0yBeW7U5ajLmpbqYUy4mc9OzuCgo+e/e5EVyC9pj0T5dwd3OPAwysMMlGpjD5Zyv1CBxpAKXFYpX9i3vB+EAQAZVwl7xAwZBlx9RZ1QIhw833pBtVUdmNKssNKltqNzr1WuylwJJeZWs3dhN5XQY2ilxTs4q7d6HUQtFj9MtmSwFdA+FyM0Lrsvc3G3DyxHR7UVn4aLYaIEWg9kbzhggg+77kQ6tcbZ/JACp0T1sPGWXRKJXvkHA8VClDdVQj7Jgvk8eFMvBIwKHa2zYV5qzwXgSyeBnPVJjJHGwDrj2mIUY2Mnmu+ETyx+vned/4y+SHI/UgBABX6sxO72Mgh5e3SQWR7IFd5xIE/O+cAPgmfRMq7m02P6eED4F5IWoCx59mXEZFp21VQBU2S0pKqQGWW1Kv6dwmIViC+6oAnzfTX90zGPxusVRoNXssEMuLWP32//sERvzLy3V9G98qVhckf0uuMOA4p2JJQn0cNGKPCw0VyZIFu4hsxd2Q1YiWyVZK1aKbF0cP3qZad2hbw5xrN/xjFlsgxxFqftt1NVivh5B8UZ+LjEH4Z/Z1fc50XBzt7Vtnl/8OX/aRx9eV0Ix9wxftAKd5GFyTSYw6kKHsDYjwgg/Jr7H2hUI9m4f/6ZzLv5T6AF6SV5teXq/ja0udoZAmlcDZvDRk7ie6w5SFPiPaQEJYtzTd6SJsbV8Dd7fMnVVxu36xhTMfw5h2+wSShr4tjN/UGkHB6MtiqnP44WvssFI/cV7eVh3wyYpRLE/0PnY4TPouy/yQuOP+/QeiHRIMYZ5n+XTtHaXui6v0EpoRofTXKHGAc0sGSUD87/uDSUjad/LukGK2AK9OgWpkXgIDpX/HxCoyh0y7HtoynRwY0Us7PCHKHYhFH0k+oJaC5T4FBQrQQjvQHM+QB5ofP8MEqXXJ0ZBRqjd7Gzfj6Zen81IfU9c7QyPHweZN2zfC9B+WjNmh4tcM76FLa9xQq/89vQA3uKO3UX3A0JR/39tMcGAHcalalAyS7JTTiV/5C4mYG4cK77Re5ZvE1EisrUovSw+tknYxT9peCYhS/zGPxiUhTgZNwJtGmU/is4ITUkXcTAQkm/3zz5/oUeJ2wfuxq9Nh7yuQHTliKB0+/9gOs5+EX7Tsghub3UCzmYfNlw+c1acFWR/QfoA7Fbls3mVhlOZf6+QZw84LNo9YE9Em0EbhM3a2wnvhO82JIlR0BK3PhLaDJf/qMq005TNtQemkOh9kAw4m7zNB+ZeqQ4SkjuV7Qhkldh1geopfWU+TrALXgUnyrg2JqqYy5pKUdQJ13GTUHuu/3ONCdeHr0jgUlzo1wVSZd1N3C6MsOzGTkiwUBPpx6dS6Q74aiqR3p0za96C/fdcUuh8MDPivggDNfsa7IvQOKZ8XMnRnHwezy00HKl7rdHVTTEl7sjSdKPLQvwXyVnAAntkRcWCYDp8KtcRwYPuCv7z3GYdE2921gb+vf2poOeiKg2QgrHJKcXpzzHvpFnIUV4thGA3yXdf5keRWxALzjQ6LUuKTPlBsVRwkn5kMQKYvwRnRq315+BgKA+m2f3tHGrimlQxUpBP4o2OjKVgbnJy7hptW6npvzli2r79eWStMNuxnEF8Z2Wf551hxNhQe39cZHZxcnhK/WTV7TubNbil3zbM3h/pyY15IIQWHJRh4noB4xsfvRnTqJBfGJbo7fBMCJKa5YkqM/56mw9sUAqkiDEYsQL9uyXanD2mqqkPNSc3cd9NV0B90cnUn8l5spijUvLeloQNfE6bQR5CeRYJhS5WITShTMBlpMXjy+9ReAbAQ2Pf3OlB+H8LYUebcPbmjCgw3vZswAWKFDuQAiTSk9gXo2DOI/pacuJSYenJHoGWzyo/9X6o+DgF0IVlu8mYjzCxVxJn58/AX4X8NyNWez8QNIVIoyk6je+aJBDIBJ4HkNUIdg0emM0en8Vtf7SDze0e1W+KRCQBaGUY0ZTwTOadcrrUMinXorhp2SwjfQqZ7LNgToyhcD1++MhsSmyxYxzuW2CqSSN7zr+JZMkiyiNjiPwQgYlp1E+QvwZ8OiKkqxXRaDUu2UH10SHy+RuOqDsqq1M/iST4p0SdTzrCOkIl1D+BRlaBClsmnOB+Ch/pt0bDyWsL8JNAMGtlV5rrXSdtiBsyuZiHInwhm+6GdmP/91SxufN0GptSpBtW8fjsFV8xthVu9JmzT6GAVWAbeRp1fddR6uzlPS9PLiBv60nUFSK5cJtNvok/XhF9tPDNHVkMZN8gX3NElNP5ykc0V2tKxaOODKGS16MsJvZLXd1c5WjtSrmI3GwPFZnbjW380ZnDe6/t/sUYnYQNuwLrskRQblHBqtL5lCtA+4/JstvL8TSEOWEeRysYo/lfrYjr9t7M4VW8NSdXsn8vTRdVhSpeGayl6uvOcfpM7tjVP7ZXHZgJlWSIHgz9VYr7CBxAEvV5eRhNDRmsN8TMjVoUs+4Uk52CG12z5h2+O2cC2vcPZHSR8sUoHltY6ERABIYHxjGH62gaosEZjdE5esE3z1lTgXEi7NsjTmit8qRfgiiktkpkNNBIHZ2NWIQTLw0js1Uic3DBK4jBSkpsHp52Qx7exHr033YNsuou8r8SFCog2XFb7GK72KEKwxyR+Uoe2PA8RkysFyHPCBQSkyYi8QTi+fchDYcKCGwCAWNZAXqzx0ZpYZLHWm+5ni10qgpqQ76yxbC2eEZaWLcCGzulEISXAsqwhNyqjzEbKiU1EM5ZhWMqGhD4o2xZx/JjRUx3iPs+1j9hJNXll6BKr/Cn11evuEctAJ1J5QM7mAy2TuZDblYAUhNU2/QjLtndwQs17OWqlr08iH77N07op0EfQ83WQsQUL9GvZPvaMQdeIY/lSaH1TJA3N65lCptL85XgtjWGyhvzYaIZcbRZ/mqB7EPXr+pvATQEtTV75rRsVSm4hJDMDuwDOU0InnTE1nS0dwLbj8PGxxxp2aoVVE/UicUHQeSUg3CeYKF8YMsiLpWsScXD4C4RwPcC3Cff3vzV6YbhOY7v3lKZ93UXHXmy7FSzfyOLptkLl5pu5WnLiQFeOfaVsrJi3FNuDIddgLCWXguhCqPRLv+YrOGTFo0pylCfYSt06WJEDBgQUbomqYNzmfb1Gy6YrmnUm28NrxB5lcdWyL66oaSle3MDQpY/CUDc1/a6a1qZyOa8TsUJI/rJkxmwoC1gDIQEHpsTmOulzXvb582VADcEhiF9giwXXUq84FOaYIY56r9c099lIdPzxFm6u8tZ/PGhSGcKT9m3bxRkTwT3j1GulLl92w7a34n1sC7LaoLi0MiK1WaTSGK6V4pnVjk+5ZUnbwO44r8eJxmmbt3jAcXHIgj5B4dhrZNf1KwtG+YpVDqOXbd5rAv7Kzp0ij3NUZQ9pD+SJ2oHvdZ0ohDLuDcf4K1hmCpTlWdg6VGQFQBt/cemq+PlKY+CNsmxC4tp7U4kySxogsD6gsdKJAc067qSHxLRoK+UzIkNiCAQf1DKjeNu9qq+MMILTJo0kK26ImGLLMHG25am5oUf/zYPk3/+Pxosb3oCVDbXg+oyvr2gPRfULQAQarm4njz2IXzvRWoiKO9MXdSj3BjiwhRnN7AMfiDkZaWTHIkSF1t5B/LEWTySORv/MMh36tFeXsDfXLlqAEHyPfKIyENjILIwMLtBqvFUQK8Y/JR0iuI1WmM1xad3JFAOUWGhETTphNfg6YMtRIzftBy5bXnVeLsajBlJTVR7D8GEsk4S39sUtHzd/6MqFqbhLPrUTRwjCoLd7L+VqpIbdPujmV6wuePG88zvYIKXHYBza9EvBUQjH8lq4W5ZTpg/f47WppDn48f8YIq+7lr+6jDCCLtO33p+HYL4CBdHf9+CHxpnVPo0Rz+wvVdAhaD8lDzODAdEXtxiSD8wZkJLvwuOLs9f0R6keD4fxHdNvd8ZXFCTPLwvVSGtQF2hS5r3yzxLdWxTk3URmYjkjqLwwAfr+Ca+xyxI93RQ7fG/YkyfzLXJPuLnyLkWT5ASJquzp3rl2dO+XAeWCZSqGNmGwoBL8AMF5CaRo700KDlnL53m1mGerJSFziBKJDfueosLMdDuJgu1KD0Sk+sd3GhHYfMHDbsKhpzB0MbMCSgB1JZO/HWsOb15mFjE9Br2kUQuQ69zQJzTvIL6lEkqnvS3y4IG6b0nNS5FEY3mXX/TeShCaDcOi1fuQsi0EZIy7/C2hEroufDXb7X42pR0PTDwWgMigJ4sWEJ7kU5GFpgCLBYcPzNNHuIC9VbSZxNEraShLDEX9OxMW1L2/c6cEcY8HvYCRS8gEjOqhEPvwA2ry7tOzYBTTGEXYsVqjQQb8ZfBpsyEBRLa9Ed7fBgO86h2t3AmrRZiG7pAh275eVa1R/t+HFcIxovsdZM22gaDfJY3XDo9BbHzbOf7QBZYXgqujrAPIGbPwaxVAngkkAVWdwm9KVL4k+WrGmQcE8ysP9Cn825Wtl9351uNtKR04MyEzg6Jyb3vw/72nL3a004h/QKmPKCs52PT2ItJIvbKem1E0x80LgKtut1/kvlNaWLgciAmoigCVf15klxd7/pkJufeh1frb8zFVSCCLLzRvVgOpzAzAzukOJ/85n9WJ65cLSErBoiWx7edbDnMOJcV8sKSbHJxAjMNEse7d68QI9pXV/QwiM0hHcmOcGRvL1eJfJQhKAg6FAQDnhEXJ97zQ9cg9ZpPeTWDE6VOHHE4t7bIJyzgwHxY9Di91zCA6zBa3j3mx/27+no6kN4NF/M67xpDHdKOOcxIfZdsusYL2Db9WSRkcxwFKbp8LbFoKTkBYaZiZydhwsKnXizEcmoYNwLPzAB+3kr6wPRXzAzSefaeaXH/WLj36FrhoBA/W8ulJLTBuaUzkxF1nPyGozcGkh5qnUicd3fxtMpzaaTHSmZ+LtrukpbNolRMOwZdDZNatULqiUarq99d4OnzeCPM/I+WWx0s3r11+hBA6JPnyQpeBKPq20+nsjTaiYX0rBImyCyCuGWIYzsPMnA6wQusPg5ZHx9wB2t8pCcvJlESbQFrrPQu0Z6aWmbu3A9LDjL9rF7awsmaksy4/w+muqR65XDIvBhNo46fhvkYMb25oB9fBQymWQl77Vjf3UbH4jTW3CavE+UviXyhZEmj7I+JWbGUeF2fnkgOi3lMFIz3GMSZHAQgD8OAj6iVacsq3Z1jcpYYYFWbcJ25Eds2cRdVO0iLnrvjDf9tuhHu0oLvzKLmCaDZqyavd0QsxdTZYWO8SCKlE7CGFvqX8VPsAXyWE8r2eXau6aTmAoTOH+SLrksv0mwBfi0JHm5PVRe5To/CscmqtE6Yw6yhowhLM+Btpa/6RzQDPH+cOMePDr/Cr4Im6/Tjic07PgSmFZzCvV3p0p7Fwan8yxmAmkaRydJ+eVVLE2n50S3ks7NWh2fi+dBPXnLVCQQQg/JRrouOa0HL2ntYmHUuDjOAJyjZ+Ud1t550ffalC5J6qhErck7Bsu7TtZbpN69E3I1/3uTqUbaYNCPWn+MQbjQK41BE/AKnEK7QTrdM40G2EwwV6ZnRUAoDREPXM2harc/NIv/wwhIyvUfhDlxygZXVBTCDlvDFv3pLSqr5EZ90BTLt8qUohqp5Zu3wYjONbQuGOecaNGIHROJ+Cxn4Qewre/bnn9sv+bei8kBWydQ1LShcxOiPCAuZwHbKmZ4sgsnVG0EqaWOj5x3lIuCReoUQ0KX0zd1knfpiZEf7NEUqufMo9bugr1ubJqvB7xr547VkxA0sfMaA0I61VPnLRJtrz7RbcfWxvTY592XXHreTF2wjBxGVqpeUGXcoBZ5F/EBuuBaZ2f8qiNSQY8ZLRlc7rZLtM7K2Nw1bKQuXrdWBcfzz1wNJvT1nM6ZV92hZF6V+y0LWaNrTdQBVBqjMn87G8CuOSLyPLy2t1UQioRG8XpHdpObQSm0Omu09SraSOlap7ODq/N8/pswBiV7jgc7ateoKWxy1PrwRcETcQFynRsA7JVEYqKgirf5dNpXMgRxMDko8vTPhmNbgzrdv27LLQNkPmdvdAHX7kpG7X9ooiTG3Gt+CSOD90dssOFyAyaboasFWlKB8yGWeZUG5cVMVUdLXIpzpm9rAZab0srYRgJAjodRzR3aQiUYQyKVEFjXQ4vNojAGkKewyD3vU0RSN5wGROjVl2EUG+CI2Fb6R00q+WkG/4ckMwJNNEOqOz4Ixl2WhanG9ETyz7VVvfwNPJOJ0ud3fg2054ZABrh83DOEusOxhwk8IiOlJ9bfkc7ZWl4x4d5XgSwIyaxLrvRXTTQIEiKJJN4QavxR3G8axaIiidHHoCUYl2z/e0gaHQYONw1+sJxLT7nzfbfnINwjxQlEzx2kflfwcCCQzhLpFbyEeZlxOI+WsCY+ypy9Ymu0JlbQAwfFQJy9Fsi9Jygp8pte7NL9StOIHUnBBwENlmIpvtaOxxKcb4Tz19NK4CjCpPswDGFTotuEXKZUhcZqLwF3R+5MbxnRaPzPQ0ehiSN688QHnQULJgCMHrlDMqlCAuxEjLUvCCKmLbVba9+D4Q7dkjuo0kj7y50FahHAxl5kZHRiusvxw/7MYsZhDbP9ra3ei5GwB7tMgr/m2pGNSFd8AD8JowDIA9aKp0OHLMP7domleUnht1suoSX7QKNKvK1dkpCUFHrErVEjpYaeAE3zkaobenQjWU9+wcKfzncM1h+uc9yv1XLR/omAxo0VEzZGDywTqyYH05NjraAo9CCF78Gp0hTGVbfb/NW9fWFCmegVJL60CHeK6HHDGryUHjb4HT8BQNbUcRZda1Fqc0twY41n/G6NiylSXn5OfFcjIoc20KJ/7n2z8Qmb5emZt9izvW1Brn88fe75Mqj4aBDFgLETEIaUFreUyrR44XVQUyqhL5RBTJsSCjnlY6QCkRB6XpgakGAF8b7UapyJ2/t4LYV35NJDLQqr5zYdsCjiD/VbeHXb+vdLhdC6OAY/E7MQdrE2y5+8lAtP8wDq7nyAIsD6Y8VFN76iDOfDI5q3a09a03D64DDyk1S0p/0M3Dabc38LiLrnbyn8P4YHMEEMUQHDKwCijERAWXa1+xkPWAHeG9CsNklNS3uyUkh7Ov7Ur2u7udK2K+IHVq0JjnFNkCmUSrb2TzzDt5jf0DBoLUhTHv+GVpOeU9VNCBZbC/f7VTmf7Q93FOVqbFzt0qdqcNsWPdfxmTg+LLtyCdN7nISUVfoGbkdBxnXh6BNgLTun5034hwxOT4ouNHQhNHM7SsvYjz9lI1UhGZeEjLVhm0O6toEdH58QV/YVQSe5Yc7JpKR32pQEY0klCUgWluL9sz+lsL1eavzpbsLukqautEZcarH0d6hrlBlQ92f3YSFglRut9eFJm/foKGadNJJth4Hf9mF34MqYg0JQcwiSfKyp6RtmZOj5ZsYYd6BfYo1ybdXgU++Ee2JgLC6eOPw5mCioukYftOyXDC3N4zNKdr/DGWEHQly5hZT3Kj8NMYnDmYNvaLWib0eQZHgKZS5tGIWsmibJJWI3+jHFZp/zYLA6d1bgupT+jFBKg+hQI0gH9r7OThnYn8C4Nwa3IXdP5vFYriCT8i8uEv8+WlW3U6anP0OiAcw4m8yT45L/FqSTSOZI388pqrLyD7TuNrNDZup0PpOKWPT6Si5RrDfsJaO+PPl7buoh4l1GstO9mbEeCXlVz6M9cMz2rQy/Y2HxFvW9GTsUSUXCXlFxO4JKiorsi3ytrJOf4qhOf2copiy218in+guHLnRvFZ++JVnF8QwDHKZ5aCfvgn7zFevxP3VaOHEVWUJlguzHdcOPrbJofcFtA+gt7RVoP2ODG+5KZx6R251SdFC3doLNX3QU0TSOjzvNgGtVsQsHqUT+IqoiOm5sLbqdxiDzLK9TeUHkkRN9GNV3TX8rqtMMI5HmHmgkuW8D5hJSfS3EP+5CNdrZFVdFbuf8UTrOA4UlMfpvP+PA5inW6lShJsOICDlxWNQiaJIslAtXMoGhyiQc13hyekHZYq2uEkJ4odOpHVAhm8fMRODKhJWaww2HV+YrBEg3lQNGJaztX5LxsoVP0Qkaxdv2yuqo8OHbVZXdzzeEn9vxqX6hQIWxIaHPxJhdh5LbsqXZejAXj7M+E0FHwYf2lIJRTy9XiKhVWTgoLhBA3aUdLlrzepuk9pbo8X1F29qiMnV0MaFQ5lw/lKa/7rBmXr0XzuMTfxA6fvVhsKZy8QoeaaoaMDkvwjA0QfXpLU283S45ea0V+ypktlugSWfJflRyLH1OkhS8QR1joYQks7MY/xoyIY7q1O1C22809cum10oHznMxvc9xIdzXhpXHXSswt/QJC9LBbIs8/5ZRozD4FTMF7o82demfEf4YnkNHMhwVMEyUg/Y6cIw7vHPvjDcemT2+vpdlFzmlWoWRxzx0ej7FsQNb77hID5jtGC2ok/ZOik55s7VT2X4pvqDPBeCHxiF5aZACT+Ipf9hEh4WkzZXRp9ZZDxsmcXQyHYuc2hugu2Rl1trFNRffL6EOiD8xQBYCvLK9vCRSENtt/31oR7Hy4fwHu/Uq0w6faCtlZcjfjNZKmLg8WKHPRUgdSES2CQmTHo301HFXR5/UuD3kUkzx3OqymND/kRKACDYOXdHFZgstMFdaEDb8UzPp6KF1F/m6PWLO3ZBvBqhSORdTetNkBHaGaok020kE7meDt1vfbXf1fTDWzdysQgXj08G8kWE3YeL0gQXchSW1G4IojiwoZfElIkjdG0WKZHHJzmbySSHBLvZpxcm36u+RBWS6Ys/576U9bj7Uq6dq0gZRldmiGON6UwpAHdS2Xr7BRgHS1i0L4bfVYEys8mdIQhNtycHiQLusFUBd2Pq7FwR+7J/mTBP87JOG149OndJhwDdH2dYWOjzJgMvvPYvA5HJoa92GX4tVAEKtQYQ8DQeTbaMx1HeuuZGcBxu/f5ghsRDAaPU+sgmEmXHAQolg0c66bNaIcVBe6RONF/fNpmnpDSaiELAqSSFxASpAGQJ8vC0dBD7CKTswj5pdyRDXMRqITTOkIbgLALD3JcLrVgtHLnN+KbMujILnSm8s/FOwHCwxVlZRXXDNzqhv5aWNAOZoatQLFScEp3HaAlaBuu+q/aFgRMOCUoGm8cb/EwWOr8S7nadLcKsGu0xSBhKC1f5UpFrlmUhJdreBs3Vzjitnx6BicQjlKxczmALJzsHGPdPUPpC+QjUK9wYZIku6i/5rySRDgi4zFwHhmIrmIFNyUuU/2enSe4TUTJLmynHDGuy/33gCqRQrEhUtpQ7FwScVOPwtWHYzgiEuGFgwvnqAPx7FFYrDvzvxCDbKld/Ed+doNMsx5JCsoR+Ngie0dSRxZTimXdAOlK1coCPsMQjjYkplnTZ8zcfDfjsPiEr+2xE459SvHzoKiY880tcGld0SRD13Pgrtf8x54sqqGwG2h+lQfgbeSI17taWwu93VLihkmXT9Ehf9JR8ekqWXfmITIQhCk+mTcayTymaPTifLPz2l+gKhcHIRl/vkvSdr1x+Kqj+fEzUSKlfjEtE9sNzs/s9oUfT5Caiv6JzIuCOyHSBI/Y0BjowlzYjelb9qgbzVJOLNTkf6ywhHKo/feI2jdqaA6N+SOJjpqbVp2WjVmmIhvKk5zrJhiDcmaqgk0Fd+iIczFfE1+P/XrlLBlTvoHCxlqh4kxcrEPebmQ61Edvqu6hVjAxjuzAXDFnsE1OjpNx3SGaUW6Jr+rHHMIUbuPTaAtYRQ4XmCorynak6EyKQ2uWnE5cx43YVLGHAvqmkh745AVulwZ8TqsnXWPAmKHx3Hm1jPJE6x7NR28HwJsMhU+rD9rC+6vTgYAHkuI/n7DFzJumFkRkn6aF4gVvYX4DtAyBQ2RfNG8ooybCqAZBWVTip1xPtvdc3f0B7OqmFhXIrmJ6voWJgoOHEAvdVFnJ1eiJC3JZzMI+5SufVbPmXa/Ubn1E3iG/KPKTwtoAp4o45V5QO4c5TGSy9rGS5LoGYkZpQ8J4rf7FsneQKeZFA7GdFJ37aoSYQNkdWUkCJvjXW7mACn2eIo6YnqUjJhzo64X73he+iFsiegt3B+mIm17Qa6WojPvgVyNmCq6NtvpMcSoMN+Wxquv5ay2sOpQ03ldUrl+tdR9R1iW0aqlwOC+CVQY2RtOycPuWosPB/44u9waU7NKgKmAvWlyU71rieLa3nzQHjqTEIuar+RodNktH5dF+CIco9sG2Xrv9WTDL/YjlYO3pFido3ekAQGTTn4g4Ci/dUIWyFQ50C9MnUJ88au0a7ruhlmWQBsTUX8TUQ4iZj7WD1mCflMLHBIqtLq7wUoUDZR3AzD94h7vDipV/hKZRbU5wgqipFOmPlP7Nd6WgJ+qpWglqui67UlVgdkAQE9dp+qM9Nf+1fVkAkUSoxZitQf+jQCApLpFL4hDHF7CHiqERazYXskqBkuPfm0HkKYDhBaf4EgA6mZzLNdxO4cUsOu73Kr+biu5q9IV+mZO2xQTo+ueKOuseW1pnp+JsvNWDSW2ajnMIMB2mLpfg175/3Neb6XoThn6AKj0KeWsIVPW8ZWIQWxhqPyIz3ql+XpFFytXdQqb5y6VWU4uzeoVlTO/Y98pnWduzjEJgKNjYgQxW75Bfxl/HL7pS8orAUcx+BBHa5SCDdGU19TEOy19Y8932pHOr2MtJNyw+/d10t7M5p2axrYYA+fibiJh/D5R53bU2U/xdcvPUXqmXJki/LvLJDc1dJP1Q8nYWA/SQlITgetJamPZmlK1FT9ktRPAqojYEsJpm7urFsuU4ZuW9ENgJVhfVICYkoyao0lsXXbGrtnTQQnFloIU4R/hU9dpj0x8+wE4NU/5lDcKK0+fC9WOcXehAK1qKjrMsIZCU/2yhTzqn4V37ROR361QzcnaBANdx4dZT62QW/pv/Jk/m83Foir/FY8Df2Ytz49vM29c9BUKHxATM0739pCe8uj9sJxXAT+FpYdbHqZXv5CyxGOgcK9W3gm/jTM6NCElh3Ii2z5WzvPzci3qd2V4aO+f9YvLldWOgWLRAXVlI6yozbo46ifi0yBNdwrXcpSZm6w4nNVO0cKRxLOFDWTaU2E8dziRT4EbiQ1jQKPXsZARHYLzaTKEv4odegKECHGI3m4n3e1omkgw7lxM+QHyf0mIGoQvYi41wWtNBvEDdD6qUVDTIBjHDXjG/L2f4beg/NJ9Wfdg+dV5btWzIzGNC/OtdmZ3Jy+plQiRNoh2F0fBr0cMr5/n6WUOCEZexQ0dgJtI1bkbeMIIaq1qv9FQXcjVRvf8ltrdGOBwnOAlNFEoSgyzU9mE0qX0402pFbIONrY7VApaEZHcHgG91N8xRP4/WQV/kp/X2p/FcWsltQ8L2Wh7ILnbQNNU61d9ZaV3IWs0ockRA42AgW8tCC+QnTifQ+LbILkRiQCo2K9f8TIpqb+LpM0DsJCec9CryXR6ACRUE9ez2pfsHxc1sqrlhpEOl2mTkp1xJnKWeWf09XRXCbkpJUAO7IrAUpTzGUG76KAdqFErMsjUR5Jt4T0fSZDFDk/MtzM3rcBbaJ1wrf3c30xmC9jUdNkh+ugc0ivQHaUJHNu+sejhCiNhnjEeAsAqudvffpoT5/TWECWJ5E/l84e0fL8JQQq9SrXNqQ7ErwexAZSoFSrOOswIwjLRQgymlOWbyhu/rxPtPZ/7Kw5lfflNaNXbwKI1k8H6U+GkCOCh8PMVpXaPtpSiPcsn/jqltUzr9vP8OlSfHT20WDvLHC9LlMFtK+sVSDdXCiZGXtbtUoArc97/BXxvXnKG/3FsaRghdbML7+6N3wQtq9XTni3BfHDui6py2cmqszaQZSM+vRBGe0XvXkRyuoF6mK512/UTfEH2awwEIvSXpCZe+U6qgDWX3bg3+CtYJagbI6QC81QcOFzqS31sDlU32Cmxhv+q2CBZkoSLtxJWbAd+aLc3PItvbJXsdC150XnVKBTKpa05UxkZQ6A74LHvVMGlwRWD9lL+iGQGkLZ0pHxCTFzKSdvj94oZJD9YPNHm7/JiC+3BpVxl449ZWJiFWOQycRsslB1mSQTRZ6U8OSd4Go2gcddU0X9wWntiBJvOnlyZP7QYj1snmndahR0ukNMdnLyehluFa9E6RDtXb+bIPPenFXCYc+crt4t8kPs8hNs4G9PKmp7YWoEMGFn3mAtx3ng4BGior8YnJD5KC4p9RInlRRduLK9BCyFn9+rqrB0cf5M05tcMnao2CrEjzJZx6WduCD2+mdC0JHwExKqOcpTIxTtvlDfHK8h6umIiL2FvVXoT0y11vVsMLltyqjCMz89MC7iAXES+bGCe/d/tbOI0YMJZYBJWYyknf4W5hZiOg2lytFVgrZRFTgXYCoVKOsehPPZG393SyM6JonspUBuRalLh9v1gXzXhAaPEAkUt2kO4I4rYoqjRIf0JC1ZVoFPd9+coTEK7TCW628tZoP3G7btSfNx6BoEbILUGjhGSz8IVo94kvGFvjVk3DCtxY+/cMl2Cqfac/Lp8oUYJ5h5IPFazsj0hNfpfX123wxLY8xgI+mRyA2ezYo2KSlwmVU0HXlULG4z9luJ5+Hn2cRH/mnE+H4JfPznms2oZPDu7yMFqaZzzA0WYO05ZQZ0b0mU+mTU/ddLUBbWb5idVZ8LYZPdOesMP37OvLNBGRT9lEO56/7JRFn5qMg11GGOEKed/GwKVHuDOXQi/iwgskzjnmeSODbf8tBVRq5nYM0+MpbMdj/UI0oXO0kpHZoo4HlbCW5XwBu6iWXSo3IHy5vWREVVevZk4aB5AkBjUM4zb8TrpXAg8uOhMXu1Gkp+jo8Fek7o21lTFK3MgyTm2o+DzbuXLGxH9fLVi37MaY2DYnP+7cqN2lS5VzyaqL8S2IhUWrsDyrGmRqW6qvYkAVH0WJ0bER833FXFGnSJM/9xgy4fejJAEzTIZ2qg1azSoRmzamgvNHDRmidwywWdbRF7RBUyP3+IJLsEVfwNlaWZjBbUx1f6O9/3iqLgX9MbjKtOy0c01cDia2OWRlA0x3/rC2njR9w6+XYF5I87o4eX28a1eW9c/DbI93Kye/IMgEMI42u2IQZ9US6+xZiDwjDmlQ4Sr50sOH0T2+IeiHAmLIRThqTYMp13rzV7e9jdrcZzP7EdFzHYsweHz9SSnrtUcn/9mKHsu+1Bo7l5+7ltA83ml9NxN9/ZJPYx23DKgphDgcoFWFaP+qWbYsYCm0kg8nm3hcqoFstttdVceqHQDtPGPCMH/p2G5LzMD+u69boYiR4+QmHc8p6x85QxCCRyPj8HYjzg0HMxx6/AhcrnZWR17xD6NIQqLPMbKQbOxUTgae+V1emhaDuoxY/dEc19DlKttLtCtuOVM0zFYOF/esJG5BrabA3shT6rRRHGY7pCw8ZFV/MEhEIN0yNBSQK6yF46TGQtZU2Xx8DwV3oJwOvpkpT9H4xg5Nqi+91ZBb3tLLDjTomCzklTQFdm1f7a8+T71nZKH/ky5/TH4d2l35G3kbV3kPy5u372+KDAB8+V9QGrCqfawJa7C7I+KOU0KXG6+ShzNzekXdZEf232CL+GuD9+B07yMEJiU5xXaBvqUx9Tzn7OHhZKXdEsmV0wFxY5gkMwQAXGK4884D5MCOYFCzlwdAz8JWUoYCuvQYQvwg79nQ+sFeZiUd8kwkuapjDrW/GeX0R4dc6BBhyYVQh4NLtsIzE/ktcpDmvMpGp6JlxaPKEKGKaCcD3QNCJ/dXx+VVdDVKsjZDyRRO0slhZHXTLQrVotohWAGuNLz4W5uAff4nPy3S8PWROjLMSsVI87+cE+I1IoV8dz6gYMQXWhCQQ6IrjcNcAL6aowCp9CKtdq/5ZoyuJuPq855k9jI4KsjCnVKioH6lIO7qbaNV8GzouK4W2TnckuXmwX/7HrKGxZrc0Kljj/kMins6JftrgslNycZqSr0PpbZ+2E2iZI8NvXx1sfhUsXP9wXP2vo6sX7P7lTdeSy5wu6n/SGhLPD1MnaDb3/RS3evAPBWZ1s4sRfRA5c7hR2VUKB+b6I/EwyaqjWZB7pO55XOtP5RxgfYJ3xWIWf0P3qTw2EOr4ytCt/i1QOcremAlPlT+hHyo57K6w3h1oz4upQQB2zByjfDeU+sGnXo0odhli5dsGmTaL9Z7AXIkDeWeNhe6bugBzRSZWCZ0/LcTntUODtCNIYUcp/S0bLjFBbcuvdrtQUlEu5z1h6I3/hajldAio9rd2tAzQM2PeiqGpFj5B6HmyjuGnIWMV12cY2uQTJMv1o+yygpB0ViinLElUnoG3T2UOVjqu5gEirSTwbBAru1Rjug16dHkYCqGRPAbxyXn/yPnEDOVOrCHhOFeCa97+wP33l/ex9NW95GjrufZwcO7LSrsSFnDJzQJ8pJlx8f6rkXoeNxugniD+X3zUY4c1NFae8KEZZhAqfpzi4HgG5hQqPgZgfry3RXSPom41cTIw6NIwOw31DBtjKr1brnwoETrisC2MxFUpa9aS1ENcUkDICtoFr03j34xBFtZYYXCCVZwlqYESW/GWLtBnahgUuP5oGX5sp0nAjbvkMmfus6aEe/pZtuV5efkEVXxGjr34l3UPiDQS7khY49egI9F78yFX3Y5swpiWpmuN5MCi1XDVhhw6vQYxfjrxxOHzkee6x0rA3MdnKrFUkr2QsFLKjcY+IZ6QjN5Qxdv179EZHSZC6X9NTjO0hqYx1Fr11yWbfvot6EUpEQfi47uT72/FJnbiCeHY7eSO+wDz3dq3nYuHWVeyj/ZsWKdAVuEp6mvjZdSxeMhdjK/Tm1xbOnXQgSx0/yU+agmh8NSzsGTvVTD08fJ5o50ySYwo1i9YyiK4d8R0Hj6zfLWzI72Qr1+Z2DwWg1p/nuJ5fTnPhAc0orcQJLqY0vaS/uMVP9l6igMwknQSyPZ/qD8paav9DFBgxp/GUrGCnRFP63TKLJvlz+WIjZkGi+NOR3zRoCswAeDEIE6i7czokMt4+utQrUouiV8cGO9ItOvg+vniUtWXjHR4IOMeM/FDv28r96xiquy14JvBEWHIIan0eOgqobZoiy3z3/Ol+XnEoE7MRhlsyMzJkQx2r4aeb8y/k+hyO86Bs2VF3R+YunKM7zbKEaayB+lZBz3hbQBdUtRsRfhSNTi4ah92oQmYEZ4Nh67J1gZkJJehTe5j8KsX1U1YYIDfRwhNZHleSCwZtZmPEss5qoRW6fkNSoYkz6GLOLQJlheCsILZ0guy6dENLLzF8bmU8v">
            <a:extLst>
              <a:ext uri="{FF2B5EF4-FFF2-40B4-BE49-F238E27FC236}">
                <a16:creationId xmlns:a16="http://schemas.microsoft.com/office/drawing/2014/main" id="{A53DDD43-35EB-40B7-91A5-EF730EE75CE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783499" y="4014220"/>
            <a:ext cx="9316669" cy="2829507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8FCC5C7C-FDF9-4E8F-924B-764519F6B703}"/>
              </a:ext>
            </a:extLst>
          </p:cNvPr>
          <p:cNvSpPr txBox="1"/>
          <p:nvPr/>
        </p:nvSpPr>
        <p:spPr>
          <a:xfrm>
            <a:off x="5726777" y="3809525"/>
            <a:ext cx="3214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subcategoria de produto por semestre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867A2B7-CEF5-485A-BA61-A62CAC9E5A03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35040019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684421" y="1100888"/>
            <a:ext cx="11582341" cy="502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/>
              <a:t>Volume e Receit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Perfil de Compr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Produto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Clientes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Conclus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DFDDD11-AA3D-43CE-AC89-5060DC5A53C2}"/>
              </a:ext>
            </a:extLst>
          </p:cNvPr>
          <p:cNvSpPr/>
          <p:nvPr/>
        </p:nvSpPr>
        <p:spPr>
          <a:xfrm>
            <a:off x="333554" y="1138680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9C3E07D-5C65-40E2-981F-15B2D93B32AC}"/>
              </a:ext>
            </a:extLst>
          </p:cNvPr>
          <p:cNvSpPr/>
          <p:nvPr/>
        </p:nvSpPr>
        <p:spPr>
          <a:xfrm>
            <a:off x="333554" y="2230259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D448776-6C4B-4F59-8271-A567CC209E6F}"/>
              </a:ext>
            </a:extLst>
          </p:cNvPr>
          <p:cNvSpPr/>
          <p:nvPr/>
        </p:nvSpPr>
        <p:spPr>
          <a:xfrm>
            <a:off x="333554" y="332183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2D83625-CEEF-431F-B34A-C05B8B6C6CCD}"/>
              </a:ext>
            </a:extLst>
          </p:cNvPr>
          <p:cNvSpPr/>
          <p:nvPr/>
        </p:nvSpPr>
        <p:spPr>
          <a:xfrm>
            <a:off x="333553" y="4413418"/>
            <a:ext cx="115019" cy="720000"/>
          </a:xfrm>
          <a:prstGeom prst="rect">
            <a:avLst/>
          </a:prstGeom>
          <a:solidFill>
            <a:srgbClr val="CD357C"/>
          </a:solidFill>
          <a:ln>
            <a:solidFill>
              <a:srgbClr val="CD3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0CCE689-DE92-4608-B860-3CA2EB4CBCCC}"/>
              </a:ext>
            </a:extLst>
          </p:cNvPr>
          <p:cNvSpPr/>
          <p:nvPr/>
        </p:nvSpPr>
        <p:spPr>
          <a:xfrm>
            <a:off x="333552" y="5504997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9309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KcOCmEHkNLyCbb8yYGoDPrFcUvJX5M5RRBm0YaqoaD3OVh5vMTPo7ifhQvjWKygUCoMbXz1+6ZaBOMQ2qrz4oPWkoMDVuuVw8U09bYn6OInhNy2zc+YHzU1nkS7E2lgAYlenJPBiG20WsqG1ovBEuBOM2Q31eZqTkX3k13WNhy+nA7ZXUg9wZOXz+bF1i5l4up8YzU2PJ2YPFG33tvExtqCIkP1HVVX+ZU+n+c9l5pz5bBmQenRAKfYpZGJLE+9NurEV4SSJ/ZVdp0+qeU8XTSR1j/4s+1Zj8s0d74+GqRJp88C2rs34BdoA3FcWIH1ebppd2UzZkstchmWJ6mgEQwqkmgPfRt9tq78Ny1zFAPB/SFdoa5E9It3sTQHZDXN/GVn9UsKNglkLwCwoa2H2diGd3g2p3XXQezuZV0dMByBCW+z/t9DEr6ey6qKCEtitCx/7OEoszgHGU9VhYrCl2Vgtxr8Z4J5xphgTbCA8z9clleNcGAEGddLcw7SnsbqEfhezMe+D6FbOJdZRm7+5wdzuu/O4xVhVfk6QQH/GD4ggJcNd6xc/EblVrm6U07elMZzXkkSNdR4Tmes7KF+s18BLFGFMRKk10tMFoSjztRdUnIyUj28Q3DbKLSq62qNkFETqNrQuERORp5KqNBUlV+BcOl2irTSfT8Webty5u75Wp77e8kDDw4QnSZLamzepOHLV7K6IUZ77pT5bQSihsiSs8AfTiIyfWFtdxr1j/lLKbYat3NlHmKPDQQbTgoYLkkv5Fg8jhUtHiMkp5NfshzclXpU4rpmsoBE9hi2Rwh6+s584eTEM4Ndy22CQLir8fH3kTQFHthE4fRjgR7W19tibesbPDxvSzypf7DymTknFhak2KR+m2Hb13lTeTEbik1lD44fAE0FJMN2rRbWFM01a9p560mQjOt3Pld9bbJhHsPUgjF3Ky9PqB8HRDHta6XLFRgAHCPPuBdHi9/YAWvTraCfN8IKU55Lqj4izQKagv4owykmnFp+jyAL5ouK5eFByu/ru0a/xxFmiPWLiw8L5uQWjnJSEjPr6mPX8ir7W2/TPaxcbXVMh6LmXwj2E5T6+9ut5BNvSru9YJuC7dIwdg6py+PRa2ofQ4EdrLZG/IUx8RgZXBG4mRFg2ipKw9za0e/6uh92WjuRxCiAI6xdnjvtaAnoBkpHKOP5XjfZ6uXZCRqukut/uA8GPULvXqQ9pD6Dx9eycfkme85RaYBShEolGBtWSGeKBBXbEL5DQzI4qQKyq3KqkzmuY7pp3T+DWwWIp3UXVmxR0DqWz2qnV3vFhMh8UyAupDK+fhHq189MMst4aOwfwhiBQhvyk59H9B6ObmJ+tQdUl/Z1ELhKrryUaI6S3rHNoQHxxTwwkH4l3KTriZFPNiYTlJCDaCwcW4O+Aez5t5c0uxpcwpbRaPKKZxp2wTWOPXNu24LYd/xrpdg4W4wYM7u1rn39rne6C+tVCdmuezVnaU0cW6EVEGJoIPCc3a43Qi5aU/POVz4pJx4+3QCiF9/Qmyc0WvBV0mQsisJ9m7xqfebsDbcQBESR5SAf0ob4bKOJEG6Q/wtCW12RXMfSZmilibNlAMKC5zB2XePhk0Mgorfaf2xehkOFO3CFv13G5n0FMjby9ReEGwFo1S96sKchpvD77Fk7WVx34hqfCpRX7q6WE6IZ7UAPAj7UVjhA3pcGyrySJSBbPbRwqMZPgYIziii1i6jAlFcqZZHAlhIU46h+++RuboSVhKjSortxorVI20WrGrVnm/oJBKQtTo5/MAdn6cURsKzheez/shXtD1rOovXvTAQlgyyFQLzMtitFq1l0guYotyMacKHirU6I4/LIu/KftdMCd5taT/MN4DzxTVr4p6j6e9kXO7nZEV9BbXRcihQgw8uNFH8DeGtSUKrZ1bzD/fRH7IrmmyjiTxI3GunGl3hLIJPN+YMq5WrZPZPX+8eiprCI0a6DF8NdwBpwI/NQyVxS80puERgPpuFWL31bIb2oTTysD8Xt03X8IS4C3mnEMDpNhlEEs6cpjnUabvsJJYQJTZz7BUQ7caSTL+7v73jg1n4u8+K8oEca/6ixHdvMybCfjmoc7EnE46owS3LqKBjzsONNrubqdtBjbhstPpqsUxmtJObQhxMmKk6RE0S936P8rZukamOumKJfQTHzVXmMysZ3VErrWdoK5Qe+pHF51G0hwQJ2j5b6I+UszTgeclhDiEZXjNYcd+TI3BU0lfmFsO4Puu2LsO13jFWNOl7mamnGsc1EpPMFtc83C3FWo60MS9kqR7UnUWoURWFjhW/c4rKWc5HhuEccLyzY0o8yFV4crldtVSvBVvzZ6wI0x9HSvIh3EnpZWaq6At++v8FBj34BpQENT0mDakmpZ0Vo5LyrZJpAH8fGdr5NXC6v7UPfP2+jf94vsi2zqoAeDkjFbjBKa6rk3oR8QLCsDzoy445itCUD1plIY6ciFiJM0BzNwbvl7BDhXL3W8zpEsMuwDLzXxz2t4DQOEaGpSFQwnzsiqhsSwgsxol18kgfT1/xReLih+l3f/cpo/oc9sBnznxbh7NtsuuLwIwS2NbCoYrqietEa3M8ri9xUKRrmdcLnE7jVB3aokWf+pTBob4wiTZNOlFDfODJFnAYofN3RoxpP7WmXm/Me5JL+ekf8oEcoxOORqynbgkIfywceg3Ech/cYLJmr8UXsmvJsp8ZdtMf3JL33rKFd7DhfIAVS5PZpIQFNb6MBVcbC9NbrXGtqgdkwjB5VLSWfgMXghAGvYwN/XqQDQ2A5Qem8eNZZ9/0E/XqqnkfOmtJ1nNVVKb/o5c9Xtxjj4uW88sZsSLME4NviAJ1fWU55shkL0QX9wOSHpfpu+6etNumdbk8BtAubHJ57oxTjUzc+HpcRXdnM6+r3vHaQ6nJosBBQ3wZSIZf/JyiddZKSCFenu/fbe2FEI7Yy01EiTMYh+a3gs1Or9KTNoFPooMTzrLRSHJirc9P8jVs53fFt3BlLJd8CKi8HtX/W4GCGQCfshs8MXvXBLUdtHz9cXDP99sqsL2qfz3zTuPRQLw3inZ3fGLv3g8No81H298dNGx0Xmk+VTK/16E+rSmusXj5Wg2meEAJ8l10zIDDIkank/xxV4M2GSig9b/K+XedlOPxNtt4s3f1z42yfLl/jnxiLHLnVXw/xG30IgPFTSdN7ETXZFnnCpqsWIIxhAkwcgfnYz024/NKJcrBjIPouKaXHgotO3KTH1aYrirXXhMqoatV06HAzJQ6r8qfLYiqDCnbl9Qyvkw90OBsuigYqZ6visit06/zpnuuhw9gSgc5X0coKp5xhExOKsY/6Ogra3os9UVPFX/oujVWVJBykXsb9JOOy/CnlPbHak12k7lmmvpY2hQtKruUmSv3z26xx0ieej8V2YOmb01WuSQYuZlTitorLlGVbgCaFsj454P9u5mQYA6U6s4YnZXPDu1Cvm+fdUdOwBnCUU2aSpT2TUe2rHqUoKmr034K8LlQF9aBHwFRXQujSrljit2gWR8X99gjNlG1i3IZfmNVJXcRAGCLR9F4Qk/JJYiLAgq6Ct+k2+3ErLObdHk3UQjYixH7yC40+pj8t8Wz/kX32BzAxQx64f/lsuqekSMcCzjsMttGc2v15DInvldG1u6ioLOTkJeWMQV60zsEnGcOs06YPeqlXFGAiee8MySCfibpL2R5O9lM9D5PiZp2rLixkXVTOkKcnDWGcg8hkiChUUXSBOlc3P1tWAasFCQBP2are311JpTbJRciSyZokd4KgGxo2J8MeaUcQD5TFLnfOmBUKz83C1bmdfh4GaS/mhVxbRECLWHuTUkNjydd8AnCPHrJSJiNY2WcuT8a+geuO7Jl4zaW7jwkjZiz7r3shXH3TUlyvd2wLtv8WGJMvD225MpzOwh1z17zsG4i45OJMIpoIEs5YlvcZXlqw35uk6mdwrT41lW8zB8Z0MqiK4h+VcGkdT8yQ/MH/FgccKKv86IRIjUdMyqlJxphNzzVRXsOHPoIIUDTvCL2uSjRHMU70HfzS7qEaELhikWAmAY6yptTLfrCOIl7QjGBoKq7GVuxYFkMHwOJQkKJwVAs/vj5kLMICPIVZnwQQ2DJtgpScBGDEBoi4f4ttEzXa3ADXn31+vdJl2tiUdb7aQiDssRG2c/UjC8OrmrlNwgoE6YjPfDXGIHNA0cY/W+vLE/7nYrxw9ZJVtYgQh09Q7qf002YsXlx2gaPjk2E1RfutVD9+yY09+DoDV+FoWmNNb9nxvtMJgB7PzC9NMuxYmZ8qniTsTkYfR8dZjGh4kRCmxgmjdMU2RQtv+ZZOLOzxtI+OLtbhPDfptANkYno5fCC1vX1r90rQ7MgfX5Kqkuqnl/7p3g4D90l/xAVcagIOTp4q0WtDTaLQiQaC3UCt7iaoyQAg8UipAXst/ijVtwP2UqcInAK/v4H7GTavPLh+ztyJ5G01c0GUDgQm3KeYUQybG/2er1r29i1P/U1JjAKOA+JpzrkWYO5XFbELt5jQfMPNO4Sfhd11jGDfucZPErq7DG2ImxVUjDLty0Msrwfpxa4ugcKa3XW2Rk4pNxLdjpAOCqkyh9I4Bj3172RUvyeWQL+O5R7/oXiEHxghsHTcoQgi28F3bmCPtMRJhtU0BEwHR/kCt2LMsXIsdUxqP7LrXg449wXX59Z3smGxdzHZZW8/ePN7qih3g58/mKtkPs7QWjnhbf3N+sRY5MQFE1N1hzvTnmDvVDCpm6XP31ldAi7+JCD8hSvsb/roKdBRG8OM+0oMcgScBHW7YMbD7YFPsuyQAHt2FQTWFXAKup7Hj+vNjjGjMS4bZnBnBGhRMMlAjEaTMWEWHRDX+qcwdZf55OMFONqbQxiiO84moSA4lzz1taFNnGkdnqnonOvEfyEz5JnIEG+JxJMD8NIMzYy7ovP9b8tga6eKl9CXklYzRN0E5uJ4jMvzh7rpoXW7mdc4nRr1N2bywM4VGwf6jjCQEeNpuzsrHy/U/KLpI/WPt+vO9FQ0f2Dp1l/z03zH+SXEAHhzjvzHDjOrknvJ3P+ACC/lGD8ohHRb/fTMhjPedIvdWHu9d6URN/L1Tj9SH5gU8b+a0HceLhGEbMW11JmR8tuB4S5D4jsbinH0XBxCroJEWHeAL/KDOd9Y8fV1QAzfmJ4S1PBRP6FJaiz4i7HcUlY5D9PU0n/izVGlxdSzV8cF02IlIE6xlLHVdKO7pgZLHbE70QGfjGMSSHbaYYO+YNhMhvKK+6yjmSF9Xz5OE6FCTLkxA9miUJVjDmrbec9EunvpAfcrkGa34kylIQi93Y9Ad3lKaY6LR5BNjdMGbRyw1M7xC5MK0JbeohUnjcW6QuxsqmGtHZ+hAOAJqtCmi2gyTn9K6FVQFX4PQRL195MCKo4V/MNPD+CN2ni4ljXt+Wo62Qtmo+oCEJBb5HTuvX3fnvZ8Hb33PT6S76uuwxAAodnVZnjyGH78gM5EoC0ZUlGZF2lCS0XcHUeV5dgg1Kc/wBPHrJEILaQkXJdQ/fIvOxxPeoMxtjILX37YrZ4yH2L2jvzABc5qIIkhaMY3zulDqczNVaaXeLkj9R3VxlasMbKFTs5C0G0KcrrCNn/i3/n7/G4yls5gIhVelBAphtK71hyP82Wppuc/sHLKxpEz/AltJJy8/QhMgd+7sAzunE2lAM/1IO9SF8zVt1txYlMXUto+Rt0Si/wKOg+3XZTlGEp65CjhWfpO/0ccj+RcqcMOwi7b2V53+/d/+tYbCgLBqAehMvDDJgEyXv24iWbUIx4QG4SNpSBrI1kpO3GyihX40zhqqbIZMA6QDazSb13H67oHemPu+thOUjdwXrgYP5R2o9sMyuzqnIffg+1hq6wJo3yA3VXYprZKq8Mk/9Tgo5YreehJA5JG9UnBtrQYOFInuydfTea2qyWCQVd60IR8Suy3fUU2uuZfjqTckpAOFd+PzKOx5VFQs0WTA5CjNNRSqOYQc9EwJmadoaPacyw97vLfuKJ4exrr/iHnVI0aeFAJzpJJ4VytjF7QpC0zkYVE+lTe62ggMmDbc4lN7fLKZuAjJr7Hi2kdRnW2fwMyf/an9pUqStyZ70cNor9O/F5oNXraATtGlLtZ40VeFMx3l67vW5kWFxJzbagRplAPzWYsC+iY6dTaNKG3a69mrcKwnqoq9zd72EaMb32xxI2J4w4hLvx8bliwF01g1YUJ5i87WfRKicFxNoU8EFn1n4Ye+Rd+M3SJt0StQGMkKptXvWSETUBJai/fBmJRQipYSfvb1ONN/25ULgXzMN0dRqDpfZvoKzCpEvLi2WDAip0RQ9pcBDNbEjFUuElrAKPaZSJHCQw0QD76THdaqEPrGjC0blaJHRxMpnIKlx5xiyfG4BokL5x3/SiABlB47SVM/PbLJr/FLz2M49FlBNu1HMnwyQPNqUZrO5+d8flvY1M8u7zAWoD55zblQ1n1+iCWuPEPHy4JNuEF+WMHthm4WI7FCorKOyIE6FwyKCeTpyG3nPzx5MfeDbI2zrBib41Ou+wSfUa+kWCKxSHhDENHlLPMG/WY3dl9Mp72AXvwPX6V/2x1Pbew/44D+W4FoINLJsv/s3jF7uveU0HXnXsJNOe+t8+jiMQLsWaZveMlo2rFu5QHmFgfY17eGJAhPd39Dsa0mblCwvjexD1QWulOMn8tu0gWnYijDzon1hc3jFrnR74c5NMRioJ10skkOacXR9TUtqzd9e3DlSJc4gGi3tJAxWYBf8CNjdz4d0lXPRPzc3IbSH3wETBypRKvN/wcIlXo/I8dHFyR9xUY8gtldj5ZC0EM1RYT2II8wvLXaUJYQevFdpny0GO3pQYLcAcjFTdKzh8tjdLAfBpTF6nehzItMm5jbOVPjdogQfwE89yzlgew7hzBBB+Aog037mtuWJQ4LECuzGQZmzJbHHOR8OGmRNuqLqO3+7ZebOVUI/grzIrMs/X5r5Ta7WUxfv+0tSyreRbvOLrQ8kGMRSe1lWLIYP+nRJ5yU3rVPR61lqJZSYaRmZ1dJB05UbtGipI8ITx6aJsfAh7KkHN9fRs9hkXuT+JRphzYD22RTaMMB1LiIaPG5vyzRs5Rts9Hh77/HDwlj1bjRtIm1FRosDsZOgWODhqXtTGY5tqqbU5UeKtCj0Iyx56F1i1yS73G0rdQn/94ejhgH96UwrplOpeBxjvw4FXARu3ezaU2nx8G0aibDfs7JtOJA0GVrmNApL+UoM0hIq53LToGfXg6qusMV/r2VDgmHaPpoMyvr39FZCuBh5SaeTmIAeaZQW9GIoTPl2ttjLfjLZ81aKaywflnbNG3T9nMzI3TNxbz+dZmHcb3Yvid5VL+hAkIFw3xojaLa23KBiNzRYlOJxiKFNh8Clk7mViwuVRP1KAF49sm1sa43e6CRtl4f3QdejMiClZI7ofuuPVLRBDUiwYDqcVW1rDJ06aiTo3MBpOOOncs52sHI4R5rwTtPkF6ucPK+vY47+BQl1buXCuIRbMZ3p1E1LurWF6H3cmw2S9zI3HzRze+nXPRLNhddBhBnxQadZdDq8xzWuP2kvdadNR1zXKoQaQJTFC6a0XePLfJOVAXPxFklvBYr2la3JL5jy6s1Yqv8nqMgNbg6iW0Fm1PKewTDniCIDTZcoaAoxrrU+Vjg9lHI0nLTwVqBWvOx4iR0bTY5087lbYV8tiAcE1ljafbRq0yovSnpnl9lncpV8F1fSd0HQ4kTwYyAjY6hyGqp5crNIX1Z/wiqpdwKwTO4TYyqCMlKomzHJzHFKMtYqjnhv68iPgg6mkLiEuA/w4fmvRLDR2gJxuxSFMHmB3rXTwVO3OOGMK7mM2NFu2KlJ5/ejrv5x2aoKTpIsSnQtNtMWvkeo7J/c88Uj38/o8+x2+7DyBmSTEIHbGl9tGIOH0i+I+8WsyWpgU8QtNnGN1S9wB2YR+9niYeXnoWTvSFtMKBqE9I+FJQZU3jnz/IxIVOs1+6ZLXe0bIFcPqwLv4MpHjPlGTe1xmLkfaYZf7f9FHkhK8Ybv+SXFLMY0KonzYfPWVp4vvDBdUBATka4cmkGk6A+vtsVBqVNI9W3zTSueIytfeMq9FdvzhB0HBaJa88l0fD99QjMtaLuGcCyWd3uugZiBsdVxAknB85uF9y6R1MVPEJ2TQl0uaZ/GYACjRu1pVyYHS+jTiMLjl2TEkNOZpFJ1tLvRh488XIjgyuEEguVrVQvM6uIBacCOeZ0PYDb9/h0MA3zl3VNNfMoq+/fNVkftU5O0s8LYbRTlxfuo+qAQHSGt5Z/+KpyxxWCYcYIeVySZyOIyI2S33+EsfC1jxuzTozpdDGfTfOt66F2H87AonpNbN662SgzJ9Gon3cHy4yZUuVorPdc6fOSpg2oFFMfqgd3CZRxKSqpw3/XD8t72ZK2974aiUDpcqjQs1LR4mj5R1gJveuufmd/CEBjKodEetZ+PivYUKhl+qENHPKWyap/PoEajGDn1QsQBLZ5Qj1BbNcPM+aOEQv2uz5gd9BvWTuH6EvX7Nb9ykB1n+9zRzGykagZ84o7Y2DeFtKdRrmdMPCsrU2/KpJCewcE4BBqA8TiMPWIb5cpeRvk/aWEiYbYBRjThiJEHQ/knpaNQ5nt21wg5BPK0zXG1R8PuMm4myobkUOWJgwIepj65HU+7OgnXR1aBcgUwQtWZXoi7+NzVAFw6S0+SnkvvyzQZgU/PoiVg8df+rIVzgYZG23LG0tlbL9Rj2KZQO6WlPjTtRC4JC1FrS8iAOoux556VvarbRCViw7DmWUFXDLjS+E4R3SCuimD5OyWXxuES6c2q7nYwZMcuoKmNsWbDs6eOSRNzQW3O41EVQ6jMqSKNHSWZGGxaj73O7N4ocEVPwQ6FF7Vu8/6zlDMw2KBZdvyrtmqcrJ0Tf1/BHqt4o9Q/D+nldhEAO3Qbu2EJrmmIAFbBu5pQbD6zgrrQNjbdb49HkFRpgAeAHaMyQmC3NLNmc54N/GpyF2KBSddkbqonvb99JQB+grlPlScUzavx+ytDgei5CWbQS3pxckOeVLWJTV8MzU2sMQhg/YMm8SgjsAI5pXKzvd1ZOSMZXZeqKd7bSdD0BE41uneuF0HPG/ua0n+161XnRmSpVDVHSl3ZesNrsanjCbVUvO9Mmzu09tE1UtQc9hp2wk+1cYXto/Rb+TzX4XYKiAas8kJW7S6/jcVALMpxR+qC8HoZq8yKuJ3N8l+6ccwoVMjux+NAz0hGiOEBpJ/v8D3ecfc7hAYcFBipUIu84EXvfGzr1FbwimLSY60i1IlaASYc7SeTnoeU5TNSK7PoO71+pVbFw+jXTLbbILHuKAMNismeT7xXLIOnmO/89YWQF0n/qHGxRKwd7ZPHp8dCyyKbYj+/5/0+oQn4boPl3y9Ee6el7MQMQRCagTnCTBfp/J9+InVD/RqWpsV7XsBFpt9y+Q61ZD2Q9e8fZglQvnd3eA9vverLRkHrzKNp2QxSHwPyUOG/syct0Y5PPL4ACO95gmLB8gCXlGzP02t0AzjMAY8lA2qLMMQ0nYs5GoZHUJLWWdmiXmesiy969ngD3YBbAcxTLn9J6wzhETfnQBdybdBj0gKhcSzF4BpCirD+GjtaOcfEtQx7la+08IubsQ55u2WH3sjNsHHMkUt1CO+YFbW4iDK4EPjIukQ57Ovho0nRK6pTYSa9LSbCIKAFjOBa1uCht70hTBl96MJ0y1s+90FyRjHjk5B9enGSco4wN7ZFppPCvt182cqqHGpIhwZjKoAq936M4fOTv5yCt4BGa8dtP3Nvh8TqQcptVwiMac6WmdkcMsamU4WoUvSUUqe9CmU3ikzAPn8daQEMmv91w6Fw8K4yTerkzQF68x8vzo0+h3HrbwIItzashDwNb1fXE7Jw0XAWnXFQtD9+9U8fxmy/M86yneDaJmgxBCBdAnD9Yoqu+JN2cl7cqNeqlQRNSGRT8jOw24i9HxUppe0u42s86UwBs+tYmZvfHVQyciLOEt5Oi8n2GqLIugT3Jx5KCxe2eW4UK6gv8n7p0M1GcoNpQPX+n4U3XW/lERp+Go+2lX2FlCnKDU/6uNBT++h9QAZECE3UVEFUv+lCmjDfJ0llsjZqRmao4BhSvSviEfzE2BSfP9CJRZkGQfjmys3YGJOdLWPBXOM0zaLM4pKYrUoAKW3pw+LzBHV5zzO1TkAsZrvD9PJXu+/2/7ZJKkLYCJq8hYE7a14IF3oBnpSAWOMTzyHF0rfDKGTuCvy7uOSKHzaOz+qCb6m+w/AgprUA9n+hRXwM4HcLHn/0sBnRwWF+OzuF0UESiwqN1W657tLuzApZ13BJGfOxXcuROarOCyznHPcucUt3xF0HzFSxufbxAB6sh6stqshZ3Cat35XHMj2HOzcwzvoPZ9WnuvgKUPgzCUY17uIeNr5HNa07i26uUqfTA8IiGDTkRTCDUo1Dm4pfYp3p3bbB6wc3x+DIrc962b6d+9uJosCRox8kpU1oWZ4msLALOteY+u5h4oshpgzwg84ajss8xh0hi96dtx+OLL96UkttiEt3elXPJ6kzqeiKsx+UIbrnn4HS64b1xC9CTDreqJ2YgYkMY81rZ7CRDjz0ubOsKfNhzwOYmvCSfWiILxMBPRNGJ24qSrq1ojchbF8rvwTajwB+KWdHGBPM+S4ARAd5R26x90QQmfUcyOiPibk4SpNGCgdWSel8Ea93WWgfYZfKZEw0rZCA3aVAn8t8jpKCLFsVAPZ1snDQE0jP6EJ6cd+helUu1tmLm6C24kXWcJ5YvFGClEKuesRtEPeV7+yGRp0Z5kir6eR338T3rTGqgFI4/IqibG+S85x/BVJAAgPWcZIXX8e97qPTbl1GvW3ZXUfVSP+Q5VoaYZTHh8LtQ93sucNv4+zM7iiLdfhWjXEkIUiIY0LxXHRXqbWssuhV1tCTx5j/RBdDhAH8EQeTLtnBPy7lJhDW1q1jkMKwRhnGUj+89LOU7AbKzQiJdfzyOLCzmOtMLPt6PxkpWsttZQCZGXYzKKmjIYyuPpky9mIkwDcVp6hZXvQnzQ1Kowx+RZuLtdYQav6wp9qA6ePbdTinjJ2i+BxB7GIk8u+apUTmj2Mvz3FTXBj1QDRjOQpZaTcS9lbkCp491zyqS2Rchy+DR7AdSKm8Aw2Y8Tx+s7y1Moic3u3kx1OUESAb5DTCyip8c5uJMNCNW5rngNQOhY0FVwgvDJxV4LNBS2y03HDNo+xaSfUqrDtEeugN3krNom4FkCd4jpxYM9e0eMXDfsTdtH3UUvYbcYoNrhwVoRM2AmhIPqxaYOj7E3m6qkel50RoyShsiFqIqj4f4CGJ2Sjb2ws1jIvI2bW5+neJIeD4KzE7uziYCR7MkW921u7ldiV/QdhqJs5m8V5xvZ9LoqdWbbtc9bsnFDCySvHEx8n44LsQo88gurBkLmwmC9FITILpc/B/4a8UrYbl+eHM2IiPKbOemR/2ctW4u49SyaE//06jZTv39t9efYJ/nUNNIU5nK8PJDe1p1HXeCz1A6K7g+1mmtTdbzAlRr5V1yIT33A1C41dME6g6XRu+ovQqEQ17r8OF9PAkFGbvefbHY+sJOaQFrmWs9Bf6bjqRROcr3wdm3X/SOGZYSG509QiC9haCAVb+gnvq2wIasiS+i4+I3f4cL8YkfQRR3Qs2uEEQXyVz6hCQvwScoM5gbtsTg0WMz2gjD0uPiTjYw0I+KVlcPeRIS0lQpCNoidl/cNJ3po47mF2GTjdDtcF5D1k7JO7JgVtRD0sp9S2tm/oAaYOC9WqIQtCo2lfQJRUv/f4Kp1cOVp/9qFOd7kELkkIIXNrcuGp5pzdpgDEx+0AaaZghdFU+dq606OD6i0kEKlZlxMHOZNxJwZ7WJAQeHKw8xJZb36WVXl8n3J5DvrO3TYW8l4tvWSREpWUNM9cd4XPuNNBhA/QBAr4t6TBMlsBcm/vNcL9AI2qfTtN2fpGWbtCqeSiPfa68EBIR9AKBYT3NCYHk61VOmpy31wT5Wsg9eg5ndtBMOA2frZENWjE2I6fwalEro1anTKg6SEF71V48oaCoaIwfGRwOPgHZyfn17ad93GtMOD9OhIETeUB2LsGxvmsZTR5g2NsiYE3Gz5pZaqjMDI8tyKF7rBvtl6iPn/U3KcizXoS59eeGtjhqjDMO0ONsew7TFxp6Sdp8SEo5smYLX+lTCjbsUiMQnFcVw9kp0iIfOy3yYKKEP6fPc5Di5MahUoE657w28Pu8nzesYv0Mov3q/c0VVwG3dUH8AG9K/ycPNb1uPQSMfn0LBZuz61wUYMpXgbkOyUnLmXBYTtcQSwc2M8FwBbkeA1YLnW0rDhMI7xZaAHyQmV79AxA979aPUJpfTweEB6bfhjk/4O+wZncJVmz7f5OG4Pe2YMCAGrtZbvk8tuwfYO1jrmabFynIM2Gb/1Q39omuUnRp5Fr7Ry7X7G/0DCxSva43hwr8DFHY8wZ+HBmijQ0oCbhnRSTibbE7vZKU2ukToQobMIBBKUc58vp9MNfGyk6G7Urr7OwZURXusUAsQYhVFBL9pBHkEfLye1zJcRWJUbzuUhQpNYexmnos9H2mDsyNigcWK8hdN4ENeO4OwwSBM1tq66YXHhV2VnJqTYqbKrJxNag3Ms1aaGr33VLKX/npwFAATypQXXbP79+deY0VmfVhHA1QbQs+JH5bAmUQDnfNzRj4EX7XXvFhT3IWV4EkBRr5vph3JrlaeR8CNG8cUsqtBhA3tMjfrWt8xtlaObN64Qe1UFHAGAl4Q51ZPCpFUlAqmN/eBlZhuWPa0gsnZrUp+gwjykHyml5y6bM/auotJWp1hElPOa4Hvg1TI92uCd+mJQMpLovvv/EtekMVKw+HjZ3fkM5uh+g6kKCwOAtZYENO1q3Bqjube1DMcgkWX23niaAau0oGe0NRRZj63FCyyDY8KISdIbo8/zOxen2llLzH7rHFM4wi+GcjmQebIo0fOzmnB4UuveM2SX2F1HOoqRKV9qGzmpa0PgvHbTRiI4r33wfJKNUpMfMXb7gedzwP+/qDYDVpL47T9NeltvVco78ql26lfhY2bg1nRa0VBBRzvriuEW0LS/YuwHanTsbsWoCN8Vkrl5tXvaPBtJ/+X/ist0t47ZqQKqLmUE0dhNRnuABYSeLxsggVfOucWWJbg73fyzUteqoQqHqWrjvbslawnRniJtOKbJ8RauL4mk8X66UMUoWdUd+RR0FUrG/XlZLeZP2mlg51Vt4GlHnE7u06cojLagBmPwNDrIioBVUe8i+79egz//6R4pl8F+vGjoZRDLvi96Ccg9RPTqADgJDx4STqEuJxHu/FKRK8z3SWmJlQ0soTlzC7pn1P8A4x1tXVOM+uHpgWy3MJsf7YnzTFL30UXRpRFjRQ8HWAEu2YtIVOKAKW8ACkc8R6VTNTAftnzmdAKwyn94YaEGhvuweAMTD/1vbMn4b07MS/X8PVc144TSYynaK0MTbhWK/x9dNlFGPPMnXhxQKciliQW1qThSr1CcrjKLIATyqQyvYa2iS7hFg/npNo6+vIdtkePxxFACjM18XbL5h9DBV+gXXCiZS2JTyU9syF/CeUXtIs1pIWHEfB9X65184YJRKDxrEEhhON4WjoPaHcjtHwfh/ISRIsa+/BNugXCED05hAfoX8tlH5E/3gcL35dWOZGs3Q2hurrf6fG6fW5k1SKU/45KK22A6tOfuR10Ji2DEmyssy0OW7+1CUgPT0trw1FlmZIUMAy/1acsH3B6M3QZBjagWWknqk0U5Xs/xW8/Qo3pbtUV98Aev9pVt9Mu09c2QBkQaHwy7Y7JlX4EvKy5Uzv1OAbTB8V7mRY/CjB+Jr16yHQ8IFYwCugZQFzIFY9zC/KbsbnV9Yh0Sn1XMKYGJscddv2l0Emd5nl9s/3/F4M1+xw6c9K6NJoQcbdwXbgIXMtw1ymIaXgXkNDMsbZ3vEqTLDm41AgEPbyiEBEaAH6/dnqZu04GQvtleNDAAZgg0o+ICxcdTZg/f7j5QMPJTS0tPVEEz5we2KCjhpR8DXzNEd82Gns4sWHzHb0sUKyDJ+HRK2+3C70aBixyvylpB9qojZ6S82W7WrDPXMSgw6BDk37L9QV/OgRE25/4FAJ5eS1TZBwyLQ3ihhOq9p/pFdBG4r4BHbt51ByWoCzO1T2iwsWQcjbK1YEqDcAli0ZOuQ25hZfFtb5sQM+EaAAhmVeERImRbDteSteZUf6HB8Q3/xH9aEC9fEG0RrqUJ/LC45XGQCfqUtVtq+T/DblpyVgz9LGn+p5vrirx2dwKg93b0P05m9xlynZB8qSSsc2JLSD+vGRcTB1GT2h5jUyOVSe7UP0OunGPtgR9QqRk9L3gdbVakMdzkgxX5h2iSv+5gDblJDDUZ+sbuIGbk1g03gubXuStCRssvOxKsz0O7Z2JO99tNE8oTg9Hqc+Ff/dMGTSRTYeosVqvE/+TXT2i1IbCoWUzByx23mwFpCtQyexWl9jtU3VySB3BCdWZgWmV79nRKezTcaHnWzTv2QwwqE/IPopvNhu6SopPQqXehJDmoqwjW5KqsQ5z77UmyzQYSpPa6sQIheeXZLn/SG1Ije7Bnw8/0yUkFZyc+jdZ55u7/0qwn6t3zyTarASODTpwWXw0+uxcCF9LJ0gFixC6zUF23zk51ii4R0VOj6gUgcggMP9oS530aDycj6DNnTmwpRG4DJURnxxaSTWtMuL1DFHFN58owfFVrErmf/cNfH2q1zIW6BRk3yNX+2G4vjNXCYdGpd2F7bNjvnBY87eDD6DhTbqPPfpO8nqNrM4u08tqAw2G1T5+fZgNKVAu+sV+0Kb5GZG4TLvC9vnsKBcq7kmcWqK087zfsDdl0VsXyec7RmN7bmY+yhzqRh+2va3fkM8HVzItx14M9U6MZYGXiBbO3+3IzdU2yBy6JvQDNbAE4usS6DB4omJf2SPbtt5JOW1mQFCA9YQKmQ7KTBDUrd4XcsEoLY7w89Hkzcvd8zIsqqU132vdliYuuKE1IJsfVAMC5WqqZd6YXOX34F+AscfSvIiPxXLRFoZhTfE9N7WdvJqwFc14gB9XjpAVMaAHK59epC2zrbuOmEiRvoaSwMAhFPBNa/oGD/YehIN23Js1GPl6e5APE+FTPgiYaXKtFAIrZ1MBaZS/YOhwRF/EiRRSfoxo5g/cF6p5EL+HjnVogH0goGATrQzLpWiLgvDqoQWSuxKtrbPPS2IiV4BdwSegXOOyvcAvoK0Hh6TI7Zna/c+doWZL+3gfw/SJGsXeisnnWXSpSXhZ8rS7WVW6R2DWyyGVA5YoHVd9KTyL2YMYkPDG4NNtjVfbdnu63tj45SkOeDEiUu+B+aDXPp+JhpqxmCojaRB1ScEtZpn2oE2z4uw3aLA4zLIMoDto3OLL3SStiTBH7zj5rj9UAfFDzuaXAyn5wvGlAQyjRMzKxPPvhDFqUXhM/NqGN3vDyWBiFJ4pLNDDxQe7f4T35MjQO3Ksw9VPAuLy65wbmpiPCWvH05fQ4SH/YeoAnJx62lktqP1cLcjI917Qvo6d+2uf/HMHyhuEKtEMAy6lccZTFIr/BVe73kOynca4AldSDqlrvHSMIH68go8TileXWPq2r28G0MSG6tRIBh/fxJpsmVCPOtBIDjNy0xfe0QURyl4BsRwry3bzmlSJpG0hnDGmYXbiscbFLIspCGEGhdodOMhtwKufK+FT1K+UHfB2KT3Ti//dHYFKGNOtpJpCvrB5iaVju3cRTuNTeOm8yKjmJheCuCiWY4STcZlvvgD6BovNKzPsuHhKOJojQbKEWtVm1OrtCZLcXs6hswwf+KjlygFmW+QIKWlGmW8/qoAD7Fjrg81nY+VlGc6Gm0GuiMLGqmT/YZb10gbDn3HDTVfamkSdehp42jD/faSQqeZKOo7r43DRNDLMCJJEuDZvJVqxqYbrh4hVhWWFeb1hJIPsOdlf3mIGnbpRHYX7AObw6P8dFHmCuLvy/s4R1/szCjg2NGX2uA4tOBT96QZFKG6q0UM/npNzP7c42vvcrhtA4hhExfh5cFJBeF4Ad94ugKdBnRvpZXpR4a7C6flFqSMGixS+pyRqQKD/GkRQqKsPBZ3IV27FK2iUQ60c4L4XPlLetVJxJH9J4VTySnyarqRAYmxQhyZFvmHqN8B030MHw/+f02cA+iGkGOWdpHHwVPD0AUk0HJQthp21QCCjvnrloav/fjuUaLlbLtLnR5MSsvjf7oeQDBr6uKVDaBSW12R5R8wfAlVZNveBRVTx0ivO72EmPdfAwC3TupTbQ66PzwfUjlrsfNHzyakaphuZYFirDZamBcwXVP0wYn7Lpoie0NT18vSBBJkw4So7D9ECQV5A+Dcj6Cyf2U2e3XNNYFQFyqdnMO98fhN0uvhFma16EPjMfk9KeSoKVGg0wzBgbWFLFUHxJcoHKvnmZDC/m/MkIgsCQ9U50YeTxwA0f/9eVk2mlVmC2vWp1AY7ou8bcR15XSu7XPvNF+xF1OE2UzVNzUghjrycifiPp0yIJmo1NBD1DNrXYd93peM+mz9VZ8h8jTXZYCrVyWdzYBHCQeyX2WObBlEIZgNRWnwadCZAzW9QmlebCTd3fG6l6meWwdA9ekIW0+DWhTNg5OJ/y4jWO4ZzQd20JyKCekckBLUqbQ6Z7TJQJVZmloORybqzZc3tcd4x7Wte47VJXwEjjHlf4FGO1Pw2Auugp/6ek364ESBxUiPlDC9wUm1s885mTTIs8x4IjAjsM454Ed6Dyo5oVwAHGPlsaBRvBkfnPXeh+XhtZnASNkrVFLBa/fk8sE9VqzZPDqbEWir5h06lHH5dh95ZEx6JQZyDafHjwwIH+4MkJWNtqDFPXgHjJgmbmz6WrS/otB895weVl7WsaZk2SCESrbVhtWy+hbJ1YHbtxD2zKf+C0jUgI25Ypm0pxt3+C1XLQB+qx3FS8WS0T8iW4BpOBHbYC/5MNiXxPUQAT9mah85ShmBFId9TUx2sRzzG5Ch5VwcwVaGdz/yRAclNdxKpLiAoDbXxJH+Xfa6W0dwt6hT3iQBfChxD5A3T6xPfPRap0IryD537P/5/h0Md8Jd0071jlBw1jR8YfqFXVaV5eSAXajvhOydUTOrspiHBiIL66tVwL++rvirg6mUne4FZfCj8dMnhaK01NtNZkWxadi81nvlAq5AuThzBVgLyxmSeN4oHvdyFeIvWHvuUq2VoW0je/ezpMkSBm7PBfDd05PpzjBd8qji2xsR+RS1E4Eu89LR+Nhezppyaa7bmNN6dCdMTQ+uLlKwPqTR/ES2Agkvr7WWjspVP2Xpi4s2ZE5ZiEP1aNsiq5Cg6Zv9Wb7T9bRbDMoFw4gphs0tO4Ofh3S0lVvOrEiGggEMcmCFNA2xuZM0+AWEPXlxHzUisOCrJYJvaNSEy/JulxtvsQCv/axJvR7z/75BcQ6itQmpgy0AyA+nipTktUjEjz6YXYlhkrKfsfcX2UQk6xJ8OCTtbajb6ljmoJkEKq1esMP1kjliERWEsDq2HPIKrLSHT9LZfvmTb4v3Xf5zBK4j86h5IBEoSkyEURaZn0akczVmrgoOjNdn+ArvQfIvCmobCXj13L/qbk2HVRme6ARkZ8gE1mciy5k1yHF062UiPV5114O2eKtfRo8hNv1m0/4afeqh6p5OnCcRYF9hbGYDKSh39MlHPfVVHYmdn6frYYaLaUG81RCniK4eN9gep6IWZCg366vTA0GajKbSMZjQUEwfDKAuSmnKBOxxsaecuxcqrC6rCUFmT/61QXrktlQoqv2zn1Nx33JdACliHuYsk1YtW2B8wa3EyQZDJrJ9gGZC/4O8AE2/wAJ9DP7k9Ya/NexqHPgxBQs03PmKOUK8ND52Cny2F8sylYJ6eAcRxFvMDPnFzaEgW+1DxyhsG8iCVYjMhbv3k1jZQ4VON8Mmk5Wdr8oSgM5DGQQjorwiOjr59oRZESwwX5b5SMfcpk3Ph01qj+NP3EoWeMemqr4Ej3Wd+D2sOilqLhYcGqhKivKIYLgxQUzfsM7PT9MRrVqHSdn++5T5tYMXRp1G5BIl9jovJDTJwcjLW1JZa9rOJpD5SJwGvY6OeF2aJBKXhI3AG+tAiWU7v/jC2VcKPU9H47QXjkh1LRajxWJs3DSWGEgyvfVwPy0Ykt77lPklEj5xjmk+71CTMKaJX6JrImbzj5j81qBc2xKbRIpmyap1MsZ6J/IDWDXTdf+7l4iY5eiHMce87/TW5JBgv3d41PR9yisBv/M2SDg8buanYc1xFdqAHeZODDg0ClqUTXAI6yKHg4o4ATGtZ+S1G2YL8//KXJ9zxmRj0NwGkYyeAdnN5wrmLis3JTloTza2PjHJ7P8JowvjRHL6e+EtZ1MicDN2rmr+mO1bPGqGAPxjsZOvnXwsru0mMWKHqVjpmKNz1lrrT7SjSthPCEAoQuBpjJexNyifbT3QY9+RG4wE0BQrQ6lshq/KHnNiQrd2BxS76ujuEBnZIs54He3rYF71X/Ech9aQgrfOQQIAFnGEUcHNUTExZj9A4NJAYztqJy3HXy1XjyUCUAsdcItiLIYhoGLFQBAf7B2Xeq8mXMigcbR4+mXI8/eqxGjcw4ekMHuj6RbQt66NBl7GzfPX6OirFFJLCh79gMyx9iTlimnfa9bxTFq+UV1SmSzPLwSBQYU5ATdlaK190pWGrf13bZQXkZ5RRXUP8UmEIgGBYeMT6W186EAG8axuRQFF3T/YCU/W5nvv9Wb5Pympy7vqrJdBcmR9VOAhePjoOPnpjdNBuL4vGgcQT54ed/mo37YubhWLgZ3nmFgyH7VUlYLzuyZVG5tbBIwNGDEyint1dCXVEnLTB1MxX29iaE3avbD8PCprku6n0cVUDXWOXLLTQHxVFTKW7NvPC7PB/hBQfLQKIOn1o5ew2CHZjS9pF/JWL5ZjzEGi+PhT1A8HNVTL+4Fijr3biyiQRseGtmSeG27LFOEE3q3xJCKv7NKLUnhmdiEUQk2GignNPrB4XVP+kqBbAn3MJzxuxp/qD55pLA/Tt1izC0KTLdCntTpr+oXppFFSUoMq5yCe2PyFcJQsWO3SyZIpwFZ4SezN6ciVLjQrBcqvFVcxduDFGST0eLtBDaIBt8alCUoIDCOk+gufvcsMOkB7cYtcX8fwWNac2MHLuaqJj9W8TEJMcFPj9yyv1edx1UViCEA6ley9YDQiqj4kM71jQcly/l8hqoxMHtdwK3Qq2i4wG1mUej4dSUtb63t1SVryu/0VyKWFPiTxB6F+ywAUJDzeLaznmyVQ3kET+DZ5c/tCWdJs1HH9PkrFhNxQIW5HRjOOtjrYI3vGnP5QrzDUNW5dik4WF7I5Vy0cpylPUG5CFEkrry8qck7zq+uvfqoU21BmvDIVpYYyOznXNrp/UFEhSyfMDPCkSq4e6uZpgMiLYhM8foRa2PP2SzVMxzapqH0JurjwMoNjCX9HXtdKX7xmq1XWF1JBij5HF4YISR6pk82sWXlgBITu7lXc/EowiBYoSL9dHSLm6C64AqM4d5BmLqA9/cOGlcxJNRrwPTdbqG3PngK44iZWOGFMsg2R+V01wmp6MLb1SsR1nErHife2Mj1yEGBUgf6bH6oVqzdOwhtOOloiV5+la9cwj3rsseIlNnmbpq8f4vkTP4Vm0TVCqorE8JEHSdvPpC+r0RqH+96TdAxhLnYBxFTHNK5mA14J3NjajbQWFpwO3cqpTqL7NFitJUTtbjac5yIRwuLPgvlR+e95X5v1fiyDaJLrHqUFZ+xGFn8L+sXDYoq9sSmz6QOmFHj5GKAS67ThdolR76xVMcWTaXvF2BYpoqhTkhmJXWj6/CB7xb9MIGj/qhQSU5wbG3sFrD+ahHSRHLOObMA+CXpRTIxmVKfrG1jJYS/eg7N5z4cZzxNGEUz4SE5QaJcQnYScp+1JqTUaOhLnXDb082AJ1vU1IdtF/HvuWjfB5zCecjyMVkb+GUMyIMh7JeA3n3x9OFnfij9cXuUlhCR5BJEq7dX+Z7saf2asCbnU6+GDztbsHeBYlAImjX21blKD9KfTExYhJha5EfNNe6n37lgBCfnrzCE2ZV34HsJkBP+jOcjoWoN91CPdwFRTjR6LlMVBViLSUhg05TI1EjJ3iO5MdLpBSTSzyG/SbAPcjrDmbum0saxB6S3LbIr6yohmQnHOfgPKvLO+HSBlgC6iV3J4ezhBm6ND9fmyEMRxmxlcciAy1DHL4h5XJyFRnNGRNhMCUi2X6M642I4rxnkzVeEM9jwx/7hdvF/2DkXriHQoRB1em1WSGSCoGunCkhPFe6RNe4jyl3uBYfSEy7C7nfLQScH+4gUwm4Rf8j+AjlJN8DqImMWsY4G585PvY99grFaRnrjFHKn6GiPX3R7UpNH6ReKcYOnoyl72JW21Pikb1kZCrP0ropXdQLRc9hsN11HmGu1pJQ9vN25jHu/kj4H9Q1juyz/Lml5wFPkPsRdsRfhVljwlmlXPXQ8sWqjiWA0hn/SBeN3cc9+XBV6e/a8MHxdLfzVzDGuFrhERuCJm0ehsKa5MPsl3GoYQjuePlws08HYGDO0JcmX7JV+r713CQhish1zQm4lZ0Y0+MJQPe8gWXsNs1a+1C9izBkocTbrSyiCUYM+jf5/nwQtWW0skyPEm9JUnhf+6XQYEx7PwpaLhViHmdN6z56mye3wPDevUva+6fGZpMUnNdiPUhfsIIw4mzpIU2lj2kxQ+dkJz77AbhPQVqoPGuQrMlP47+Jai97D7OfDTOmGC+AmBHVsp8wJtmJb/zlLzXfXDgzA3E91m+R0KiiEyo6zfwoudbr1fZCaFLVsL85BT+S+Dq2dJBpbDtEz0BYRKwDvro3lcReN3weICLb9yYsoZVNPeUesvMpX2L/wEO8d0di/+4rVp1/uhuR8WrwLfnnibibTk4SmJu6ro43E6kJMY8rMJlzjDzeE5t89ZSU0EtNQJfSyi0J2JEOi108gPgdxh8LPyeAxlPzE8gK1yIVNi1kwzcNCfM/ZCq+FoSzI3jnrXL7F/UiL4GQDkg/E0pIfzKcZRA+Ln+gD45MMstlVev6F3Tdu1E2Yk+02qqdxtD9/35u6fiMpz6qvUEwkE0rR6yNTfKLV7lU7xhYsOaiUnQxgK9hjPX3cY6eDFjyq3fsm+8nc5JgbnA3gs/6Y1a9L/Ib1HpLe2v62yadz4y1Cxw9E9cm9VbP4Hy28cew34/OQZTp4u3Smbfje4VBsPak1/YY5W4FfytBaPaRb4/3e462kVeBQ8xY1G5sxyh1ybEfqANBYECMW7BcJ+3qqLf0rq+0uJTcBcu+I+GRVwv3CnL4RBFDD0uIihFCIv0WK+4aR/gu8VaTkHHb2FJ4P8DzpDL+N2CDGyyTkHQxoxT0CmNFMBmyxKdKhLzNpVMghsd/K2FfI7AGmxpDlEbzH157LYqhvIx3rqc32bcwb6N/Q2B+UVI2MuTy1QEqtjq1yLhkDCHDsAIs0F/f2AFkXk5WxCCOp2zUHi3IGHqmoyTRCaNb3rEgTUdd/Z87N4GW9iZgmwuCmg8ankBDEeOrqxdOAfK4dD0zGNOrBBJwb05Bz6cOziISvI52GqZTPoxAh7OOA+6VVH4YhqhJE2feXY0Jc5x61e8sAi6YOCOwhfH5DSi29yNx5f47lx8BOwiZuoL3U/Dh/tvonZsSTCGOU3YrGcnlMKR2afKVvkQ/psEjN0mTguO/QJIElzfaivrV2XzOILEr/yFXuDNIg4BuBWvgLO9apP3PiwNXOIA9lLVpDSDfTFIbDPWLGb6EbPcx21/iqLr3yKjOL1dSK/erayn8C701ZeFNh8R/YXWDlYCvuFyRiTLfAmSr3qBrnlFVgHXa7vyWzZdUTBnVQqcT8WbSxetgzl9wnvQQxDr3ZX7grPBJvyWNv1rcMAWolEfKZflLsIYFFzays3Rnrs8HdIfG+x3k/0HOE7TMWjIfOVbvScoRKATCNEFs/4oQhTaD7jM2fCRuWEJurTkzGcfcQzbYHwAO7koTZwxYDi8h9VBLDq++l8geiRdTGNed/cpasJlw4yHUO01/fZLn70zEoGpZisB6ESCv6ys/7jdy5L5v0n2bREY1B9+lF5Y4wVLknW6nMiUFoUehbEShwdfD/WGYju4w2kjURJY/dGa6DPP1nP4hvdpPK4rfG/wdCIqVKGpWWYLZgMc63LWKiDGMyNhBmH26wzFCITz4ZxEuENN0+Wlvt7LVOtA821JAmkd3Qc4Pgu1j1wjguTwAVqZbOsoxiA67yYXunEknMATZzFp9ixTdKiFotFv+EUmIuUOnC0M+1hOcx5EVNRmfgWMrYeLwJZCIsEGO7X6/anmxIvUJPJCbpPx8L2u8s+ZkRdgFA2iAy7d6E19FcoW7XlUjcpj180GMs/yvB5uIU7kHwOVc1xM0O98D6to53Y449F+CrAqV+zWu2QY0hN/S8kHNF4ysBxIZCCE8z5jx7Wz0IvWTgfc1/sH6LS6yLSBPCsTFShV3BG4HMEI30qDjlDh7AhDhhILHhNzqvaYOY1q8Xi3ugY/ybJhcqUFwoO72PxiHpu1Dclqc75UzlfJAABFZ8cJqeGnWJ9b6EB4FoQCij87FTsc4WIp4wZhOTHsVjg1/rb/gNGHie5DhmX1+OImtGsIe8/N/t1I9nq+XIof/Fv6DeqhsAT0KkD3pqcCERRtGoOzclWHCMU5g3vajx49g2Q8uoaDWxfAs49/F+HRo0X+Ney15pHWE4RDm0cKSk3z3EkLXxokufqTgXLpMup53oalNehaJk8zqR/OzcDzaU2ZBOV7EGGjf6VlqMXpUSmxXR8wiq+fIWeFmdX6mfm/oY7OVKlVUrF4dtBrudX1F8k3hKLauXPCtrCVxxg7N3ZZW4TXKCcviP/f0Jhw+1cPqLhK2/H4fLB5wwh5HtsLXo4IwCyMxHkCiXKrBNxinMHk1g+1mclYOqF4cw6Fc5z1pYwsYgmMh3afAICW3U+w9PkE1f2Jf38BDRDZGJyJDnYP9aHRblN7HdM9rQ+ecLHI7AWdbv1EC8t1SQhb6+DgHHw3la2sfM07ia3of0O1oAUQCyj8H9BQ0e0z52ihaVK8zhSNbf+72RWB5stGXKU54h3+gla1Kq67Qbbb+rckDkq+5onY28LFmxbHbUJWrUavlt57m4oOEmNHyF7e2WkrM9KG0yojiPWefrXrbkq6aKrnUsr6AeoVi9aZhcbRdM2L1HC5eX7fjZV0EUfLDqGXqoRljAaHLP7/MZLzP0EtIpl9IVnGEZ5MrrsB8RgEISdrBQQd7RDjm6eESdYO34ReCRi88ojeCSJcr27lqJF9hY4AY6iP2Y5V9wiAltBZpWNUrxhoTVj5tmhbEgD6gQg2MUbfjikRNDKNbPCXbIHie7HeqsdgdmCjZuLRVxqxy0s/x4jFYed9CrQ0bjZB/TQ5WjxCdLDNY0lzMzFJAHBswRfij0a9QgvzO1U30Y6Gswv2V6Y4ML77axGtk6oSPx6j6SMi5ZvUz6WONvmQLZd9QfzyOymz/a0n3JhSonZ8WX5Wv3hwo8s8ebL+/zpRX0cbbFLMrAJd238rbl6gbAP2uQstQToG9Hk+XrLaOGLSLJX7+CKKYyZgMDEx1Y/InZD8mRRwpv9VKbkT2ooBfBL7d6Z7N8Dc1H+wfA8QPb4S+4BeUmFBzsarlTtHn44GYQS/8YAIjxmCpxbXBV1ydZEPpECXbmdlB30a+syo02i5aItiSXLcWlP0vaX9vR7aktba9KMtZFzX9R61Ce98fHObpma9r8Vn6OW8jE32YrbLb/3i+VRDyOh3Ng0S+tFxFlPs/fsjPy2gInthkXZ1K6P20VMLX1xKWVEOdEH3Uf7JmQZ7v7+Yv1banwFVFA3E9Sl6NZG1879iSfB8f2hEH839voH4/nalyygy45rz+RCdhIBWIiWC50pIMvjXksDUuBKSk/L3UB2TykfG+N1RcQgKfLnZQHU+LIIJnnQjEFHh3NM1lvRi5zkWaRNNlWDDBY/aTJDiWZRxA/ORV5gYCq78Pt4FoVBoLIJTM9Bcl/5h4viUsWHKe2PBqsa4WIzLCTq9vcOsOv8VBvXFFNBSaMMGf8qBapHZBiBMVih0W+l35amq10h2ihSKH/wmNSuLAy5zfGO+AsfE2r8c63uhWY6IauxCgJXG1JCuh3T36i5A4MUlAeJNpCAd3OpMp2erLu3tBzLkGaLfK51Z+Aa8rz+yRkGOFHn9ybA3KxpyjqWSqsQ6T0oHRaElEW46++tMaevQmj+quIzmc9wWLj08WzEhje09XLK5W83LRAGFsHVRF9+TU2dkHx2TH3r5n+BaBK/4IqB0EIA9q0w/Wxf9vyRrMn/RqH7XVZbOiWiKPDGjgLTp/h6ozdMQX1xF89eeEQUkfaK2d/GANnSZMHaz6dlSgZZSBmldvUXedF8ulL1G/75cFv8kTNtS37Q7lbbKQ7bd7C8F2F+I8PbOTeWsZaT3xUbTfZY5c/khJz6P/sTOKUG5hlaIFP3sIsWQvytWjIgczz3nTzsZMTc5157IgvhMWRAnTIzwrIEH/u3YnLikAAwDKCc54BIx0SQGEnEgLszRM5wefT7EOhDfxzWeQJNIoydv8/8jxMdQ0wxzilHuU8lXLSeZBzqgY0nkiuwoR+5vfMRLLCEVWnZmvVXnaagZ44bi/xyFTDVSoUq5Yq8zEpc41ye720TxD8slmTbQvGF89NGFrgfFjuei0k/9dY8DUngw9Pmpd5hk6NMur0MhW+bLfEzzy6DcBr4e7+XFTTLJ4zqnt5rDAAUH96RNvRqMVAwe14i7kygGKi+p4GAxT2hB/yjVn5zjuQ3bTnqqAwNdVWgf571fxQDu8I8vS+DUuU/DYV5w+fzHXy7AULL56rrsDh3QG5O9KpmRp7NXG/9jAdbM9AbFnQAmyP4Ibdr+cR77B9Zyw5LuSjdcfjGcjz6J1xLxr6ynEFWDxngNboWho1L23HCwFfw7688MsqaQphbsKkWVV5q4bKdxHC6e1onfKAJK1EEWoQkXxlwSe5gPK/MI2vzL/Trt2/JMkxdEZjzqWDaYyHc+fvpN1VFvJpA4MI0JBsRd5WiNAi6mK5FrxcKZcBtNyvkzo1XWZN8GX2C+0+a5+nZ512q7uhKtlZFQchyI7jzPFD4LrVMqmgFZRcwK5jVvcRlea3pLn8dbASpV2YmZejLeGpQ9/9QZq8+m8OBc3naSqLRMSwkjwOshMcv1772h9jS4i4Sq7ZLJCXcffm2XMQmxWlalVG0rhGhbEgnHa0fqhBEYUOASbSgaChWp+Qpg0twhRzreWGV9kqpxv4dPKRF78nq2Xv2uQjSzQh5Q/8h/DoxOCCFN45XG03BtQvO01imoWFkuw/E4DhkP1CXd1DsT0mLvzomdfWI+o+rY0/EU2kLajw0c+0kPj/A1fuqWscDdAuRJreBHqyK8dbQ3XyUQJhjJ7DPB2tpDq1NCBS0vPWGYgn41XnrtnmIrZvHHQxku9CZxk5aMZx5dQJBkg50+a8AKjZ28nv+T2hv6mC8gQ+KIS78crIXVZ871tzCDoSB3b7wiNkDyAr+j3eKi7W79AUYHDPKNwQKgAFn6Fzfbk1OfwNeHEWHe03oEkpI2hRVXuzbs9eo7m2vofwJGc9UM4JgssBQIdtCmpkziA4uzAjRnSngdQTsccPxgYM281G1o2h2Y4X+mY1pzvfAhSdBtOZQ+8BlLcIn9fMxwjQ/7bqOes4BwbpeMlJn0OtdbN0yRvh5jK++h1zeO+sR6nkTpTrR8PVIhuCGQxUpoblNIfhNeWfeqW2kYFitOobPgwNhyk8RH5lvdW23Ps7gBQ7TR6Id/6gRTsECjlNmgQCng1T6HWqB2PXP5BSi9qSqgOlChljHHS7r3ESPucCh7iHcsPFjaECvNmwjoR20JWyw/UGtEewHod2G+/XMiIXxcib7jLD51gegudFV8sIdPYF38gTXk4xuBFaLcjFYuuxD9rdkR/03t222GkA/3hdhTNs872+2hMKjTQ4KWmsnUYsRwSioqMou2a1C4F4swVFHjFgTkpUtp9ytdnANxA1D6nfTdroJcwG5yT9C5o6Q43aC+vghFEaSl6SqfjXmM7jGNWK53FpTT5/z3ks8s5ewaCEBckzD0nMZr9R/eQ0SWaZlCWthsr5e8gjUX/lHRWHRkh+uPtj//n3CsIYRmPtt7lUapikPxTYGF6HGrNl1erkI/kAXJCqSTiJUSPsRuCMocLtwmD0JvQIhjg82f2x+6KkNoOyGFJtQ/iEFlzenYon/5susxatoG7x+Bf2Oq9TnWonY5CSKXz9CQKeq3Iff0REHFumaPXlnDHW2+okAUjE695DoM5GCjFWjOOg5K+kuPRHVqQ+X+KdIqPnqziJbLPdK5UP3JJExSC8wBtazMKHZzoXRRWeSeTRbmyD9jIhX8Vj8KhEQ0dCvqbIk4uEEnycIbiweERgRSuuVgTW6CDyIYvZMf8LznO7tmSVamoIUIeo+BaO/06INT+zE7YwgfrIf0O7W2U2fht0ZiDF51ZPhVgVrSXNThBlNY0qHplJNdVyjuT4WzccnZuJVn9kp+v4Z+m6yHRQbYKDqQmBjzsbzeXskFc+pqrA9hf1TFzzmPDt3IovIMTZAsRitoO+P9sYh563RpoknnM/NRqI2DfiM+UYue019adTjOGhaCWQJBVlVjY7dQ+A9/Kgk60jAK2rxZIabYVHw+ewMiYx6Ls08mqYhsKchKeFTDnymXFBNnRzFh/Rqkt6y9RhN2JWlDZassQkW8gs693vIWZ/bvxvhrNQJQNyJ3GuahkygOq7+UjJR9YrdDpdYTwQobezgntk54qsNV2SPrtESeELNt9Ec6G/Tf01QJEfaJ/7cWkaTvBacALEDt6MNKz2ZF0m2/28Rm7zNlH6BdfLyA+xnaKTChdKcNqPHHxZT7xrmJowqg3dICCb285JX5qYH2vdyelGCDJvAEkyMMAAU3w/YKXqzgvLLsa/cEn3mC06AwT/Td+RR25TIAktPyToIhXugzHDWtdMPqgbPlENnn64YWC2wd/drU3rsw+R5vwHon/z9x+RzZx7GOQYd8tc5T5042qHIF+OE6V4oRQmAjx7WG2wMGFGDhrgfrEj+pzcoXUqewLNypausdVT9ol1poJ8oiPSMn71Wks5dZLf6j1dGr64eYf8IY0Id1j1u1p9vxvsdaSZJ5+B9vBuKU33VWHmD+siboCewkq46frpIXmZYyJeUc3bLpqUo7QFucTJAOZ7hR/6E5KPAVJBE2kcEWyZQ040FaF6GhyxB4+xUD5s/tGIjulYiX9jhKjtEdMOpGIU32uZuKdoXBt5RrYBzamUrw+IzqZXQwkyGtmNRAtHyJTfyJu2iPuLg0lmqB1cWFU3qdqCEaJ1VBRm66NmES1kCnjZDSAfOywb+Kqbz1ADF/JMpGIOwViz+rITQzqe+xZZjIwm0pMCd00mklr0/L4b+OZmgptsvRkrOZlWNplZnomE0nrZicueL7zxuTYz+EANl3taZqpLSXc9GsLSK1TpVD1KtgikqLld0gHrY5qafiISyvt5WjwrXhxS/m3tPCcW42tlQ+FO/FepU1ccq6DNHviXq8o3WnjaEKsvfBotJfgzGqBUbzo9WD6mfWebseqUV3jd58/uXM/kq23o1WA6hB9BVhU27fA+VtkPw1KlD62jvmSkq3gCHPM/B3rElfp81DEmBIY0HA+bkogmwuS5cyQfmsarurzffbjVtiGwBVSXhrttdSgDGtffMDtfVv05fre/FD2RYVL0GoP9pxWRe0y8BoC+DfloMv9oBcHAlWttiElgiyUfzyjen0i1CbY6/qmS+rxiq5fKptjdRUGcAlr10oROaylO3aLKMweJv4dj2VyK1F3ieb4YB92UzAFKKTXl+VSlAcXHEBH6nONQJpxqte2iar02WrIHALnq/Hx5PWCZYlkXxZnZRnFWwd4LOJWnNu1uMwwK4IHWPG1oNsk1PiUtpvdCF56Ju1tdFs2PFSMb3BFJuCF+gEhOzrtXw4EPlPg12QDtNQkghJz9Yz2lBXiIS2+p0cEj2QKpzQJ++I15xh1w4askLyuRb4h/s17rqwmgpFqG3kV9r73069R5q6A7f5RU0Bco4ISNsXNg9CKoVjoH0HwOSViYwKIFU2Tx4AptunqvN3oV5AYGYZHkR+KAnclmtBLrb3GRGQbdrjYfdtEKlJzN3Jn1J7UJwQAbbBYLW4ngVOZAHDREka0VAlvE4UwYyULBPL3HojtTLJ84F/yCiRSIRK9WJe70hcJL5x2KXt5ee3hrBMnlo67tBp+PFwFA9F7dgR1ldVh44f0pTyvDfYe7yDFAy8eMEoreLuTgF0i3BoQ6grac5oEYa0vkP8fioi2BZk2AHxODsrY1kOoAZDkxXoKEmFwjZkJeZBTxIiXBVxFQHfBYvoB7zpNLGmnihDJn1AiASJAimh4I5A8Z5Ft/lh+kOxvlydTyFdEHeroNoGMZm+Mcu9aCmr5OixG/V+U6aS55dEfgn6zxZlBeR+uw0BaPQSXNVr1MIqQhkYyCHRyxME80rn99GTTajWdq7zq7cmYQJvHwZ4+8WvSjTwGt5NuF6N0YyTktSP3hCe6f/GswcrPTaoTwwoX+pcNKZ5wlLvaYOCR+b28ly9E9FkDRG9Nw4xKcewM9Kun7gU/sbbChceAxMtmhUaKCAjdj0s3kzV502u91Q5TsKztJL0SSCn3Q1K8fd9VoyOxYOm0W1eebCR3bnqlZmSyiKb5aWPXtlxio5uit6F/xdyxTfuyKG9EhRXgEYsfZodhhzvB8+sE58UmpJzQC62JYt72fydFeWl2zcRjwAW+8QTO9HQd9sRpeD3mujOxsWkkcnE5wZAGZXFsq57RyvI6m7XjM88YibZA+NuIJWeHh9QkskZtpk7P1R9CJCbHCdTQk1GdjKYA5PQNj0dDfCNG4lKABISdOl0Kfhmbn8NFiFiEtKjjDe5o82vl4mbCrnEgZ5gU9E+L2ZrOUZdaw+DFa120+tma5DnCtSTxh0BN/QShLL+AyKggOQhWtdmASRC9oqskng9hZAazjd3KpZ2uyqeKfkrpJR4AMHnhy89H3ajiod4kEyowpNJ4Vk3lOIibQPGxebz0NM6Wy7p1WAWcfPz8jVtohzKEoY3JIrido9ZJt50k1J3t3G54bVvPsDfGqolgRmN/FvLN0tdeEOzvPOIesMpXNntsoccdOaIJajaHQCFAp+REHvOzXD3N9a4kCh4Q/Czio/EfKYN2FQ4dvDG/2+1YPnWupPVu4GdW8C6Ft+7oXzf1EpvwA23RQv8/r0wSuxqwf7Bjw1uWbG96wIic7SIDyzM9m9LU4XY2OuCHNHxrB6EC6bBOu2YNH0AJ7qF5uf9k6bJi61tPxitqQZAuM1qGTny3+wecS8Rj3lTm+/regNEPFMGoi58+StsPj+0MTEMYQ9UNJgOPPy9+fT0xiZxln01SdJ+txk8ToxTIQ6pXGMBsBheNVFxJTxA1g1P3JH+OLYmeZNaiDCRcu1YShYoOCd4IBK2c0Vivcr1wFsc5qgZFZPE4mWh66Ou1LKWFqe0mbXN8OmYORQvuruqG0ESbJOdpIRgf3DqL1JTTOQZQOczdCdkj6UTougW6V7oFxSh6Z0BiLjj7bGwMRPNWWx2b6PEKxdDvkoiR0r2NgIWBiMQhgLTVeP98/Ruy+x+O7Adz1DV1N4tsTw2Dtm0O2+MATCqjRbtpu7AcxwdqzPQvT8QUfH3WLOY0FkPA793ia0yWAmDvgoL7kNnf0wmwMsrcu7ikwqsn7yR5S5EpEqubb0qBhOQLlYGZjKo0psaqh4GmbQDefpUgM8ceOqPLHeeKwKUqaxHNmDOl74cA2H5JTX7IOIj/rvEW4QPMCkLV0bqb92Ua6mcApSg23i6kLOtAo+J9Xhh6GuArSW0eGDoqIM/xFSXQGUpwIsb1A4D9pb8gJVVfTq9SR670kmAOY5gFdPd8CYn6jfepMyY1CVxK1JTmuZvOHyrPNrUc0vD0G4EwTzj32ExrVae4Rc6L55KuLRztKGonjykCLl9Htc6IT203iinNioDvyA0rvkMZ+GzPtikNmhUxsy8VFy4vQtc/cZMGLA/TbKZ4JdOaHWpWm/aA/I+FOc4etqNeXGfpKsQ0nYyeZ0BVOE2bwclwrsBSrsgiKTKF46rVd+mYsXQltmVh2wweIYvlyEZFb61RWmDYk0lqn/RUZRhpJiAFCugcVR01Z0A1+CTRxD9BYJA42iZ/7nQY8pkE7EiwilNAf8SnURzviLSt7Vojhc2mfQVTHBRJEhHF3LYSi9UA8I0W6w7A0a5kVAFIDOhktYl0X/sFGstYYoWOGWxc+pIWGR2i0jJvP8th3cyOzijNzt4NdeCdWQ/xyY+xUDdiWDtPHthXGqYumEebTnyykaIhJph8b6KMeEexdmwKYvqbj5Nlp4XAaK7M4JT+Tor26B0d9UZr0A5DzH+6rJ24nemaEgGXCrNNio+C5MgvvcTPDHeWC3ZjciijZPr18KaprV1wlVXbX1TD3WO16j/5Ywt3TZaooj1ssOuNqjEjKV0/k8plmBOadO5fFx2HeewrdWy2XAvjjjZiKJxgN1IRU6et70quViDq+R7e1UH/6z/wFPq0ZsQ5Zyuhc837AVWUxjKXjJ9aycoArUcZAwBKS78jAJl5Y8oe7FpNBYGpu9RnCcQppMyXbtGNgrMU5+jOfsbPJBFSHN5dMU471McV97Af+S//iEGxKwt9Un+wkkNWV/Uhm1Piu1QTFUr+BvdQn6MMEUc44hPAtwCSX/sQ0crUQP7IP5S8C3PWJW1dxZsrBKGeJWt0xaF+xAEd+iwB87RFxGfBYeb8abaPfk1KJlL4j7+d9Zv7hCuOh5xjfT2IhwW1cRuq5SsP11Y0dwo6SgH5FCfBXKkfpn84p/gmn7QsOrtsnv/kWjcBOcTJCs6Rv40q1+JcCwZwh8J88Swfn6C2W9uGt6pUcWIOp31XIlMmF74sfFm+gjJAa3s9PIiUXDDENAHTnvLtvL44rIDyNmTF92Pu35KgoJdebbvd34Hz6WX+wcnHFWPWH2kM7zh6X2TM6O5JT7FgzYzkZYWH/ZqBHdSgbkTp0Nnuvp0EO9DCC63hAqNnHoGj8ymnjOHuJr9s8xPJkw+fSQN7aE0iUXIbShkzFWiIM5ypdZkfKl/+A0AJOrslBXGwsmD95NJiHK7D1H6cXYTkP6OeOVIrqoaDGUzFOmEaeaFTJS4LUREiwaN0VEyFgl3u+ZiDBIfEMLAcmYQaRRNGRPMfWOJCiTh45q7gdxj5l1slvjiZhkp6pedc5yrTUJcDoYu9ASL5G5nnbL9WQq4OUjGHAbOfWG2kWFO4WneGj0uG9OvuhfAjh+NVLzJ6KFXDx6Gydoi2BjuqMj1kJvd+KeqX9UWykT74ZoDLaNXXA1kbnG6gRgKQ3gN1L/ZmTIShQlTBX1Yw8YvwG6mTvw08lJhoAMY9rOPYP2NhIu8JP1IKb7t+qPoyRim7xIfALXaVhq1ScqQr+M4TIlkj5WPztWKg6gL4jQB2ZW/qyWawu7SeqjKS3x5r6afFQ62MH9+PxLIfaiAwsqMBSoxaf9uqj851H6H7fDD1U/y95MqCgFwpqcpyFBhu002sg5MSQasYhYYZTT7sV5Ma48BVmTFKn5Moej3jiAdGhmcV7LpuITl6EvGagM50Qz4DDoCWugYVbcHalM/fVqGk6caLLx0Ma48XCa95H0ioTQzX8ajimR4xvKqf23Wj1pHRclpxoFpnAOtbUrv0W+yibdUMn/ORCLM4g//GHGpdxPIfx8Jg0ODeG0g22NfrTYQnlOpw0PHszG9ICa4Xb++sfv61Kb8CTnXt1OsDD5m9Yr0kdKejZ/jPpzWtThNvOGf4sQjSNTjr6J1HMcQQ3lbaQoK9AfmokAzD4UMf4ByblEggeE6gQEOG3SdW8UrovnAlFyA1y6jnjhxxefEGNf4/LoU+RP3zr2MV2jJtafO6siEs0iM1qaW4L6BAeGhKL13S4grl8xex4g/lmyO7IJEJAc7gwjSSrFksWzUcjbigWmMKvxkXaBLRYzW1LeUBQeWgnDVsdVFwq4FLsSfhmYTEo5PoFLNZW25apdM419UjDyL2QvpmWwY+jKGB9NVFNY9mSRoyCjKX2Ue5O/01K39hcTeQOCWUZd9DFDR6jxjYE24Jr64/6ii1Mrmvk3aXcEgwJKVk572hUIRpjwanl+VZSnuDMTCZ5dvLCBdyYgmqj5WMfrqbaSjMmcf8F2vrNzWWfgJ9TM6RnyuGYP4Mhzo2k5pItZJYtffd1GARZA5sOfZIbFU0brUxrxskLrv8IylTEfN4JHOtvAHosumuoq/nAYPeNLyDIpFaViMhWbl0xuArjHK1O5LlZ1BvZKusuxZ3/sN8/HRwqz9UJllMWPqsWkH4e6W2dWUlozv0jS5c45NH2S9m1ZiWSSscMPI9C9UwsObqzPtCVVcwyOqhmlDFPXSLNNthXoYn4/KxUkK0Gwa1clBnhLlcCnAXR+TOQM+v9SHPap2Bzs3OaYDo/g3PMq9vhbkIsNAgXpnc0FqqGOO0+Xl4TQozjxW9tHQJQWLn7S7OJqLDioINTqNVNXY6A4vENf+XK4JOFXcy6iN8J3/2GSVPCwHEX6iaDaElZVafafcYhoyYUpPCF0cMTSUxiI/JZL2Pfxbg/hQcbR1uKRo/plhjb0qh8T9lCj/GHcpOEjxfWYj0sJ1KxLWdw7T/tACukuG30EgnPqcUVAhX5KrwQGoqWSajID0kzp2XoGpgPvudK9kBAsN2JFSrZFPF4tTO5A0SBYyUNWOuF1vDSFdQcqWXpUMwyvdN+vvXrAh3fpubsP9ooRYAv4qpsvbUFdNuuxBub6I8kRPUgTew8FE/MaPB7hn01D1h5fawqvyI8cx5vP3XaWZqbIjGWZYmU5SUsRvvnAZp6m+npO6ujQBM5KHfEp0DosbHDVn2DQTQKZu4wrPnSkrRAbdNSb2sDVWZOoBK7RBoJFTOFdg1pMpXdkdOL45LiaHMhq/UjIiQOIINdYqA1GbYTbQ5lemMushkEQpJIk+y0w6vxjqsL+zUS4RVcDZlwlYwnJEUpxvqa5d1JA1t89kble7qsgQ5bBl9asKxzjvjdp5OJy7g4m3/gDfc3XvMrBgPC+HhVOq+M/LRGMewPhAGeN+tnkSAO3j4fxr4H104AgrnuVdt48u/Ncg5S50Ypo5mTHzudPsFQ95BGILMs+ZrbV3UL/P00bk9NO0byWLjS8MdLwc9PvFFDn+0LQ5Q0eK4U+g/b+2SFOWCjNYJSs85VzuLsm64vJRYf+HCB0d9doLdQx/pWebKeazrwj43PuB0VZ7X6dkkBTJpB43hWa7Lwgl4PWgeHa5ClCOUvPK4AH1lzPrdR4D/z+QNWcG4JwxZDFL70G3YXAmxiVa6zsGanPruCOQcfE2WI4vz6HvEDPlN/n6hFKiV0+MqE0gSTZTEEIrM5fd/sAriMMTHjDpigISukSsbfL/RuUb5WhZftyL311EY2n3UyZ5SRYL66EZJhRGl7Tq7DIHGTpRuqQYNDWgkLXHMzRGoCUUOsRn0nQxmAELs2ApE6rnCLH9XoheY5CKXqfzdHI07CNv3U30tsn4NRRpzA8uwoBoiFFCYkE5XLVxJ8D/lO+NOdfnvvJ/E/34tWd9ouEPXBj4czuGzgyl3EOS/jizRD8yNMo1Kng0627G1omoAxwilXAB/jxCgr5dUHKh4R47zMDNYGTfB90JYt0jW2wuTJ6bptJGEo41kNnO1dAa7k9hR6AcURaQjbs1CGMHR21GEZj8C2utRDkF0VEpxhgfUer2DcUD4pTyMqSxlExLGmCo7NUTwfAYjV14tyqgr6etuY5gf7odYUrCB9yvfwzjG2pLxpwnyxabNndnNUheieLomsBMtkQfeIj6RPIqQYU8KO8cCXHPcQRt+aBHH+Ub7R0eJy3scsNvXPml8tp7Cz65yacWnilL9twRevkrCXlGZa1gxV2EIoLUNTejnUdqeh3iUSJsAdnYvkq8ZWpf7RfuX1jy7mrYE5MrwDWZJuE0rRV87yRpz8a1VWAlfddNx9/Uwv3EK3oLv15jXuqZ3EP8Ei2SwSNK8u6itj4wlLF4VXt19j2RL4YLSJh07pkorKDRwDHBwmVM3qrq0M+FLhuzprJ4pck8=">
            <a:extLst>
              <a:ext uri="{FF2B5EF4-FFF2-40B4-BE49-F238E27FC236}">
                <a16:creationId xmlns:a16="http://schemas.microsoft.com/office/drawing/2014/main" id="{0395B477-330A-4CC4-A5B6-6A46FB53D16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0033" y="866271"/>
            <a:ext cx="2245815" cy="2071449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NÁLISE DE CLIENTES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Acompanhamento de carteira</a:t>
            </a:r>
          </a:p>
        </p:txBody>
      </p:sp>
      <p:sp>
        <p:nvSpPr>
          <p:cNvPr id="17" name="Retângulo 1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dJyNQsGPTSy9VzFyXWcyU6Os4XfuIEga+ORcm1oUjmCoOfxUU5a9TFQxK/y3ZGXO0l4rkIipObPFy8I+2mODSVjoju23pyybxAOvBrrYjm+LMMdc+EfKKOkKpQG1XtIhrsspKiUPWN7tIoSzvRGrSKPlzG/G4k0vE+A6aZYUSCegagkfXkG2seWLWcUNyk0RbLNSTSSAGDHpGGdldNGvhIJESGTOM0bBUCNqzdtECC/d8XifOK9pQvwEAF7qJKc3KA2zpCh5F1N//xXpha+lulr2R3Fk4INu2R3qKYy98PxMyLMNO0a3YjUOmgU6TzaYW1BhJ7mri/zLO5PAgMfgxeVlmDRPcctom3HZZ8OCNXy55GvIYmlvKJ3GjjqKhbpsH7jsrNeAyCn6FjG4mNZ0/hv8O00jB8+QzPYwdQ1jJofhjy1jV4bqh3qe1dxK8NhNLft3AV3n5qC+bFyAEx8I6S/8L2WXEW9LOIbZ17CayYZV4/yWri07M7RGMnSILi4hUAtJ+6LomMupkpVOWwRqSv7nWaj959cN5Ep9UjJj5F+rfnTd1QADxh00l0WAfAtflXOx6Wxyqnw5uJPm9ZdSW5EqKIXK3hgIvys8HxN6kWPQjo2MKqgTDI357kwvI0Z0jRFpvBz4oPl4h77EVn5Pp6olFhCoItVbjzZRqayJ/9aahOAnAJaD5tTZYYxuvZdZ+029oZwvyNfTEoEWDV8Qo5YC1G572wCeg0xfuVMwyMmL5dqkJcZ0smSTsTER+ALzxEWsI/KZiNqHvo1IGUA2i8lNI+Y7RYZhgS0Bb8wY3BDKl1FeLi/pDevsuOeRiwcQdrJTBeNlpCVs/DDuIrkw7FtkAnGY7EgbIUTaCdYJ+TdL+0F1dR/fAt18uxAMEYE8zKNTZ2QcwmonqfBHuH3/irneqfPVCSqix4RmqtHBYphwprXcCCfLgWs2t4hA1nyC2O7ooQHDwSivEI0bez5XqmgYWk14qhnjMhakEp7HN6lN5CLKJk8h5uaU+X5LjeFchIyCTnDPulMOm1D/wbtw+n9NnA8OwMeTyz58V2Vj9zVpr984d6Xtaf1YjeJz1eWZh7gMzb9uQPKh7HW2rvt+eHSlAcE2gBVnezZUKd4FhjmxzAId6dw6nMNxrk/Z94aaJXPF911N4FGcCnB3NSBPs5YV4Oc+mQR1afDCe4avKEgSVAxnTJCoEzeDehpYoppXxYda5Vtm1YwgLAJg88EjKBiDpXXiBCGdH5tFEe0kYA3OkAycceB8XR3lc+ZJvW3TL5/pbyHA4kh2qGV391+ZI6biR8cdiKmjW2yJeGsYYzcLVOJ6/q/J8hHLVXbHyacbLWouAkv2ZbiyJ+XaGdzmfNVq0aE0tlMDozhL41plsqs7rdiIFA6OPD1TkvId8hDPr/M6dMuzy+lIl5dKzlXAiyDvB0d+giIJ2oEeZg83cnkofAdJoKdIFByPocEiYQcn6I8bK8Y40UnN91FQPenW5V7VTGsCcnv+jl1yXkUuJMEM3QBcYWTDFkBdf6nmzg4c/125b+M69P+VO9v6sYCE+AttrL2JvL2kJE4gSWsDFZhs4mYsAOA+sBHkVSCLli7Xson3Xh2ne4pmvSfowM3jtD1/IWOmujLWQEGSoOVCQJT4bAnYwGifmdRN/Qjgqse4W6JAMBfcbuGnG1CtmcmY14rhwx7s683NnHLNLsQxthdy84HOK+r26jlwPVgJqyOLT581gRv3AahGcFvoauwQ+ZHBxuKM619JwDfq/innngy5vtNtkxKNcOJkrdwfIMsXh9czlSr1JUUWqarPQee7sd4zAJDDqj8hqmn8rjBoDbNR62iwg/uyFY7PuNMEJVrwfK15absh898FEzsYnOKDPkn2gEQrAKA6t2igC18xXZMX6IMWaSzbUHdJYNelJqaavELK1AqB4z1JrMTGEMo2Ez+utsW4UlQ5FgTLuO0IuLmKDl7AvZ5TB5GmrkkgGxJXasIr1FlKzedONXD6LJ89EICCey/S4M7yFHU/h7dIwjldNa88tqUO4h00PQDACoYKAq4sp+OlMBxDiUazysm+IJmdG0ZAK4RJr7I9UoyScCue1MRD0W+zjFhSBOkmiGxnEkEvbMOmj/ZAKeIp66gtUxWV5Yis9pJ3tJ+gd25wrFJE0RPvC6tCX0EpU/lbHGfwouomvVHhphXEho7s4QY/r0dtJ0EBqsAH3fDS4ZTJA3rD45ThL4j3k6xuvKGx4xUS0WG1O2GTa7bkwKbjAAhJGxh3gkascjNOGL3pE9Cxrvp/MzYCePiBufx6Z2zrC3bnKdLHzqFSMLLhv+VC+d/L7GaMowoO/0xafjdDCccKBqWBk8jm/g5jx8XqztspOp1ydSb6lYCgBSHGrjqRkN3jWhC6LSAk2O0g01kr3HnpbozfGl/QwSUeRxKLbzShYxjBftxO+NZYt5TsctybeTdK3qMcMVU/IEtx4HTylgYvf7ojB6viFQHw+Y1Zvz+j4hxfgBz/4a6CW5DZUj/zTY2yGEertbhoiPGvgmbIW8H1QcynsxwyZxcJ9/LDqz5+lcH2AJY1wKqhiRhVQTM0Dhl8OAplQGukJ7wiKpm/sk+FvWu0LlFSOd9FYz/Qf4ZlfcuNF15sn5cRl09AADXk9L7vefErZR6cXLYdYIQANJpaFyDBvZxBcw27vc0FhmMutkH2etrFCB6eUFwjwRoQIzsCUBbKdCnDCQHYtBHLqG6hmFQfVKJ6E4oNn+kc+uwUleF872hGJ0F5Snx7eDy2aRZhyiStUT2o8/IwnYZVPuQytC9d0VXgU3DuZLZnieC3Mk3qdO2kYLvZuPXdZKzF0K+iZk+sVBd3KLu83J72F/uwuF16P9t+ZEbI34dVbjwc38hFYSYRG/NyNvJecNYjuDLkhbPbV9ir7DboZu6Oxqef/NF3C4R0+zJBkKTILjPjTgsiCqvHLZQVWU+o4sieICMrSRP8TyRh1IEMr83H4YcMR+eiYBBSXK8lLqZCYS3fro+yDAwK9gqsAQh8IQTs2j061S4GYrshQJNujJLBPkpiqw21nl9EFSIvDqTQ7CH+9O+WIFmH+1538pMx6HeaBwZ/pVCKL/tlKt4+qHyXMfd76OSftYaixgEJScYlVQMYNn69Sk8zaxOGUI+XCKt3sQ/zxdKa0wm3gVxywb5TxBZeKj6LmC9E3bjYbqWXgSsg3neAC76pwosBG8+IO6umYcIuczXmRsHRldwjypzSd0EwNu/gcsgxOvQCBH82UvlVALUBp3VU64qRC9s+8Dz7/ntLhA80YpXXnLFlzXY2csWQC6vOGYAr3kQHQMIS5ANizbM2zXNpcCLASjTSfh3Cg9XKl0isIThbiTnKQCcELC0+89ZQvks2NNoqd2ZuEZv/7i8Z+WTIpipkOYYcef7Y6k3ktfLHgFO9PLsATj0Zu6JVAok47cGm1r9YPSxHExYyJtFXqcz8/I9gqwEi+zHLupdu3pMbcYRUkvzjE3+AkhZk2XtpEY1MMF2xsDUy70RI3ezkPzQPQHjDhS6Ewgj6Gi3IXoxaoALoR62IUfood8dbzOEz3iYjERsFQHVKFJmbxbTi37vbCO8V2dJte1xXWtGwKpT/cEjHNc2nB1HKq/wWps3j76lvL28J0XsF1hGNrhIUbZ9swqHaVqd7o8aqKAJFiMucNaqDVqNQ3xYTG6LUcxeSENBwDE9SRdWk4H9ohQM4R9G2TpjVu5iLI5ASz+n/Y1SKRXMShA9lOn8PYzkGRlF+ed4gJ6zI/dgMNdoqBWSeWYMk3rK+Gkybe5m1dam+yzallvAe6M27Y7K8cG3qXfWHM6446Zka+mvRVh8NQl4XFFxc1wiV5PwQkOlRzLRoJwAKimdWZl1wDFSKNuME8b2cNrFxSWnIBcXR54D9XdHtIWVZxX2W9XVgNDGqukEsInP9lI/JCjy71nN9yeD/MCBzfA+YiFpYGvHBx1JceqFmOy1yJah0NjCkILc+c+s9osAmZZNNvZFYn+T425hjJxuYQU4FtOXDrbXmJNJsr2HJmJ7/7KvVfecO9JFmTCCJBmuyWlUbzgmIn0VCJuryog93otDexHr8MOXFQSH4y5dQmHmfu0PSwMGfllpSi7mTBW5Qe8fWreLMmxfyI2eKUoga0Sp4YoI8R0Bk10V2kTjfzdNSJkm2HvRukegKcicnWVJe7P+wGVP0zqGiv5gIAWnkvUIZxImmDgAmjt2733KLpNlD3IMk8XZz+Z1yanAZQIasInh8+NfelNK3PXIQ3NFQxqmol5P1topH+Dsq5jnzrwt+3fiDxsXACa4cbRXehpPQe1lu6l69waROvppgOyzTpMX8pKy8xyiOkR2iAMUtueEA+OxjYTF3UbrYhW2f8CVRMLrNG70D7NnjmQlRJJqRwpOR4bNvOzVPoAPzN0h1dYEvskUWYLlbbuOIcrQ9Xf8lGOgJP6H+I9XnjBFXmmatfBto3J6kOwssh/t05+bV0TrBqphVFbiuE/70epVZTX6xXkmJfvPVJ+ap6AXWH8pS5ombeECPJ4vJGDbotsqYUoZTk8XHd7dKS9vxCzT9usf3cTDIw0mJ50koBvTOF5/6A4RNdKkLhYkh67lSFNhETv7L8j5cxre2MUvf7uYZZhTaVjS96Q8S0l0g/LwqCX3gbNSJnZrfWM9L53KyJB5ftHP0k5l0cHBfm3vm4ybOzyMN02PttDdxLHWCdH/yAiPyIx5cUh4u1RWyZ/Duc/4v2lR11DL27o15T3/M1KXQ7pcF7LmPA1BgJE7VNiGwwzhiSTGpEUt/rl5oTQ+VHUrT+A4PkjhQjakonerCWHbEXjw0eZxY3jzrNPKZR+a7LZWoqzf1Sxcymq/LLmaeAFiFFA3ZXHbdxGchyD0wa3onaCnitoiG2yq62tr49XGAkZXGCnEouN2G7zafvgXz1kIrFTH2we31TDSKCFdRExF6yqsIQX9KDA+FAS2kX66LFx1Ij/VbsFrNBFXmS6HNdJdvsU5oymM3vTI1ao6UpmXd4aYvMuN6t9zQ+we5aoRV+iwhA0HCEQLnWCTjau8h/hLJuzEyXpdZm482An7ISfJ6JlOz+NtYz7GWXdpz08NNVlXiOG7yZ4mwTiCX/0eyXLGEaKWul99Bia4XagF6FXfrLFeM2+Nh7nU81DRm73lzhABie11DCBfyXjyacSKY9I6FiCsL6ygoE/JiihNf1kWM5TRzu92YNskKrKC0NUriTYx3BvNqsaFKGQD3vqkPvJQ1h7Ae+uJIJ+b2TkIaBPOveO9PrtQKZOi3nGDo8LW7MqtD8P4VYA/QGNY8kIByIq/emrtHVNk0UVBBhLSMPKFgtkEolbl/5t0qfluUARC/FUe9Uveo6+160tmFAZFyDylOsK/XJmmMa6+pDGXxPlmU1QOGMS9klUhKZ7LM0NtiQDnREYt/WHJD9akEcAoipw3S4Hf+kckok3cCliu4M43yiUjwYnbOX4DNB2us1azphECtrlJJ8pE5MOrl9O39a1TAz8n3Nd95ewmZSnugUFvyeoC9AkDX/S2PeqbDy8o0XT9OAO8fWp1N7ya9yo2ju1MZEyagovmDMNbv/3EThYNnbK3BGBAxb1qSf9dLzmcS1trYivyIVavXa+bRVUk97uxcPl70j3uBTDDjX5JRshqD26MiQUXSMmoAy4TCnHoXxISAURsUs8sYHL37Vo952uw0XlZL5JEV7FXFW3TMMFbUtPv071FLK2joEQE/9rr342M0okx/f9mmGbpvRugLigap352oXQb5dw7TQKK8fQf3KHfj7/v3Dg3k+IJBybyYRanMAdbBtU3o++pcX9Iruf8xpQZ6v8Nyw/VO7+wbgtTNDbCb/2Y/jexv8bjh9WMyhtCtSc6jEnj7yq+qvylKZ0mjuLgGSAoor5SsBolbIftYDomwq24fpV1U3SuRZLg0LZ56RRa6B3vNn0W3k58q0Ruk1AJF0PFvhMgyvETja/DpQYztN/fLLGcV0siCu1WBLrCd56Sb7wrTTUQlh7c9PKx2LeH/c6Tw+uarnyozvB3zCGrzLgG2JSVBIZaST5cfBs4NQXhWia0w0drOTpC3izt/GCy3ei3FQCD1csC0j03M9g9JbAh1frzasUrBCPZOFef2m2JCrWfLTs0Mi4ACE7H06PRt89qhkQLiDIjIcv8t/qMZjBwkxQJWtKHIjBLCWE7TIsFagR/L+rWJoduvsGMjgBNgriU+mdD01PnAdFXyyj22KEIwUAIPel5/MgOlaDVJL04eCbtxSmcyq0N0TpOyZX7LMEEdz/RWxjeODeoqjlAFnWfryua9ZIIKyn0VizpQGqNrIGc/6iQ7QVY4nTwOZfyO3LhEybehg9t6y7lyiov5qRPdFuPxCU72TJKQpHLeqKVWqMLndx/XGXJiwGS/a+UyhUUKRxFroe2W67z+JJQCETwf/ZuCN6BMH6ZxpXK2a6YElRQI1UaumAUFUncWb6xa1dyTTFQ5dU/0pox0+wmPpAoe05x345L6A6U2QqW5owqofATTAc78uafENK77HT8kj9oXUS0lX5wKtZmXVJId6d63y451+oxY/oeKC5e/Q1f94uBF3YvoNMzAeJLJTFB46lEPuJQVaQqC2wznMSj3k4sOcPsfPuLn3tJbnvg/FJKjH9Q0b4bgzLi2PDYABV/Bxsw5QFVD4jyaIPUnWftBXSvxv90PWnwdBkoqhKbhTfIUOm+nTedV7NdR8piuypmXnAhIcdZkqBTUPebIh1fUI2Y7u+AJjnn7roZ6M0VZOwCIFzL9KNZOL4+E3ZBBNL6SzdnNsQSdi24hNXPjfBzrGaWsxypL0X3FulyLD3JsL3xLgoBaSbZD1BmFkBttd6BpP8KJ88XTV8FCSRp3KhkaufVDiPMZ+Y24DLS79Iai40GvQm+BGk/KnhD+H403t+ZT+xj5TesCWiqzLKlyd3AswDWI28jTIMVdBWCaxJpYlbjYaBdbP+yLQ9lxG+/HHa22VsYCA5sJihn2mGZZ/ddrjTlC9Q8nQuH1479pX8LXMpuE5z8IsOwJ5LN1d6D3GiY4dQtx4xhq28BVb7wQMbOscH+yHX8nI9Pg/bSvx9LNmLPDw270D5C6xWxEnAMYfydrUAkAFb7w/wptE/JOhZXhx8gWcwkhros+NehTpVX5Ix8/kvnqF9EpDqGM9xjUvNJTshzD9Mz8XFzfo9yA8mgCGVp7o9OLWwdTnbrkHccnbaH83LFqPGevrY8RqA8u8U/Di7EyAEkgiv6SNZlsAgCx0G5y/v+k0W0T4/zygo54i6bxFZuFlCl6x+bDjHkmhLmvZVmHEn9pGV5LpVbU/Ng+9vzKOslaJxtG13HMjUTpw+V5KMiiPc3RbyudXajGdxmZrSYD/gKKiEGO3+2JaOP8Ct+zFr6MA3tO2dMWrw4TVZQKCjE/jHPklw8psJsn4ygLJ9oMXMz6TqInPVPIW2ue41JrbwW8rnM4LPBlse5r2j07wtUzDP0LmCvUJ1Cr3poTLAhHUtC+h8tIDEY0hcMXB7luW3V67l+PhrNJ/8aJPAMLWEOwW0og24jY/mhHNZSvzHmROxJTbZXtd86CDhByJgpbgYgnCPwfNXlmUfXizAf4TV0MdnLcRuXr3SM16ddMTV9F0p5MDNTTcaJYGlMjW1NpCprDP0ZRYEBuLGjVw1Y1kez+qmFG6nqZBw7XOXo+j469bLN9G76I/2EwWKZYr4GuRnFyTWPgNeDjoOullJqvr1ywqfzPGAM+xfGfMl3xEfN4Qot0ScVIzEYZ2tF2Nno4IBYFU/ixl3lw/zH7QSLWDyI6XmMnBS+nLm1oYwbhno6yoGlyFBoh+i458/QicGTzI5VVwgLHs0G7pbpxzdjZmauqHPKAEH36KEgT1zRqWVlT7cEKKuQjTuCgWgRHCpyaCuPBlZMiqqjwktV6LuObK5CQcQHAe+C6HGYgbXuxWbQuKkAazZ8Jp3oqyuv+uXoxMBLemUuNeJieKJSJG2REibwUZwzLbNfYYleAFKRhtbyeKVR+B/KE2iHd09TLTO8r5IPW3szRVuzHCar3Dvv8U+mpj0ZNPZIS7oxdkXC4hjSBrfDTeGcKf/Rcpi4jLBQJO8RuEx4BK/dYNZ/l1Jo5jWlydMQGhN2wgUTk8PkLIvOOUvTdI50aGXwkX0Sxozd5sjroCCwrXGS8GFd6OzNotR0zyJkAlEPY10tK8gsbzqBv3iLue8AHW09mkyN/eJFyJ5anLddgqx+T+kWINa5dQeEA2kgibGvq4BC7xdb/hmnxwIM3jOY5S/ZsGTmFRZuh+vtsTmXFFUmc9o7a9Y95jyd+IdeGrpBh5huyMhEyCuDhVRwbOlTfG/aZEMQ9KvA3fLZiZI+dkQRweI9OCi0WTuXOtOrBY1cS6AyS38HpwmDq+CVkoxskfmF7Rv/GRxhHNjRZtWI3zvgNgHHc++sZCr4nkupnX4HeYDOdMUxe/hsXw4I8r0kv8H4VIUO9nSaldydTlXeZTb3ZLbfmC9d3odqBd9APdOb4l8VNybSQPJH8heaS0GrgWMQkbZZzWFckmFeiS9oZal+gzt6Dj8YRHdVo9rrrnI/h74dZQg7q5NDZlyt+zDHlt2yuKGCfQY+Awxig5Q3fzspuU1JJw0RJiZzBfrwqleBkm6MdxwlORLGXqJWj1lKZqnqQKV6Qev7fTSg7bJjKgUAR5T7fXMnbQqx4twEWS7csVUd14Cfkx0/fSKVEwe7F7pQQGfSbafC+PI03c5G2AYamPk0DjoMZGw6Gfe1NWvU7yL/21wEYQ3/05nP3tGSvLFVrWxJirBQbHHWXAEY9jLMYV30za4jVyGwBhyhr6trd3+OawlAZV49OrCzMsbwpesYxVFpDXJMU9o4PcWmxlRA6yPigf7FH2HxkO2kH+RC3EdIMj3HAMvV7o/7O0XFBTuhuVAgfcTOAhEhJbaCcTE+76cjO4lQ0C+6QyAkGe49T5yWs4i/eqhyc7kQEJOgeBzd6Bnv8Ham+iAnZRsI4lkaQN6yGFU0P2UjZAlgNKIpKl8xfAykGzjLrfUl7+AAcGiWZf0OfxuBQGL+oebOwOSIdDYqrqrrGvoo2qThS976tYBDAh176ecrotj1Cw0BM9behgpPsNuhViuC9nCYBRgBvWiliSD1G8+dbRxjYwtHV7l2W8oq0HGw7zwZJuRi/uGcmvD3fm1q8mBUREf08huRaTs59h9Wui7ynpVzqcCACEIhe0Imiq15fyI7pye3Mm0BrVyTTld7F1SSVlX0xDsLJwfmTo686DdPBy0+sJivrH1CdXa3jbibAiKoVeoT32iIGc0VhBrWZepAM8PzmXi0H/Mf7myCORnVZBgN6jcZrrr3Xfe+IxnOvE+UbRqoXwfNYpspMmAYnX+AmIwx+hRMR9muCrMOaxjU5DO0xiF9kAWRVo8ZW0GV9D4uCkWbzK8cCKBQcAUmT/CGOr7ZRvDouE/oaFHzTSWzcfG666jaDALhCwaBsPx7GuML2UiAr2OlKUVQcySynucemOxvw0zJDiUxtqDK9/HENe3Q8fdAR4mVbzqvRSb9Hmi/EkGJGu60z+Ki/5VvfI42HrtL9i38z8l5fLWbIO0QffKWTiR03eh5fzHb9deK8SF5YSuxWe0T7Dtrcnuve+frFzpNHWlQyzxgtMf0cC4gvhfQOijdEhKRQk8Ur0sFL6noccNrblInFRAREQGWLZzcxHHA74IkJQ+CEYchvRv9KdiTzvfvhzToYBo6GVyZ3Wxeeu9WSNo5QpU4qSBZ7OvJm24H8WjVJZJjE+m745H/EACFz8QWA2J4M0jgAMWIm9rThUtsdE1sd2Iq23/I6YatUj6nf4k72OLJ0oxT7hkkDvI184GGnQ77jNuNnxTMaLcp7O7hZimZJFwsHcLBZqFJn04bK/SEZME79aKM89u6LTisMy3n5YZSRiIXKGDRVArpuDe1s5xlnMDrGA6Z91qOXd9GlMzVfuUupY3P6dN78oq3qwd4UEdXPtgC49t2cpkj0ISfDiv9f0OXemFEeEt3u/7Yzj2RCiD8VnSvXyn5jKoFGYCmsv+exGJC8YwweXBA+3DPvU2GoKaCKHHe2DZjT3ks4lVhXb6qq0kpsXuU6BRA4Le2mkXZvytSG8vt7QtyKx+dvxZEAhozIJK/OwRFgwDIbelRQqVE0iHfsoGbFGehVALvGzSrBmDiuhI2W4eKhA3HffB6ZblgPS7/DnvaIUFwmEBcWS2ZPv3n7QPw/RRt/mGJ61U2o3nbnSqnl8TpxvwTHOkjj9bedWIoxUq7nCB8ak7FFYmFfE9ZvHdE78j14APBv6P9hd0p+ek8EKSvI3pkRNbGtAaXCdc0m0a8EbXJ02IW0oJnUGLgAJMYo8FwxzU5aHlWTePoIG8WE+DyMA3yd/sF6Lsr2/AD/yRgoF8w6c0/mhaecjkKyxDXRyLRcZiljOVrMbxc6cD4mVA2DBd3ggqCZM/vX1sezVByZMyL0ecpuHLP0Y3cXM46fH4ZcZPIoUROUPZL0hXkxs8b5saBgUfo3rVOvXeTyCMUlEpTY0Bye1Wcp9EMI5UFS0gn7ANPP2ORlAlE/xA3QoTT44unAf9bTLegIgnuZk002twDpXeQnwWDN4Ro8f6RkZUF6RdGaOj/ZcegzrPKOOFFtuRvAAGq9lMB7lAqbYK/kB8EdjVBojUvSuIpqd4rk8oYUBB1L4z0GFR9scG8+iOXJ6m6A5eRBisAJd/zHdqmHI0b2e5PQZN4f8OPlS0Qo2YsB6Dflsqb3tgKFMquRZmAtUNA43hvr72ukdQv/U5tVQCTYHUd6F04Z8JKGeBNOSEFKXZ0yAHeZFA+lQ9RKvH6KAHGn2bMQaKpZCASSGa2pCnQOjooHfyroWsCcFQ19j1H8uk/nWbGyk+lm/iEc9JOasgWR3yTweWW43kAsP6gvHJDa7rEYWa3CBZp+7b2G0LgQ/2+3AGtc4irY0ZM5HRYKBNLfQNWOSIRK3NQWlGsnpwfHjbDexTFg+MoYg76vROkHua1oKZI79vSHNdXURdAzZWG09UeukTfhdtLIzCIaTVjub4VOl0wHxFJzTvR3w2IBwgtRcH/6ETBsk22sDaVPHyywkIWK/+fOLA2x2L6guRJ/nvFQL5eoAyRU80ACykWWNBa29Ww4cCBpqkmlVjYoL1/DxHMtIBzJ/jtl2VVG2jKFn3rDuPn+rUILSx5klAVn5lF8j7h0q62vL5kmn6nF94gpR1Q5ZGcxszre0kWVnE3nrYlJLHjX3wUUP7YzJMofHHxUBrto3OrOuuY8HmPB3JoGEseASBdf3jzcOId6UV1sFL1zu+FIfoz4EtA8VwDbbL6DAM4cm5AHSL/9HU8KxmkyeOSO5XcOCgPRmR17lOBl9T8j15qlYdQuU74U7aKgTjxP4VmkxnJQyM9cDpsACzlZCGhVcI20KqeCmPYM5x32i3dAijQYhWJm7I7GlrxiBSWACRgggnzpIO5euRcCXEYamt0FfnbESc/+UmFH9kKgvpX4Vnyvuj2uDLPv73YJa5KKhWA78niN0i4gx815Hz5cSISRn1HZwTGnHFedhmXf9VTDgw2Z2WsD6/frGK5OBbfHXJZUTGftzfi5xQB83w+OHA/DRJauLXdM4Z7ki5zwxUCYl7HXX1h0FARal4pWSfmPPG62mK+3Umt1emp44/v2+XXDTvOm/lg5m4Dedhtk3LZlB32gSD7qQuCHCAb3+WYTfRnYZRdYk7CEJwNSkqOgu4YqzKowuY/fEUW2zxJ/wkTcX4SbR08485mEx/aF9EwZCRBtCGfPEgmnr4po0FiXzQxboMihADGbmp4SvWVJgo237Kcbc1jD1itVGQ8SkRE2VActcrMCHPJQ/5y2a/2aiwmCVIkBfmynhIr3fWRO0g1AxTUIQRCqjUPEygWoUHqnWbe4RuPlcjauypzCcWAUVmzUf0RuMJEg6NZK7EUuUlD0M2Yqk5eaq4bpgnQsXWOdjTxKAlxI4ZHOnGnGXZMwfSjj+rNp0wwNCGJ8UnwX5/Jxd7ttfyUB9iDqgU41fGvq9akteLFLM+WOkjRHb5gqmmsswWJxcenZZ4q/vURXeplwCRDk59X7sJaM9P0tTBU+SifxAE2mlHQAr/pPu9jO6jtJJE9Ajqs/eAsv52IaIgTt84ddqWJB5q/JnOAtwW1VkznPfjaWWB+VaTPFPyhxy8BRdEFqmtUqyRKdo/Q4Tdh6+C0XPtUdfzOr7s3C7YqdA5WG2iAA1PP75ZGyTPgWiQiV5//sgMXPlI9RExsdQoXC9W9Z2TAgkBJRJhu8NbXBMdZZ5Sb24q8kfhhD9bBqioDueTn0bLmWORKGoV3R9gcGQ57CATWm0LEfske1YlBjplXzTi/BAdLPrYuV8HqHlRPjgqgJfZeP5H0Tx+reX1EBwNP9A2Q0PB+cTOmo2BcGXsyX2dONXSd/piWM9NoUAV/S5HnZGRgUA1/sLwJjj6T62GsaDOp9sSM5lYSx/zSSsZzex++ubJiikl1lXf4LwXlXrUkOeV+vOK17lXpvBgouVs+bmE+VOazlyahRdHOq6wi25FbfzuD9wm4POq/+uTMc3+zzdTTjc8cPZNyWRqyYqBGzBWo87xcFGxuAcLA08YHuSYq0NlOc71jVY/Qmg/9D+lvcVxESZyPnxIYyz9VITWu97lTEeeKFUN7ERwEbduANj5EnEBWk0RcWCAh780jJCMf6dGlMb/a0yhDjhj5s8NEdjja/CjoUheiesICd6JxAk8cTHz/xUpny6UeKhuELYdL7eCdEY4TymPOAtcr+EbBl416uIDcC4O4iQtXtRXRROjvNrUiLN4TV9740175WJBqj/bqPWzyFuD98MXVylixlFqfVo+a9RyUPKBRL/2e8woFSUXZCBHNe0CZ1m3t2XyuXaZ/wsB0HkqgyugXuUdlIbXHkBYFO0vz0Lk2iXEQs7xLuuw7S/LfxCkZIUvjLPkrnl8sy7ppbBlw7CYa58d1rye7ynsD781OAUgFhRCX4OvoE7huBpd+X+QFpni2jyde01C60NgbNurAMLjIoOVIrUWH+oZ/LO6dcce+2OQwNhmwxZAGCC9il/evaaMjo/x4xMlVt7o0hPW7I6U73a6pbPAlLNEqNPIOOvms1mMRsPNePVU4nsfkAjaus9VpQOAiA8s2QYkpgGujWH/hGdOw0Ax+24DRrzfEv/tcuUHDmmUE1VQffkV4qECxrXol8s+Bp5fa8Tht3VVGRKODZr8e3DBmlM9d602US6cImUt8VWgEJ6hJmUTUcXv5eNEweiYnC9v46NdGdT/uMV9Q+eomVMOQN343fXGWNly+WdwnImNUkmSvSPfw7Dtwo6JM8czxJ75Zhy64N31Xp1YZkWybaSUUfMCoHjqL/S/wHmNEOxn2PGzzNJ0nn0N0Aq7ToIbejG76Dgb89OEHUNnItkHEAJ5TcxrmfVRb9qlhYW+oa0WTVyMwY+1m9y/3OAQJHHk3lHY4GllUrJGDvoDzr0KVLVPcaqJoNCIgHsmoH9xKZqvzC/xTUl1v4yQC3Gs4pvFmpbS7H7I7pWcM+kC3wUeTZBA6egJbRQbwTilIlNd0bIk1t2qVUD1I9TEqjzQP7ssla380SH0Xjvs6jqEk7vqUhZ5c5wNqS5whRtdDoS1OOsPnK3gaOEqSCDTWHomfvbOjMsOmT0RFsTsnUoavnRX7euNsiQj/oE+d+/vdT6yxOF4ZVt2B3YUPZAsCwrhNiVauIq1HYYSus8KrwFh2KD2fgnG++ng0HwvNpHaH23AfIsWXpuvGEBJsPuotoDyybzU9T63sNJp5f89FwSnRSvZ6+hhMjIjZnZ6DawbBK2HGilIzUXwaN/jhGroMZqz2Nk9E6nvcWQ4CDusPSjzXnB8PgXtUe1LU4ZaiiySmSFlGfuc7OgxIPL5mmcJzsTodigmDiZjF/cTGWH+oY8mAMMkzZaD1+UBODfN8G90ZWtq3ItvihxgoYWsD6/Ty7Ev+4JcjdU5T+7BDrKtJbMk0NL7ZYEQ7K7HFD3PcWxxIOi8m5wGLzaR+ZHe7qr568MPeYjL6AFInqQ4mWL8YiWhRvP3GMaD3AXLB+5ELnpaLvQ6qT7fW9i5sszE0XkIRUAZLT0GRGXE90sSM5gszINOfPlbJDtLau9f/vnK83O3tgiuC34TrMehCrq4bn2O1DWrThl7maIVxF87Q35ij0/0dhB5GPCpXgB+R5sarhJwO0oW62c3C/e0jnMSQWhuEL0+seIBhsWMg/JQeEGtTTUtEmnOYxbiVrcxtAlhLIanaKMZfsj1ruLvh19pwplhXKNVHE5teRnGtylY6RvDQd2+8jST0m+q9xbgA9Qz02f9xSbAqMfxXnja5QArRByCYhi+aCy+m85B3LBhWSFEYBI2l0hbUagYU8lgpK+l2SpfcHgVzAhjXOUGhrvn4kTpUtMOmhucQfK6ZimwujuVB9TNzLV3NMYQFGJfOKDj3HZBQts2Jl5/iYkT+dr8tcvdfrv9Zu/hV0b7qEFMeigYSa33tvUWBqaddCEgXckRYIZsa/bhYuwnlDILPv3yBQRrx59hmXrI5KY9AJgeGYCyDpHHfwCz3Ls7Bw/sBjywAGxKeuc6DZym/i+YQ1FWY/aJbWKCN7Ex1+SGcwltrrSb+s8F5ri+iJWIrp3xI0C3Hy6OFv5Iv2DhJQ+/EeN9u5BfurWcpavhrRAyOfKd11lOBphpwRnjvbOvzI93Y7c7hXNS+f+Qo/qN/+P8uD5SaL97eUijH3tFUafaBfY4qcUFshHyUkTSANEQTHRAklhyrpaVxLRxA1g5/+g1QLVAAh5Bh3W5MnGJ7cngbpLaOsDKJk3yHF2ghXLakOE10FsayaQNwl0hfiBTJ58h4ptChYKrLP/zZ2OSBAn1USXREF+M947SM051qDiAiEDlUImaKlovDwz8VKB5XJO72S2qR5N5bLNJ2GspPXn/btzOSmw2cQHQw7IGcR0+xvZLq+M3S6pL9fchr7DLBemEQlEi3M7J5Kxz/UrK0tZDpbZM3ss9Gu5Ivlmsq8DAD1dreVWnLfIfLXICtzbfN8ZYFZ6s1TftlhESkBr1fUkw6kcX/j+nQDdXvgR+ZJDv0VgoFEuhPf9+hWRzUPqgowi8l8gjm9CnJThRM3ZQJqoM7znE7vVYrj1Oodaz/hW8JzXAq49wToGh2rNXwbVYo1qWm+jGc+m6rqCi92RM6AxbRV/iBrJ9btZpZM47exMsaMkK8pn0Ll0Kc6rGJpAu/mjQAyuCTws8KyIeyjOcG6sFBSuok5fZvKRXea6rMqRYPNte/muLQyD0n1uk1NXwQpAa6yYFsY+zJM7o2rQhWwnrduqNNG93aIYaj0kLcs0dto9lap6JksfnEv0p/sRMt+BL4Ze90aNCmeCMePgFPVPK18vu0Ud7QH10775m+FkzT1v/LZ+O74OnoLf97YtwCNkol2r7SFwVnU1t6K47/q6BI1H90gq95Q75kuEa+A3qhJ+7IWLDuGUvKwgdqZQLP2Q9R5y+Y0w+U24YqDVblyVIXERfkUoW+cLJezcZQCOiKNhadwg7NedfG5NLoPrg/h4d/yDVJRNWlvZ+nSTwe8qcVtQCAkKWHMjhP6UyAtETNKOzfGFiqRcqfXmfjSfrvHGT0rqM5zyIcxkVU9tFtHwrM7vfv/Imw5ep/RSYthym+1gEjTpDPhv3WAmQ/RSmjznXtqsOTlx3VrKNGf2N8WtS0bS5eALZ1ke0g3zg5TKPKYxFqlnvameGxeJUmwldrsMGh5dDQtLAQQcBsR2tn+MSPpxtEHejdx9O8elufDuiLtSTj6r38oFqbEIIeiYEVAYlXE6e20kSH/ILa75u4GsoEF1V7eCqZgQuiZ3Fspz0MP0TJ9TWdH0R2ACv2fd905vh6gXKiSnso7qjcY7+VgeQKXUx4moes5HcS58k0FwQNI7ALBO/GRHkBcxj0/wpw28oHwWvnmIsReDwlYb+e5azjG34A41gsWvz4GqTTmum5h2A53en8iyfzHTCcsxTpn/plFeIt5zeCngWlZZ2ndIEKQl11B8Y2ICHG4z7Q1367pPsybo/0p3h0qSA8TvEsEbps3l791qa4y8FS7WrACVZQXsOLAc28ymWkzjZx17W5xCSCK+mIN1r8iA/G1wbzzEjg/OJqGDDb0VP3gvN37/eDS4+2SERxIti2ghy0XoXGtzEBlyLyJoRAnD3X+pG2bYGqdxxTcD7CnP3UCss5FpRwykkFqaXTKi95AG8EK8vGJyqgvMcWnMMn9Y/dUAUo5Z7wBXJOW7JOhgiwYckC0EZ0IjjMSAWMIVrgeXu5zOMQDcbIG6XxZM/qtSHPNrsQzm7it26j6feE4BS+HdEkVF84xpsWgBEZaPRyBUZAZAQHdZt368ZLJaoFUygJZqYiUJyTPKaUPit3wzQbzngfw0cOsd0ted11DyuGKg3cQZqjb2GGHXcz8Uqa94wBQXU4N2S+v3Si1vfPkU5N7qd4yW5GZiAzncefEgNhasPTRcUgTXjFmpAtICNY970Zy6Z/j+k6PTbOwwO3uHa+hBzFIHiWd2qfPqUPXWHJ73xT9Qm3gKCrxlP5uqUsHARMCrmcQbc4evdxWP/MGu/y5gj56aOlBmyGamQvpNS0OyfrGTgV1ijH0Tp0fAHQPZigNTJ7p5uN0kVXWD2BIOa6zCF6ioxzjhs7Np0e+HjJ9qz9wZ6YUbxx8cLJFxsx4QHJIaT6Dvb9e9Hz/ytyoiV9KSxYQsxpMfC+FIjcMupCKK1IzSvs5jH38XEGIgSpN/t8YGuHn6LMv3TzTIT82iDFgfAhs4fF3LuJxyr+qkPiB9BfOSL+cWmijf6CxxfD43g4W3kSuPsUt1/+7THuGlGDVk8bPbIapY186ToYih9bEwd7zulQrbsQum504KIJiHVztuG7zMpkwoasfRNYPF8J1TVxMUPFvMpJ+jCxxlBQ7Z+qux2Zwiiy+csu3fzAExh95qdyQmNYUTJYqkH9kSX83wOu5sbkLMNpK4tIt68IrzmAxBfAraXP/FzdbvitJMog4jJQjRqqLUJecnBlGpAkgpddVA0CPUPnJX20jecvF471NKbZq15wrtS4+JWvXOeystzGRqtwML80zek91ITKa8vO/a55uKn5wccC6BRfTu7ftAGRLRtNyS5dUWyolXmxozzkgwo3WCZQa82pU5kuPt/9HbZ7VTP2uxIvrC2bCeyvZ8N7sk6BP46rXZubhBfehNF30zONdyy1bwxHXJoPSpCACzn/bf3oyadSjKMwjAiu3XfKQz/tNUZEbfIGvv02gVOb3BGH1zKBDO79Ww4C4AuQUyIqsb1xgYbt665Y5Ie/k4Iz1xARkajiydUcHb3bg40fB76JL7ipXeuVlpVwgEoUAKFurp7/YbnhcSMhlx7zR2xqU9Hz/ND2DWpBhIeInHde8O9TVYIltxo+H7O5vIlZSHJnznAeQnXg+1MNTHA1kK9Xmnrf6ADGk8ppk/w/tyUBWAepZZJFuOjwCryNNRQLPBvmLdLVVQ4BhQAqBpmCYQx6kPtpIn2vH7c0iAWmg9/f0pTFpM6sc1XycvRxWt4xfCGwgnimt3NndyPC7bqBa45Fx01v6csNHcImJdUeEydQsgoFU41VOdkXUTbRyDv1vC6i4ikhyzVLU4bbwmVrCLvc1WzAWGeFd2ZSdmiMuCv7GSMKwY/0GvHb2PQ4oyjvbcqiJEjOZgCUP97MtioGur8sjBlFghDFwKbG+lRTXY7r6W3senr3J4NdA9dSEF9+H6VeXhSxwxXCOYa+hQiowWb8SwJaDypv752a8g46w0rDC7Fc4wA04GBH0oyXDNJsJL04YGJdgSyzxagdptPNaWCSFX1CQM/HorEbBPHri634P7BNDBCw3dg3uoveMRBsBCnYXj+TyGeIYvXt2aIHUyh5Jo55R01ZO6vAEYeOG3z0xyuhK3t0TFDhwK2rcnAe0HclYBuDY8n5IoS93eYZahF5IN67SfuV8weGtCsacbX8Iu56SXarEwBeIagz7mir8rlWnGWUvl+3oNz05pzJg/DmkWKfHdsWSfV8hsp2PY2ExlEy7VrqI42gWetF1svNQEWccPgrvjNs1fALDKAPIdAzq57AzI0WNXM3nnKQ6UXw/dYQ3SniM2VRrleTneaPLnxBoJQBkwvZqeYPPLzrmkXh+r/viO/Kd5sRuWg8CuaO6Th2JsIuFzPjgKo7In5WtgSwNMK05u586rl9Xt5T39Vg0ofBR5vxOB4SrLYKj3zLJQlVT7eSvVk/juakf68FyhIs8h8Dyu9FND9Do7R3v25ERL9ne0zbJEtT/OScj0jcUXUJxhv+0SGXVa31VBBooiqnrAeZlCWnoLthojgOpfbArIDke/eAkHdM64lYXmhnR5a2/jgRSEC6xS7wZoQy2v3Y6CJAqpSRfGYz80GL+lTFIiPWhJFZ9cFZ5hN4lR1DnggyNqEG7/QQc4hW95LJ+qcAhISE6Hsi9Mm25grJJk4agizo58n9m1BYM8OEc0M2UNcbeDSl3bo3QIiaiRzXLGqgZZJpIMSubA9zhfSTM3iUb4IOcel/n0xZ44+nn264e4mNHsfGNMX693oTRFjIpytB71+EdMD8hXYa2JwbT6YhhmngoR8wzvWlAj44gyYnNgGnDQzDQIydT8JKFvyotHeR7pErmbyZv0r2c11LJy9F5CyWSZW75Eccdqjmw4hQU48F8dKtBEAHP6nskZReJtzCLV+3tl9DdRxi56oUoazgtTQ3udg4nLR5G+erFZo9LMEtc+QBs1Ti0mPaoYWe5Cf4FIyEGHYS+aCQCBh9ciE2mjdThyS0jJ0VckP831TWFveLMl+iHDroK/4l8mKfOMtbdU8B4+gJBURZytFJ7w2VaJIVg/ee4MSrV0DY3SjEgJLe4yqFftGivQJ2aGb7rfvnlHMnic3oDICNmmVFG3kG/OlgvmADIBZk+pmSJvWnbxOsjkEuTUIL4lFrzJiASno3Emak4du0uNF1SJqSewZNVMxJ5/glXgS2zzoRm3XSKo6NsrgE66yAW8BX28bsHB5IVa1JG5lL89q4rTzbS6LyhhlE8V3DtF4gG+0fi+V1ZvQSMVyjX3l4qvOvG/TvjdRE9gq0gX20/+FZx+Y4EILyfVna177up8kZV84eHfS6c843GYqoWx4phz0X7T0b7anMZVovv2ov26Nv3rSKFQHkMJ+FlpeCuLcHTgIIq5EG43WPQduI6A7yxbEZKcnLAdpj/5Awhuyp9p66ClLIngpBX2IQ4FcJcNK6VUxeM5fFzzKXJFgzIrN/Yrlv3wR5a8iQupHOcmd5RKOr+DJS8H8H1TwUF0WUOZXePK8iWZf2i/ejiXbugzEOrjlqmCkPS1mgaEybYTgGL581ws5PjVNfUXPDVwufO2/WoFyEeZ2GpCBxIrABKy6XKPfJhOkd9wtOtr5B0PPp8iDX6ZZEb/5+uHxgIGsxTJihRj6DwrYIlJNzipq0ZN9fxnLJzaYIBcHOlwCaIB/lMU6U40u7KYaDaDmpS7ipRibkHz1etxAEIkVHmUmcOK0fc8a5qEPeXWibNEu7Lm3z6V1ZaRhpp0V/2WyyqXl7TCNgPWyikl5Bsfj0o5RAE5yciv/Dp1u7qm+M/gkgdBjJ3QySqJvrhrGuoxGW4pvDQCfFPypG3bzifLBQId1MMnPsSe2WmOZ//+VtyYEp3TUCbMHl/lhcUq6Pj/bIex7RGvI1T4V2v5zFfkxLjMrGp9hZtfKiXM+r+JZLxy0efxhpC4qBpMi8t3MV7LfynZ4PsFP9U3SX8JhHYMc+MGjZ9sj53Z2zjZdDbZTGQRXXaPQGqTWh39SFrE8FmMhn06U0xFWJr8d3vvgz7+6jIUI/IqaNoRKeOJpzV/577YdAtkvSQqx0oAAgZ1NAab71rNof/Ydi5IACaZmiE5wbXXHDilyespiieDh7yNJKdOHb96W8Mkup6FJo7QAp0flfxL/MCPKsa7lYZIvzhDVi3AYJnlcpuw2KW5L9VkAJzhkrsZjwmh165J+QB7q+Khfl6el+ye9jyHnphfhllRTTudg4fxvfs+XQppt99BUJMW0U1+TizTC54ErIkwNNlZ4+t9FV2RnIuK6nKg91EsS/6xz0F5/CQFAFCn+xF16XPwa3NjWPdR69wMBM/jLF0wHUlBmgArr5+Aaa5qdeSrRWFCmYUWbD95JkGU/Sw7Li01f1Za8x6EuV+sK0g3GBCugtP4sNlotbf7JHw2uwBrglnuGRaNXSJ+T9T5PTbuicdSJcn9oJ/TTzPuwN1ONGfQtJ8X3ieTEWCxmwRMtEH9pg6F+4b12PgNabWE5yOKrhAUiX71xN/jvR48mab7L1PwvndXDNJgr3LCWgDkkZT1rgOBPBNMEG9W2NkaiZCZMLiFewFssO5Dkv8Ebz4kfgClrK6S8NCWzg9wNvtdShEewOqHTg79J7mfOc2Y98cwo3SJjBVCSHVyiett1b+9DdgnxInOr7viNG7LxtPEsZjI9JW892kcnWm3/YrO5LnEpEUX8Vj1UMxGrCUDLAdUGWNXPgPCbXVyGCOzUwRvWjDTgaKASPd+u0eTkTfSX1JMt+5pEU66Ndt4xNJDTEa2CssJe2H241cacnf36+AheK+tAaAZSRn8l0vNC9cPR5pVwaJ2PaucsYqpJFcRN9TxwnptY70chR+0caO7idDvGuVBiLfuzwpUOJ4jNdM0QW5LWUau8dZvbheuAkJI1bRGLXNAXZg1mK57E+fEqHh3Hjw3oWNgV35RKvQKmk5U+1B1tpXCNEMaAHUpydrYSw1qSS3Lps2Thoit6RaWvLdNC4iCWCFB8y31WE0IQOJZcLj7vMXSOYvXNYcB7+LNU5zbdEQXbiBWlwpaWG8U3gVIr19C1qt4FvdkLGFVHtgqN89egywoExO6Zk2M7Vgq4fRuACY8Ke1p0PH7D0/R0yIaR0Mq4WN4GMQcsEzH7LHzyEmuUMjVt16iFu65z3tcAXV/5UOpvpUyivnyA+VWn+2/rhMHmAvFg6KRSwE9ZB6VxPIkkssAXt+C+d+ryRcsCvBgpqxQxgce5tqz6xbL8FW54nFTfSwrzmxWppcmuMxAKU2m6Xr5d35EfXPavD1Ffzrw9stWaHrtT7HIhyS0RUrX/3iWvGbF56F7Hg2iuCb6RIpzb639JdeIOBxetpfuNszppJXBIpkJWAzNzfHYJg8c2WShuCcoLJvCoWkRh2JgxPpZA6rjpJyG1Ys6DbvL3d82+6Tfpg2xXBKoqO9wv+wyDAdgNOOPWmI7yCltQz0QCrwpJUQSlnvkAZ9/FjUdbAIFeBzEVTNABZjxH4FTRXVJfoXk8T87jJe56opF0LSpmNFclH0mxJzP8/wJPSt2ccrUC1ar9dRYZBG3xLU1qAWJYNS5liiYzcCyx/D9jwUWZo1k2RKiT/QxguOIchEbDrV1SD7rIzS7je40zgdNnot2vbBpf5VTATZdyhCs+aoSdwP5xFcfcMKD+eqR5B3H27hKx97osP+dZKSfFAwGbFZtY9zXW3hmvLmrYitkP99e+WJreW02WDSnQg9FtwTXrbWvrIi1KwE/js2CbmkXRk+kZput9d/pk3/zgVrFDYTqpr7PVLA8d4EdLdIXrJ5PFfi0qfrBFgDLw760F2Jfx8NPwVHiqyMDPEnOvrAlC9mi6ahLS80ZNLLIslLxfwF61Gfe8lOTy48kF3/ouSHungueD+i+ms38pbDmCIo/k+b9BFFY4dA0435MqM7IWFfJx83hyQ/qJiyh4FDee1e9kvmwFbyLcklOtPduLaRypLbwXstOYPh5mYtBJGh8VgTxtucggtVosYM9XFkWi8coYqzxMoblDwsf7brE8XI72sMX8EHIx5tPy3k0koFYQg67I8KhStNxBRANxGw6jv4rR7a4k9ExUxm41TN0gB3u5r3tOykW9vw8X7MHN4EY+F1ExOJnltatT6yK7o6bwH8apGJryN9EhkDntji6XsrvEQ8FiQ4Xul4tKqL7kXIgegnL1UJTSJ1ycFTP/J4gAuzwaXLDwURUCn3J3AwTIkbtoplkgbnkom+pwjrn2zJzLcR7/Zro6SXwz6AXAx+8uIwBjVQS5FKvjJRZOlsMeu9Ld1sN6zBDor4hKVa1HAfdto7KXPpgwSaY2n7tNHe630P0XlDQnEtLyyT/qnfGto2AYKNJuBe0Rmnv1rCZh4ZsHYlaobiw87gVEQuzSKcs3jGNCClyI1peFIjEzyuwgwAOVdfitUzH4YTamQ0ZAWjsju6crXixOeHNwFqrjljSWceHygbex8tCkPW4l+ZEGepXf3yP9+fALn53gvR0urP0lMebKYQSPcR33Lj8UspWO4gRrF7Y6kV5FX8RLBy+9BuaZKjeVQ4zXe6VatJ+6uFzHPTt/87PJDayvMEvXVCXznMo1EI5bOjAoj0XhN3+pmLwMQYpmS34GFYa8kZ+la9D9toy6FMXookI6q1kzK5bG1JDaKiFjw0L2QT0kZWdPQb/gWuK97l7WT96SrvohDi4o10ztTUnjCKxcKvXTqDmh5KyOg5gQQgqtOYY9ugA8am3GTk2xMphV1RSEFMeHg7xrARVJOfXY1BaRAPqREp7W7sK47H+V59PGl6IXyKzxWHqo2rnCZmkzo2f3ukcE76NLyaGpwhQRd87gS1DeIsTerhbXZ0A/yYFyFTXuLF6/NadJatrk5nzDY/U2o5BL6ebrInAaucINdM0OnBR6Icfzlll109ETexx+5jbRrcRSM/AI+6J4DIjlkWcvZo3W7hYaEQKtqAKgsp3UInZaiQ3adPZgS3hgu04GNRlRmgpz+NXUQajM4NkMg4nPHRCfU7fBKqFqK4i8KnNwyn8UxrPhCU/IQ6/7nXGiEV33wZA/BDib9AVP1aWBT6IBpUCWatF8IcSAb+hQvLexSZ/UoLffy7E+G+k8ywoSTJHQzao3lymveUudGJah3xRpXmLOuAP0xQngGbcCzz8OeNzv4yxgN9TEPJEnn6yD+DPoTTBXhiKoRtg1gpuX6mh7SgOSm24C1lUHjcZqrnOiEfPqkjJ+Ybk45+XSaQo2uw2cpMzj/tYIgGWe98LiAAhFb+cAIze3aTnmOj5PbuWhBO0KZB5qqP3ijzpSxe49evr42DkV75JkGLMvJ7vEw/n/TJ9VePxry11RkhWx+OQpkIjQLXc0GDU+VEQY7xg9ufZieujzRMtjDy47xkUg83CT+Na9gYdoqOp9LA0umz1Zmp/jM71yTKh0nplzbW+F6ucgLT68C3qZ9kCdW/J2b7cPSM7G1+GFwfSYKAXrDIQYPoP9R438a+Jk1Zk/EHHKwiS0IeNu2EClV/zFHJfnp+dok/tFmclSmyW5QVMBRBahgSLYXkMs6/LworDF5EwAoMRS8n+A4F687+xDVTZudTINDX55RplmIf9OIcEX31U3GvJtEAfmnDYej90mH/ehC+Pqdx8p6ot8ru1SnvdpQPd8sLer8V/A/Q0en8FjTxH15JBYf+voF1uQjeHMcO1gvfMGl9GOt53/od5252EFWEb8HsD5cAM3jA1wgdloxTU2lzf7ZMr7uDKvLzJB+RnP5wqk/NJy7y4tkvBQdJneK5LtnWE0fFQlTYlswWfC8kQWul9ISaCqoUZvrGUdgvJNLqFvjBCX/BdEv3gP01f+GIOKGXwy4PdR9doU90+q2X+hBhXcm7+2bsiVc1UeiiWf9FHrW8KfRn71fhzAHcbsIQXXbjBAL39Dw8h9Zrx5l2CD3qlYn+DABjlJNZLSsmNz2fREhSfxx/L8hRB0F8oqLj606iNAimcYhNpwysRo1jCQQXmP5c2Ny09CVu7M7UL9zEaHjW26RXTdczfezpX8wePs3SPEMxqGIqtkSYDjrhDWW8YAWzbbONIYTlB1JfjjzXoKRWle3YHH8uYiSjY1+q3bIi+lcNbNJRWHWmQEFhgKGfZiIjhNoXTLohhWXhp+e84b1NcAb+1NoPhKdhskAIe/UHGXyrlm0hdKPIZOKA1H2cfbHSyhGcjxvtCJq83nZc57fl1fSYF9QT/tlG/DJp6hH+FfrIA9GeE939RkCi4t5w3lI0CGNxtOtazxzQ9KjygmAx1MbFymWATtOwVA+36lCMH7U4JijwlvyQ110DHULpFalrFsur0bs2/qkypQVlSQ3zijevbFajOopXGl8lGHTywi2+r7YPE/+4mx7RWxGNe+vJzGPUu88aFC/+vWnE8jyTYzpcSdrYggjdtlBvjSWmOj1QFtJtNhGDtKoRKuPCagRaZiWbzTlVoFUVm6b5HYyBFH6SzL14gicY1OYmWRciBZ0nQXpk2SmRJC7mEOWlmYrDWAZCnv7YHwoioAnfi1uyWu8qDorS5C8lSextOJwYT52U5cip3LHkpeJhYKLVRLGj0O6KpIyEPzQjpziio1QmWbzNZcGYx5j2+As/PIVAJQum6SLXZ8ARys8hrRfvUFwk+Oh/4AsKeujjCzDU0DDOwo4ckYmyZHWZ4btUsSCQDA6Vn09QHkthAqHKm4Vxg9OytbOwOHwDxtHFGwBDiawnkO+9U2O7a59L0tQqNdghrlZFFOAbZKgMWPEArGQgICdF8ryNCuLnJnUqz5hNZweysH74aG4hoNERzDvvJ+euKBQdWqEKZ/pLcFoC+FYLZvNbfpCtWb6F1ZWMqtag2HhJzV6oFEPG/Mr7M6bLAMzq9tvec7noOSrzfnmJhkeGvNezV0+xE2/0fJNm0zMFb37WfrTKjN5TAw/aq7HIJvDNBBmocYG6SrSjFNbX4xxhrMNi4IPDRVpmjFgMaIFlEfS21NhNrf4mhme0Y6LVjSCI7JIzFWAXCB9qHXKj6a6BfPfN/VD9CTK7ICWoAlSvAuF6OaHrRD8nTSS55unNFEFqaCAXFRBStrzWCGk3wKLepMHyB1MgT+NpB7oEebuZMGqX/q1IegDInCIDXbYUtBrfeM2Zg91ZN+b3eginHopWhTYyQ+Bcs/n6qu+Q6AIdBaegpSy+MhtmAl00PF+pScmkJo+Y05Iv3jf8NluMpSvUhVjqLc0ZyHVlSB4QtTv5cFVW/mWkmAEYmy++Q9boymjpCcuM4ohhCAx0FEpfViF4dJYuUMXASUjTsCuQnz98OBS156KJOGmMU7TDVRhWa70QfWWv/1wqIZORkiiK3ZNTZn6dItfequvu4fU8qEyre59tjDdXL5jSUF3fZxEEyEEwRLS6BGsHs8N4R7eXYbC2x67nPrsA4wVSNwBwqTJbK0fksxasvUgoW2ax11mxymsG7r10PefZz9XjVPKhU6nSjVvQgS1oxJIJSD/IiwpVlY1aFVdt0STo+su7hQSIvbcxwYrkVGBvIU1vHdGaHC78umafhiHlL/HBQUbTNshY+d+1+DSaOwnHmZqw9I1Y6Z2YUpEMS3LWOUKyXC800JxIcCcTnqqp+9vV0FQYwFiC939BgQCp8Xx5nQPYgdrjAmeiOMoyRFu1vXeXXH0VUuZr5YKk8Quu6nGvxMgMsi19+XbR1aULom6OoY+8JoI9/gOXMLG9gq7r5kv/KRYtC2QlP+2j5TWnWLkZexr2T5Tv3V2VmziQIbxNFSAcXg3o9HrPTR3teuqwMR7gklHe2TWzrQkruvYhlVrYVdVoesx3hFHxaU3cOcDkyT3ZHKMV85qo4i9ju2fLErHMRIny9bx51ViOzpCzJ5CbzrJx3cPXnhdjtp+DN6RtD0ASJp56lYYarFKR2n4AWwJ3QXUNyKmPcQvLp9n8OuifuJc3CyKvW5bRZ0D60yOi3bdrv+ehblF7hot9phTrIy68F+i7aQMIPNufpMnXcg+ygVxpYr1z2u2Vk2xbTln1cpI4An7y8V0ncM9NCcMMjP2BB6RdNR0vQcxk+DtQaUZB5yhKumNEjWTcK6ryFwroA66xwovXnQxEyk8Nws9FO3CTL+HhS8OIzibx8iff7iQoGpGSsOY7kYkr061BbxhqVtxnboXFum4ubjudgnRXLHFmCG7GcthXK4ME8nqk0E/C08VKSDBopXEBptrkD4WR6bJSZUXmt/IDGIoElwms81+HPQFCJMRz5IGNdmR980wI8Bea95c8EWNLxtfqkz//z7w6frpzEdya4nKZ/dUHrbsGTRamBSiCoym+yByHrxhlTRkYd4Yk/nydTssNTc7eIx88uQQgrzUH9xNkiwLR55vaavu89thrLkTFZsGm9W4mi6/3mXzmhF3GgW7v/5idIob1vXqIwg99U9yWBPk/dnJYo+rjy7CgW4pf/0nvaxc1tJvxgu6UFJa/zcR0fKSRN6+7IFDYiVldme8nncny+2hc3qUj0r9K/70QopE7gjXIgGTgJWzLYt2ray6hqS5yCVaQqEukkwE4yduk+wnLzenvAbVzcbnBy28SsEgkMpafcALwMCHt6ZbgR8TU5VmMmb/QlPLAU39TcjQzSdbCV2pEgXrtn1FisB/OoE2K6cN5kHLrUveT0QP9TabJ4amf9NWyPZqgSqJnDxmSwigrLTessfDFd4pjMocgJ6jQPoWXgc6TF3IbIGsMeZo3k+GEXR5O25lJTWJPc+AlVPY073IJSBD+S7qixKKt/cKA8wA/gZDZyZCl7dFMZafsUSq/FxPXXHLrllUPP4sMbSuPxdj305vXaTYL+RV32R8V+f98SuGiJbTliLCkQJbtVoptWPc+ifz74olCGzzPb4MZdXaVv1sNAUVfLDsjqvU8HHRuMD3AgHzMADe/hUYemy6Xo5PqQsFm/S1QuQYMj9xKfulyvzAr2R5gd55coxKcDR4tJahmbW6F3WF+10jNHGWBYDNoQFaGV4Xsk8HdKiwmjm/JTQBYwFL+puz7+lT0kDd0bI+TFwsyGo2ixMhij4+eRX0OIYaHmyDuiXbj0u6DGg77+MTZuYHHWW0kIuxUpQsNroIkZ238YA0kwp2xjctfwq9O8SnZ6aKN0xfNK7cS1X5YHD6MQxbTAwUji54RACr1N16AO2+wQmxYfOQGDUq/Zd2T1Bh+the0FdZvbQ2gGf/GmXkgeyZb9pCgnwNiLA8CARg9vRXguLP2eg7EaMOWtP/pGn/JldE4iidtFgGlbpr6AsmjGvrfF6pJDZr4TxdoSYzUqufmxYRifePG6uDL4BZ6Ig8ht7hhOXQOEqd/V+tnzhvR3qnhhzBf5UkICkBpoOHQ1nRnIC2kCARtMJC40MaK0hyFd8JYVeS7qOPASNRFnyFIhLSOVTLcN40rNzU7p4Xi3ayCKvrWKIJMV/bjRHR7J3cZmNiNxQuSMiBLOH659nl7enj3/fPlLXCoeGDvpqtzvPka24yrZqp2iAkpotVKfl+EBGAh+kt7XujAHhcswZFsOdZ+0y5ICH7SqOKW+satu0VCRECbmQRSnIu/ywlZitatv7I1K40AXwwqD1sOpEuj0hii68SqOB3RG+LIbaS0FrGanStYePwCgxRbSVFTehM7tOiZNiN4E06AVgJkXM1qBFUna3KLjOrEVIQRfwh3m/RMS7rcNDZq9w5VzAsFzm3A5YgOP5y0DqykN97dowQq9NjDfNPqWBOGDsdIXbEqgCMgWhThxFNhO/EjsksK9/ieq8mVP8JXxSFFr1sDxIDNpjyz4p6aJG5mkqQh8IrCcqV1sVbvwbMpBwu7yanOf1slUbjfuxFpoITJ1DLz2cI/ddV2xLigsbf0h9BECE8w6Kz4W8vwquiSbob7F49TpwDC9nIahrePB7MRsLJHRrjCFXg9kYtNPkrWUnFZHlh6hovEghFXcuDR99WV7f5o4rXx4MZU5iGMZQq6vSPRSyi+NTWgIPz5+q61C5Ne6hD96h9Tu13VfkZmRrG+KEePxuXaWCp9ClgP/MdofoorHPM6bbs0ym/JSS/ajQMoSTttA3ZfXFF9OcVjLfZR/gAvI+qbX9jHHqy+Tf8LGX4O99t0246qAxfeZ36YX6Ymb9V5N/wE+meUekVozTHk+tBXbrLcnKYWlKCbIiCeBBf1kI5aRKuAXuKEAti1gylIxDK35qJHMp00k3mtVgarlJGgggFAEW8uy1ICwM7wDCi91sxG1Y6hU13t7qgCZlrKczYoswriMOrDbYr+eV+eoDF5MzB8EtN7RTjE6Q/PtX+cDW1XNoIzVlSYnxVl5D/ZBGqUwKbUwyjLjRHH4ITFbkITXL0XN9u+NCIrbxSxskhGHUgLuSFQoVi7Dd2w3zVohezVBtRFeKI4gyNHq8+RotrssMAgoDGuUCjRBEzUaLFoii8fbkmxz4ksuCq06R7Tya54kniDux8mGTTgwb4Gex3N5BxR4X1yDifwY3DNrSjCJezBe4koCkLeC63KWiW+tio8855w+A4T38hQdvzVHOGMnn9u5v4mL9BNwQN01nb576zm5Qulx/3sqKP1iV/TCmo67ozd6NmGWyb99ac3rOOEFLYCgmOqENBc3RCbn7Owg+Z7uSk8iaQBzFwRNeZ145wTD6PtOg4xk/UvfEwQ34DE+lVDSCYYvzSaIhn3WFlKiqj7h1wRZHD1iyaafprYlobbuKIT0GsBehaEt8LUbGzL998NkVFecfLZ8rq/sr9Qs1aowdge7CrreqLFdbkxBnBdii7i2Kl28dYF6nLQyV1VcWEddOrw9icyFX7QyH5F7nADo0eefI6fmVYf5YnEI0FRHrsscEI7SVdIrunjy3LUNQ6NfzGZHYxfJdIie5IWKuqs2XxUwIVSu/DoB6VN01aqhRC0LdaGvN+3SsZD4oqwCC9T9aShqvmWEzyRLBlxDoN1mkKD6Z+7GS+2cQfDK0r9fNFm5eK2kX82CKSn6M609tqhf+MPlCp+DCzQe+WdM86dUF2sWjFIntIw25kiAj6TzvqiHueJ8AzkY8t6SzZyJMjskqY6oDOTRIWIBDnlT70RkDcMzLmDbnMdfgthwQLNit9/uDaBCGhJPLYOTul4XwGE5AMet3hFwyQlCqjyOw44X7Z26obmolx2GwSJ2ac1Hvoj9QB1ZGarf8YEnkmnFs7/HadFSAC37wwlPwyJof5dh3dkyxxSV7wlYZW96E2wodltmrxLbcPO9vuI4h88EUnBD7diIAgV1rQj8zGBQRBJLmY0xnZJOQB4hP5ze8K7IwqGAVqxxUcKtnE+k/vq8fqBvxn3cIHAtOTGm+J1hZJj08aN5PQTb78xTAgG2fq4K4vCwKpj9bGJ3Lj/tfVY+6nzzSgtnNgg24f0u0bM8VcDxFBYuwA1L4Q7M0SDHle854O1eeUANk7MEYkaIx5gvOl3ZAQi1kRKEfvFiDxd4h5uoyQA+PcLM1+uZ5Zn5BXx8aeWKzFlgThW1ya5/YFIh19k2tpNcE9jrHqDRUH97+isC1KdL6f+LYGMnPklVVV4fVYEmBsZK6UojqM4nWkDX00Vir/80D/yQb/LYtGZoRsXcNgPrZjyBCp5jCHP2sgjB4gZPcDBn9OUCt2Q5xrIbOMpLX5zup6qN/qvvQEaTNzgUCG1Mas5lvvRePXCzkpovR+9s6+uyCxArUTf7XkhsMi9ztqEg2A5h2XnwUeHgvoCuuN4YmhobeLtNE+LYum+huUBfIDTkNW0xfg6BhbpaFwHR05a7S7KXY8hOMeIx11TBmcq2plYoISMT4xKeEby9gIlh+8LrjMde2DCOwy/vpNEdEiLWA+pTP3Fm7mVtnO7sKp4ftTkLteihwCNgCA5RXov6SFGXtcfM2YGrXqo3EgPy7BQR7tiQLydXoOKUdnTwQru96iSPgaB+IHiMoiJw45q2m8d1EqgIvLAfIzJ6gjaJ/fxrTJbCobwP1k4VS4pwQ9IS9+KAwQnXWYlYUSjnl+K1vGXT6gi72xXgUrWT1bFy6PBGcfpIlDpq7ONzPrxJK1c6Nl5QZdWHtX+XCndcyGcFVSc8cVdStTJZ7fyoxdJkImRKNUW6rnhId0gxIDvnQDysRxw/3xScNFwHpfKxtL24Cdqnv1mxUYtzL7E9fVYq4k8E7ll7//no1smHeiLpX9lL/XDEk/LmP8mrVxjv8qvRp9zhhnZrVmabKQbVgGX+Sfm4c2UjEhJ8KT+07ffqm5rGlAxDhfcSdBibsBVze13y0gjD8GguCI8q+DSlPNg5holPzjWqaSHbjpWOxtCWMPamvcm/WBmNm1jSKf4VmwmCpx586EIk0s9ckrnSTgdHruf56JfoTZXcuK5WfQ6zqxCWiwwP+sHAxgjn300tXwl3kk7ZLFFnVle6mx6C5pCSW0xs+g8PCY51Kse8PvMPx007oN5ZU81EvQs7g/2TzhUDA8Owxk01GU6efC9O8iI610OtFetIbecbssFSicGjD6gB/KYOoSVR8/Rf7c3uWOoAbV0oUALkCf8MKVasxG+iHmu51q1szexncLLcmafno9DQH9QSIf+roTZnH1Mail+6B2ncWA1UeImkPzRR4++g522motF4BV+2gaRilMiLPX83yzZu3ZUUASR2fWkoH9L1rvaaQl/6FhYLmUmp1XsQK1GOZkMUSf5huModJPu3TUzwJq49IlqAtINPdqkSyGvgiYqgDIy9EdWM5g8shlkrOUwMtAo3NO3IBrXKo63hyX+dGGSERRBuwpfu5nAvbmS010oKqBi2Nn2LNqIZFEmr5rQrq2DchzYvYvHtFczQCB/8krSq/3jX5VRuKGV9XiaGYDa3FlTr5awGzBfmI75dZjPTDURrqnM97rSkR7eKEjwFWQ1NhIVNhivRywGsLlGdWKho9Mjbp3ST/U4BVYnGOe/oh4tNN2A1ubgIX05tKFAczwVNetPIeMyT7BUjWmK9fPu0uY1r8meE7cVytjckvCbYd7ObFrLm9K7YQ4GNwitydW2LjdFR3GJtVNpRVUhAF13b+y5GIxGhVssqIHCANplAHSVK0ZKgsSxsq2+zCLwU+ycn9MhTbC40C0WFCK9NAdtlttgNx5Bk6q6Amixs7mjrq0R7Zx8EoEWJcQIbiq3AshdRNh4jY487tuyutmHuxNYncc7V9X6JwocHbooRP00I5A0Kfvb19YqRwMqMtG6dQTlN/f2YVKCvUzh/WSWaeXgfMmEmFTpz3pUYnxjXt7O6Rtao0PLzEsxR3omERnPJ/A7EQrrqfJoF3m/BmPDLUUXI9FRwYari8xhytrfzWUfGALsZtRDH8ApyVgHTmC160SIBVJLBs+xTz1y8uN3u2qFrAbz/D3cfdArKexlRyBIu3NY3vNBYmTOrQ8E8oF7SJg3ofYxuopo4y7NVNtYk7GHHLYuBGKYaTQspmIjzYNga8+TbCgRpb2iv5F1GF72Ww26d2J4ACRYkInuF0boZmuheWbfiy3S//c+Dhjte7txN0Kytj/WXybsOqwzbYVYooCK7Q5kOZnyPMj30wsCrNPuREGowD8uQgdiVe8BS/ZYm9BNkgLa79c7ElfQTwCKNtxKMqCIT40SOmrU0oC1gB86AcTiArgW4LZ0gy+X4cfxb0K2MRIz2G7RVh2ynRN6otr9WlECrDHvBKBjR4usZs132T3/09jbB51vEInZvdDtZXw70t2QIiwrN+vBx+pdFvUBFM3orNxQcG4KTg/0ctJk+cY20QNmCcE0mMC3Geg0FLos+gyazW+OCWMvvWysZfOAZbk054KUu7Gyjjs3sKUHUKzDTTdy2TmFMi7mNTP4ikZQpIrVGThvu/ajfw4EI5RnyIWZOadCN1sATdLixY3O+fxSfWNSHiORb51w94oY4s3v5sjZ+khT9Z0458+boOtiY/McsOOoX0DkVKZVw1iUTlq/XwP34yPoDJyVgTJFISZBeSzD5O0A4oc3haCWmoUX0E/1qIUgQ6w/QdKTuzG9tHYPjjeGrJCyHDpunPhxc93G3np529Yrs09zyYiHRhz0P5/7ZtSWaGN/TS6vtQC6LObtrl3x+LNfQyZnBlY8+szrrLrM7JggvGLSEq3hSQOM20GB3QJpQJpv7ouTeXaJOXsj/fszMueCnknq6pPidMa5sW/CVrepg/N9YjljX/3sj2JnsMa4nA2iBbpiz7JhwIHfqAPcK2sZakwTTypFFdY620Czkw/qnaKqFXWjWLtGDzwFdYehOSCvM7KLHuLnHK1SepnRQa9HdfUZwRGqNpD85b57hklW1zk5Q2Fy+LweMJvlZYrInEw9tJk8h/AF2JhnHxWDpZ9D4JZwqCbnds0aZ19B6ja5JRbmv7qmjpktAIRnArxAmy11ZmOl+NAFW1HxR/c9wn6P3BAiMAntSJfscJsY4f69iN9dmaVQs5jcOVfHcpQY7mKVGfTccjW5bBs3vUS3j/rut+K/wpEB4zijikngE3Vww1a9PH9UBfwPz/BJXR8xaG0HB4r9H6Vx1QvFFRBMgzrB1/er79Huy7MkGWqTHecSzOedcSMBggni2NoyLuGzasLEZYvUnG2ZXtW2Uo0iPC81OVPS+PPp7pSUcnp8RfooRdkL1hu6Q5w3YNoLsxwClDp+um9HoKcIwtg3YnZo7kV6tj9JA/rnJX99dVJc2tFUO3nLoJJbtQo/OC0qpxAa1jjs49bo0uIutIjuxAxZgbXqs9z/O0ff8Ur/SyrPTnRumivefCEgkOqhnzktYwW96mNi3kFXMXdt46NKfoVCXdIoMx7GMi45mwGXju8u8qStNH+9czoqF6eVlGIvJXc18T03sZtg07y+iWKTyv07PV1LJZEWnPKOLmC3NJuAmjBAQeBuvQii9KRh3lQzzAdiQzyhpE29i9P9nI4wHneKchL3y08+lzz+yXLS5kryEuCyj0Twiy7gYEMAZWi2CvMlpkqXjYe3Rqx5UxjIRKKccgWBunBdTVlKzzwGQX3BNeq2ELPYX3NdL9nRfeeKmiEG9meyDKbV9Ann4UAjG8ghWt+1eX2uLCUIwKr3KEabzyDsKmmV7ft2ddTzyxGJxDAA2rnRKL1AtVZuAgNw1kr1XLLPv0I+lIdf+GF1vRK80sabCx6eEWYk3rWKybn8gXkOP+tgBeNChQoWRcC6ALoiPa3aLYplfoajnJfunJ+xsXMY6n+0OUCobNTgp/7Oo2RDr6mqokXJO5vnjJSLCMFgkY7w561MVNixFVYSfeElvkdtpkKh2fnegnhDAWNiVmaNoEhpRg6+GbZmiH300yxdOF0mWxhCQtgvO+2h01RqRo+lvymvz33WNgFYAeHx7HNXrLk5rHeEd+HcWazPLNdEmJcKCrhPC0cDEyvZcQip7TWoK5+myFXd/nzg/atw0DxsxANJq6Zw/Yt928m5dYxw5QX00QK9GElLV1qPqud5S7icFTQ/YjjOZCmeoDAeM8BPqOmDX6DqvxuA5LkttHsxaMwgJ+4G1iKGhQG192oIZjGGsHWMrOtJ9u/f9wwN2bfcrnFKBJaJEUwao0xfBa26Ty2Ca4h3+2kOlZ9j4qy2mEA08izH9wiwcc95o0AcC30cIAuIo44zjrr4k449JD3JCjiVvxyupWainN21VlixiK8pTkywNoWkaQ7/9vFgIzG+GgR/2VwTQ5uvY3gwHE2113us3SZsb1lLhZ9A2ZrCdqYNTtGTsWLEDeP1k3opTd4aF5nIlazNizT10IGqfcx4PKVQC1ByTO32nQqh/02Ls0NImwRfsWGSmpismiKfc5SiWGBzoQABbW2If0EJkPJ3dlJ0l0MgNcUEyHiXunQXQwGKs+cA4iIKLr3sBO+NjfZuDx0yXvCjWT3HPsve9Yfdbs6afQ+PBh+ugIhgTm7/ii5mZfQyEXrXA+cO5xNoyRUc1d6B+9vliaLqixN6ld+EXyB1paK2TgMq5SlteakYM25RlTplHP4QRxpGzeAgQeu/2qRvWOCDt0CEgVBhiJ4lZ7oSvg7YRCQttwqdWzt1jg98R68OWfjCkIcjg48oDWHL+4eMuIf9vWzq9naUVf0Eh8KI8/1yy9h/6QkUu+U7k/BgNnZ9PEOvVJkMip6h9bXCuD2/BV+3MO43IdAywXWKZaEU38ltTJ1oMUkr7l+K0ouQsghN9Y/ZYWMHuMKxWyvDbCLg6VY5TatRmhGcHoSslOD38p9Nhbxx1yJ37eKDYDnt44CzDP/acUGN9OwTop2WWy6wXqN0IHILELTzxag3v8uieJ5tyLKl17OJWExZpPe5+7UT6kFfn946cyqmRQW6Corl8bY0s26rwrZ4Vb4QPOED4tbv7chJ4HezOZWcQGr/UkFqZJTBZR0tyXfPoOv5IHqnNmVisRirLlQwsl9+6Rif/7gswA/nZrgpajBHeFFSOgFns0KwuMNA21EqntOfCJZgI8QlqxDQyl6Oq1197bD+FpHIhADhwnt/X+JJu5UCXThudOsxKpUDHqnOplLzqNZyYktW7wjuZRLSkf16gaoc/rjV2v/e2aIgth0e5pgjsPRx6ITfrUMENINGgAvd5ItRUgJPxHw1H57ViBFQe5LGBnKtzk0zMuZluQmqDjnNKXDwH2eg4A8H7uswbpF650u3l5lQ3cYlS4RuqtjAyli8gr0rqQu7CXcQzUvftSSIix0qODXLXMArttts+xWGTGgla3HcC+xeC258E620xvwUDTWu8GBYr/tGXRQtMrpFgsZRkqLJ5MX5VhhU801kmDv3Njj9r9k4msLVjdgphFI8//UEBFsuc3yMBa7eEEsm8XHodoi+t0x9T/s41zjmJ8j/zCmMLLDHqvWDncYFZekQaYMvPS6YAqP8qxGLIAH4FONHIAuowMmJUD/x2PTKw6WJAyGoYpsy+8RBl0tNTakrWBqKwAVSYxLLUeFfT/u0CYIVoeETT93RU92F5Fz8gi1DvB9zCMLtlMtPszFzlfovyzyVuGKDYjGf2qKoMYHWl8et3CaLQ4RHHBeceQL1674F40VXH28j3RuwmUBgosIYuBAGsJptTcFH91jQNvOAzV0gE53W0GeZqZarkvyb1FIgKmVQKckiZVAGXnMMtQ+h2avbFrNaYq8zSevdoXZFxs/YHC8sVQ5mc4YYvmgv2N/zf7d6aDtcq31gUnrJWgpMAVGimACf1OB9CW+FHM+5F6Zykj5TVUrWKcggs+W/btMU+NTkeYPUpKU5qM4q66//xk0UJZ7cbRvJkXgHG0VgryLsBYH1GIFfGlCHJAQ7Uy3BPxBZyjR8wHb59SUe/v8tpxgmNLsY1rg0aKrFOiJzoR4LEsCHz8DJ82GYkez4TAioJGQzh/ygZLfivG2NWr9qd6aqSKv1nQ06Z7rXXV6J+SzQmYoR5QZkbv3v6GeE3NM6Mldn7gZkKz1d8MS8zRiqBrYLSndAFdrs/aBGi0yO7UURgUOZ+gVv7hzEWFh26P/DMgdUuJNR8aVwQGdC8V6dz0mXdtBItq7cOw2jlZpxrRKuGay58sBcC3rMo+GD5c5g86ROMIOcn+j0i2e7QXFyamBdWwRtXZpUKqlVUqcG3QKEUHqRL5jl473zjJClR0KBT2DCySoqI3SMBYw+fb/6Q0/H/o8I0nlmIWoFF9bv0gFa9KWajX5tVsA8ZFFV81c2zK5sAFRj3L7+dzxKvKJEtE7LuiOeuU4BujOlATG2dkdEIe3o985Vdy2JXzSIM2rcd4LVT7zWXApFf7MPQBwJ4rKg/YVE0fjyEycSR/R2y1yhmG5q94+y//D+KE11xrw3Z6+Dm+VBcrZzgfAOmBgmtyJ6vFDVuoK69Nv5JlOSU86aHRu+0em8Anx2jwDYCtSbyYfG4Tb3bP6HL3PLNrEGjYwYSk/Jsan3ScAkkWDooe0NOhbYtly7PwQWbtKDujsIjyUzF0lVGXBBDoiK+sBbJvwKnKS8GsXTMJ73ARmfoKfHiyGH1B0WLO4k/FQTgeanR9hmWRj1sim566r5znL1NQfcKVOJdGoX3q+KMnxAdRKQ5fNB3dBJTXYl70UlPZIecLztZlQhjC9j3xaPMHJCqhpd9m7y0WiHDXZNYCF1F/e0ihVyS6m1k81V2rQkiB+tygp0T2n7Wt41yLAfn3Qho9uIiqbwaBEDdSdvJcVJOTMMbmC4wNNELBIniujSyLM7CMd+lysGxdk22cbPW8sEiisJ0FBNgplENBooT82jip8cistk85jCIgBw/b7FOUoE40b5fcvMTQ+8oFN860ATFI5281yfiOKV5Rv2MK+vh0IcvOUOZr+6gvzMalFwLKbsZbQ17MeZlBNLBiCd7AMYZxIt1A9mPeLMHcNFSuYQ9C1UaTyqDm0W3MXP8TAUskPWEoJh6lrRpFFxKsyIzgzIr2XzUQyAW1KrUUIN96TeFnLICctVHfrnrPTQxSHgJThzD8bafs4e0VqxNiDARWvfMKSGcRqmYpjO7131tcuIz780vfI9p+0T7EeGiE027hzqvCObxD64hBd2lTtL93yelzlXFNMhInc5x1B4TN21XwLSzcLyXEX9d44jwTv+mSSHN2v0ZAXgO4rFGh+kvblrtspGOKPHLHRnfRd5HTE4jxJZbqsh+mD0QZ/Q8MoW/QC2Ml/1MPTJcUOdewqQ3uWt6quVyqDuUfGCXbnhK5Em+ndbgL0+zG1MDHgraRtYW3h1CX7CJfKIAX1r+IYKAiQKcjAmKI1DYJrzTTfzlTohGxITiHfaZ0UHJhLdSIOBj+cx0RWoE361o2HZBYwgp/EVtFQ5Fa0Ire50D4hCeOtCGsCbpKPv7U27GKhL8RH9Gm6EqYyaOirvXW8hxXmo26XMqGHl672XjTwlWxHOdxFK3ZSMmoAfZ9KwzhE3pAqALZOj6/pNwxktea9fkJKz0MdrNOULm1awlYfRXDW5ZI7nFP+GEGNgBGuufeuxUZfZZoRBJPnRzwKZHs2+vdSE/t931KdQz89JJVLeg/WZCAb/wvlHABvceqEalBiwnLlhU3yW4IbXctJXCCiCamUqzrGBJC3vLRMNctd4VHiYyQWWR6eBTky+ls+djmmpSVwzUW/t3R0vZwbHX22WRJEQkRgwsOm4m1LVI42lqDSOxuTkLI/PAYLNjOOkmrPBcUje6sSbv/F/k2ftfjVLHSTcJohjVBtYQ3qH3IU4Umo+TNddMkBJwBUnLZ8NcttTS9eZ3zmlBwCIjVTmeDa0lQvR6J06BUbQ1ravTasIiT0tlg9oyKhuoSCMiI2TW3LNr6ZCprolprAoNHItDakf5kyfpskFcT1zFFSs64KTRcLF1KJ8yHFfUWk/17wX0x1qk1Uc0Ez7fqaAHUuDf7poRBqzUzsCJbbAMv81jwzOn5vRv+cRIz9a33p4soUaZtCXgWphumOIeOiETeWIjWhyHBNRf2s79s13wsLreyFt4OM937MhdaLS+AcerKOnt+jPMUJXdcNiZO+ia0ubjvmQq8vQzJhpxPsa9NqzisassOHFIZORZT2FQbs+qstx9IhkZ/MaSiezhOleZHkfjecemPckIESevaiZCxsFQTw8Xd7qx81xU7MtREFaHlpQbFn+w3FLRNrvUCTXIRLQ2oPdC0ZH91c5WUq3Kp9akw9UrqRM0YGQ/cS5MqdJXyEWBEccyhaOx9qMO1CaM1ZtG1nPQ8ZPau+TQKU3H4lOGBAx35EGx+MSfaKQiDpNbVHymlthmhgP9dJwnbciSphCZNhCt5ezT4kgtGa2sR6B8JkhEozQf68ciE/fNG9VmiBoeoj8VCGWpTvPvKOZp1/JhJ2zZ51WTeEOVziA2VVGQ16tq9n+MqdyL1arSuh3t529eW3XIEpW6uN1jec8dhbyNRUod40GgpMkoCYUcd8629QoYoOhnCoT9GmcdQbyQXQiD9gyuXZas/OKIgTFjLbeafzDMm0ROfxLXKgMjn2D0TN/DgfCF45IqDToo45Evg77/mb63UoVMFkXM+QF8SQwqayJ/MQdLRlEirkR0egE0R5VZebCVQoxq2TyZPwFyGhezBJcykY+L04V20HKfiqK6QDqhswhLfSnuIYzGvWOxgXw7bYfKfXL9tiZ4G9ZvNjSLgUQoxEybPIQio7d+3kkj+s3WDM0NUpvNA+DO6YSF/syaLb1m3w2JzelpU9sNTsnwM+fiDzB2EC9ZSdpcq4qzLVJjodPxxahvUD2ALPVgpcytwntn/QuiSknn7QRKhU0Tf2hzHMYVLSeXlBreTsrlmoQ7+z60cE3j3EA/NUBELp2cGaQ5To2YetELGvjEruYH6KG2pJTyJi54x6m4M5vOAEInIrUZMNtrv8+cN7zStL/Y/xyDt2NInJh2JoqlFWNSAXmS7P7adofo2e3TdgRH5DQTh453qxdAFr7fY20LwmK+0xcldUk2Z1NuhwzGalM2JyDr+1uRXPz62RhBRJPSub+Nyz/73pvMjC3xAVFSwa2WGlFoilJVoPMwaE4PX6w/8CMKZsKEN5lcok8TQoq3aETNoel62pP9g4IynwFkWtEnzUkjwtBtrXkSuqUYi1Qd4y2gc26EV4OKdnb1kx20ONoVymsv98bgkDFE66ISNBt0PZpZ8DOckg105aeDYWT3BnHrc5lhpeOCEdo113bxImGUqGwPTQ5hDTFWizg8QxGF1CNR0GTNuqnNUfs9gKZABnIq3iX4qJTMUaVf0P8OuaUVIXPZ/VmdnZHPXCGywBZa93B0UF5AJYkPqTJk+cCw9ekQAK1Onv5Z4QpEZuRQBJjYrLMB1w32tTsqSnhq1eQakbShOeFOyXjeiDKlMLyB2fRd3Qu+HM566xHNe8PnLifDBKpdmJxjmf6luINdrbMtiZRpbiXTPjpBLZdUfk5qiyek2WrpbycMZACNXrSzzHtkk94waTotJEiZxLsHgV6iBVyjaTNE5WM1/NmQpKLnT5BiAb0VtI677mT4KNn9xTcNN+n6aPNwXvkXR5qjmVGVKkqFSahJ89d1OB5Gr8XgT4gBJzb77A+J9j6TgXZ6ITyUHTc4BPGQ6rTBkGKvpW/f85w0V3DKLYkKXPgsrjLapV/U9Sj/q4vBsV5yngbugTLR2/JSeHYhAYvkGhKQCTADyTbVw8zT73OOw6NqcqOaPe1tFkRTgjOE/VNJvaXwax97BiUrAUn5/Jpossmon6tW6twmPnwYIJ4j1k4g+YT3oeendDAHguGXDpFBV5KK2YyIHN9QTZS7eZnS2Ni9RAK/K74SUDszBSQ0Pjx0+tVx/4z3QL0LXiWc2XZuBYoOjjv0HS5UJ6J1MHsqC6hGjUIgJjVdc+hfOg1iAy0AVRRqOVLeBuJNt3kbePjtt95PgCBYEsBDS91uSarJWM5K2z1FU5Jexf+HYinkSsLxvesxfB/cjGF2C/RUP4HRVU6RvqqcTII/qN1lP2OEF0cuZ9/pYf4SHvKz8TVCulZEDlDgUQQCCMsVQSSCLaMrd9MEUOzVdyK0i4xPz74YNp3YvQARF0IMjzCwJRsupL85eVxu0rHKUM/jcBn3XqdhVF+cICaeVxRK/JcUbBXvkrk1GsIAZy6sdWtpchUWrpO4L5gSG7urltK67dw7L+0bLmN5AaOYsi0BY04lvYjil0FENGXaAxLSX6YZEUc2OBe4FPNzaoq4szi35db14NQE8MdaGh83mLIktBPC36kYoCWjKCesK4PU0lVny4rj4SK7rU8EVW8nwyp3ru4BD6h6uncFcnICV69PK0WU1+b4HQGmjfXqUXW+H58795tRjaQS9N2OEqBhwKnO9kFRKUJyU/DCFZ55GHhPy3XpS650ADWIFMvUpqo0PlspWLSrl8NFXEsifPjkKy8cTUPBEYIaViBlEIyG2mnoGbppICIs3sDEkTK6OtYJZaLnqlQQDislHyTWJFCvqgKx2bEZ1gxvGVeYrnAsNIOHOP1y5u4d0/rYug0/bNr4apmIRVfDxbPp6K5d3HYJXaho6GPcJqCDOA2/gAiADtoSRKahvY6NwDScdlPmPWfq7OW8jEvRa85P2dqkJen14qwZl/aHRrCvUjyLIczD7l1Jg4at7K2wCF7Wv6d8S9QdSWgQOlQ6uNwSIc+8wcmkFYJdXHi3a2tIUbXU46DiQasaoNfk3J5o8QHH8qie3Fhd9r/aKARKl90Cb7syRUQwCne1Q9HBDPzWpU6bfUGfcvsgWWO7Y0k7/9WDGtJQUc5YLQGON7Cy8d5iHSJI5sXG+KHSG72hkdrQpb2f36iDfswWJPLUZQBA6kKszuXmRFHdrfkHlQQUbpfx4qTmkv382ezChnzWnIOkYvPSzreY/j4CUH0idW9ec+n2eD4GbT3x/H1XSxK/BMVKFU/8lDYp3seVKnF7OT0gKBf4sckvUE0njbgPhAPA/0ooyJufqCrXvA00apWnnXs/RHbr0ikXRkDI6l/fTeNO6GawYAyRVyC8E9ewyfsmzW25pkutJq0XIzFdcAPnhNjeU+pvgmwKva9Ksf46lbMrTjEoq7YWiGAPwz2ou6x2TAFFFdUh0pXoWsdezVx7EWdWah57iGi5Fo1lZ/VzBrbXw2bpWrdqYWVbX68KC+hWAKzmNVytS+6oj/KbYb3EHZnpd4eVUF0cOxUaDaZrIoGU8D8ukfJeDQJImqR1iydSXAfLHdePoUdpP++aAmfKJeKBdNu9syISichzg865T4XGbwnD/4P6N+MsYqs0tW9VH/wrcMoYZU1EfbAE1ySqpwPCHik2x5sUWKTkxkzUrxgxT03shxfdvaWGWa97r/l6EcAtI59XPYsTNRlyuth3GLpK41EvQ66/bkZBwSsOHOh9ebviGyr1o9IILXHbdGf8bwVlXLw8jEmAjniH7V0yxPTmfaK22YKX/66DNcAuCoyR26csW4wyqc8gr3/MW63l+TgdkiFUea4WDwl1uivsPEPciMGJhS+sRvd0vn5J6So0Q9viMKWY11kr1ez5KpoIkYkfvBGsvK8NGnSKYmqGPFakx6e440Twt6XgiZs2t6Asfeh2wQHgugnZE8zjXxYhTnFFvyEpFENLml1BXEWv3fBjIgb+hmXAEJHzr9Id3r59wnaCry+PAPdR85uW6LI+ZlAqmATj6O9to2Ae4DaEmWqUEjSkoTsvekhfjwLLWtJxGAASToigSRLPgG2dlrd184YgIfR/quq2Xib1GbDkaBNEK0rJ9VpKHx8H9ghjIS5yK8xXgFKvXnOMoX2RrhZ550jYijUqVrRBM1sHififyilMmrg2Mhav+bvXePjOR3ScYCSGm3DE6Kt67dUU/wlDEaPqnxUnQY2JlwrRW541AiEyDyTem7YV3GNl5hhEDAxFpaLkxfQembkgGbrEp0HIp9jHE93keHFDUAJjMnaMGsblAFISSlMkIxGNsBIenTY3cmdkDfgcyQEFPQoSkiFbEs9TiU6Q8MO8WgkXTK+v1M4uweC0Za6RCfBF/u4LO+aEVR8POQ5/7Lt+EB2eAzvYNbN7O6lJb/3qWqJ2mFTph3ECBFbUpyVDrqCyE36+urQQjrnaUDib81m2sk1TJciBeqhdagL15MxZgE3z0mrGJuVwkWicm8krqm++HryEqXGBIKklZFtK4Dje3xZG0Pa09/3dOM9/UygcCz++fx15aPEFkT8ZmdF4abXw0xvukPyABCNZ4wgwA6NNrH7fcgBifvqAPjTVXG4tvcugtiLfGr3w35KQM0JvC2Fg5m+D+BCAfAm5cmv1fLU5b1zOXD1KkbSAIPEpIux5LCmBWhXnXOVRoWJHsiYjDj1psTmArGOSu+aHMc8gfTUjCMu3jBu8ZPZ6h4Vbg8xzrR1HmKKRZanCsR7ckagymy88U78rx6cD8Cj5j/dwwQanwwTo0clghVQQBxGV6Y8yUIXC1tSc/B78oQ1gPVjhxTMZpspzNme1NLdGfZlgCfxc7wD3CtnIVqL+u1TOa+Ui633VHCS0vyh9ET8uEVaPpK+H1tGOx0gyO94xrscODU4UeLeFPxS11lJfdivE+mZe8U+WoC6nllCfWhe882zpW5+a0DgyNPYayIUJxuKHfOvf5xB6ZRwOzSv0u+Hq5VpuE8IpDn3WQ2s0rbBDUQxEZ5rSkco9Oj2vrJ5rqizrpXl5pDju2NYgSQ0ofDhcKDstLPuUX031gW2qdwK+ao1ha4WbtvoOjjpXiMrGA8cECrtVHNpSUJnzE+Ta3OVTwdAgfGHP53ykXlQMpOIf/vsrQLWboY4tC02eKzRA6rKUoGREqiwELnPAhrDT/X4na1T1LEO4TIvh/uyqEurhMKDjY+hX64nhNhsHOcLOizjL1e6D+zTKCW5CUvo9+K8wh0SdIkEro8uDWjsLIpVD7fBvUPwSdUfTwmqXHIP1lDD4UNeh/Gy7VSfObfdAS3U1zZmy+wjjidlE5Ay1iVtjyIYMgHLiSFo4r9zpHymcFs4FvyaHxMcQv8kFK0ke+K10O3DVyTqScWDC1IROqmKfPx77CmSklEgIeIOT9ifrORDBD221Yb9BHrKRGGEnklfF+ADGnBCJ/Bq61LTd6jstFqtfcn0G8cZnk7xZ1OOV7MEhLcoyj1C7vtQPxP/I5BHNQmhDCL9UwmUfCjb5pbgAZHBza1cavl2j/veJFhZcrFpcYV8CL+rmQwduzEJMN2iI6jUM182vEhsEJMR4csZhdaSUPTSXI+Kkl/OhQ7uc7NfLZlMJHv3eJLC2C0eOdzxPTwRb4eg64pqjLxJEJzlulaB9RhsDNai26okU0yibvkLT+N/1RizOXhafaDp9/6KKuBloSgmZchE6F04WS3jdq9qQERjfqrPlyBqRs53FiBxC7Klcac+/McIQQ1+cGutrC1mKaxc/a41K9OyMlpuRPaAtRYoX59/e4fvOcWW1tG+eDIxVbF4BKqEvxJf2ikZIpprifAZM4iQSXPIKOV4xn8+mDCNI6BTQ7kV1hl6a+e0iquyGyZt3YsG+GNjS/SxoxAwkXyxCbLlSzzGUUb0In3mra5rjX7XmiutFqX1lgpI//qCVdoKUIqsq04yNr2qoCG4PD7PJT1n/45Ui/gZPeXuT/UtJtmhTIs6qiIBwArg6CxKJkn3JJSkDzathD9O3EQKz1d7xsCu4JAECyax6zULt0On9BDD8ONbryxbf6mxCHg2ZnN+D105LPTk0lwShoYh2HqbbFfkM2B5vFmNQG97MJf1Gfa+sKQydRsaiUUgjWPRxb/Mj0tOPesSlzhDuyJkGjBJE538apW10yxiHXlgH80DLAfgZV5ovFcX850koreHDCq5uMIhu3RakBxXfewDFi5Ye8Hh+uYiqBn1Q1frfICQjFh+SzBfdNuc+O0yd2stm8LWSox6r0EQ86utG3259P4fDiWPpWGaxIgPIn3s8i5HKkT45Mg+21aDECZPeKGsLaxzpUsa+UZjCENLI4SyWzgyZfxhDYuoq5hfLpfF8PZgQ8OrzmjsP7P45hDAzuZCrYYJuthPEvV8DTMPCQXmdKU4wXdn0ZNj55kgSy0ek7DjvYZMs1HNXWMIwvCTPCABmAdJiyqxOZAX+VZ/IKhOSVnDOVkMvoPhhCnoa2+TpFWUySjrAYm371gtbEs3jYl8rmCinFMAekTTt+0caYFZBclDn+s6HJfSzi32HC1W111VV+xG2Pirsk49num9vabvkXQoDjCKQ18PvYpXpc84th0QGNbAKDVx04jq31nOEFBUuMJabWSkscGSgwQtHKFvoB1Kckma6Cu2KL5h0tgZUqtlpU99fu6hgUGAULniNiB8BNlaYhcwGgCnT2158PmHc3hpHzX2rYmgSwgBhAaANPh+lAARqntCZvn+5/PfVqVHGZqUFwWzEA+w2FEov7GXScwT1DcAoYMoJmkdJiVWQcZ4HUtRIVtvhLEeyANdIqizoQi8db2CaRcdnRzRDyxWKcpbN087NXcdoJ5byLIzCmthuhgSljd3+L3xfumQD88Q46Fv/AcAAzlQgyL00OBXDFE11Gd1QHH+pGqhmbIPZUldNqtUxNlScdAnif9xFm32j41YT1KJiZ5XgUsVy42TaGw+8aoIQ4lC/ETQ16SkURmMih1oFOe5sHwZFN+odwVARMO4741Uhmvm2u5j8vsn4vBh1B6BuWe8V1/icUHPE/DoLugr57Y6ynXMGsgA3nou/zlcCdQdudN7L2TMIFiiMvsZKdNzZYF5tmrYH651fiSc+VV16nMtO0HIUg+uWPZCNIU5fNKiCM1yezJLFlJxO2W5smznTAw0741HKrraMMGIxoHFh3eUL9Xmi1h0DYMk6g6+UPxR4O1wujjMG7YVIJf7NGyuvTN1l7mHwP0hXs4t42c+BUvIQy6foyu9/ltMwTzlvaykSIhU12XGOPRYlsdU1gy2ysJf7Awjv1gjOMMl2S0ZPvMeAAF/y/46Sf4oYzq9az40i1tQp5om8YfVyYG20kac8AjwsWPb6wER4ascrVPImN7WC15x0yEBm10PuCgIL5tRwqaJsx3zAxE7XIyhqc4321pFg28huL2UCidUcfgMmI2i2xfW1XlXQFhOz6yjs+pab1U2jgTzsQThEXDzKZT8VHdP2AbiOcoCTUiAF5Wgdzf3oydBndMlkcg8tWRinHeto8REpiacrrZpOETg+rqQ8QZEt601I2J0vcuOncMvZ7ua3RpLWl7gkhLUkpa1L9qJCpc4eKJH5w80vaDUrwGnTV5TzuKppr9gdbNqV1XrNVTQtII7lXXVXc8ooEhRi9F865AeMTcjqtLTpG4OqLiSiUNWay4eMRax4jnF1g8FGya0YQ2aWX5t5p8k19/WP59QmWrtR8eRpetT0fR7rn4Z4Rqc0ZkaMbOWnOdNL6EpY6wKME1//wBsxY3LcWiJ6PmVXdQdOsHFleUTystLLwDQK2ng2hH+3+67cowMrSPJyO+tTnN3ecJLVReMSiqNq4LRKkfYfgJ7KUSzzb9CV2RKd9gBpaKwcwc2odo5iQg8+ojLdTtHW19zbZfsdksetXfM/T5mgXb5L3jP/EoSac646aaMXh/OB/C/x6YId49b+X8qGW9H7JaBMycy7B4bZRueYk3Tgzcn5p5iOBcvC0R7vp8lCKi68RejrjrOWtTiQglnVoS6VUbuMLGfgtXz/IQThkdUzw5bHm1Z8hSNmbvujFNI5j5f96q0cPMphH50xvZMswFGiRFN/cQuO1ihZulYOFSUN3L5xEy5DMUDd4zCJDfmNMh2teu8Auu5inMubaa2vDtMgeGs7cwLBoCMt+LZwhfiGAo+snSNXchaFf6lKQ1xIBp3eRiLTcDltFS+r5HzsLJlsSTN8Y7CZ6J/HGTHDBsGwpZr+VVKcaEln772wAp4idnLtIrBPEDahBS6v7I8jVG5YpTh3Zn1SqcR/OW+eJu5vshy98LO/V/dS8j3/ISpe0/drTL6qKTbfX32G9iQl+77tusBuxvZRKY4yrtCqstm6VZ/vRKgI1Z3sJml86mUU9bTo5mmGa0aqC8CMe3+AIyCdvQYutGNhHb0vgLg3BxUXaDrprlWWebfQZtcUbEzLVc+ER8tZ9/0be7Nvk+UnvbkaWPHahbg/mfX8QcHvx61V1HJxOtiHPTIqcA7m3FsSQR1yqokDtFJ4nKd8unYpvELitFYvtXeOD5VAxa8nUI5lJ0IL65I6D5U+UHpyC6YvscneV1TDI1s5jt6pbt371mu3vUzsm1QVQBW+A4y2T9YbqDLs9ZS65wgs8R5BaTCqDAwe/iF2CebGLzRZTcptqsuKmDjCH/FUz09fbDhGcue8CYR1NA7xHbxoBp/A0n6dsba9vrZJNgN8uSmlk8UrYQFGTOlXANQoZN2MJv6/x6/xWZxQKzMtn2iUCbHSPH5txsRGzgr5k/yvlC1svkXcKLX0NHuFRFOWfRlBjyS5f0VGRDgRVzPGJRCXTMtNXcl7trFxSuFUnkuG50I/FpJ6oCTgekkPaOq52P2qMmLZe8/nMWseL6ICmFuZMpd/ZowgkB53Kzz0XXTZGGtpsOJFLLv+zif1tNLcxirUA1GI/K8o05jxuL5rZZqd50HiuSMfcnXRk9Xgp//5Rytu+vcDalPg8lUYw0tLj3wd00RWXlTid4iF4z+GX7OLOqGhfvpoh1pBd4MJs80HCgS5A+a0d12duxYQG2CKkyd+St6oBy8daSoxzKRy6R5QKCeljciy9SOEUc5ImNvMs4cmMTuiS20n70NjCIBWY9mi3UIHM0IR6rQtFhozmiu+Z0w7r/fv4lJDqhdtanX+TXLrjVwniyq2eZ8tO+YRQO+MYpJLT1/lErMM6lXf4xvKK3oa7VQA6p/WJXtZHBwCfOm6WoR99PXRrHAcn8N8lbAYj2EQirRbaTIXqzx8rVh0bJq2xANE2k6GDCgrPlB0OBI49NnLgyO9E+lE0xnlUNAxBm2TY3TvkDGbScPPc6HdTKMswRC1YgyD5fauc0B4OWVaJDk2AgCLA60ifUTD+JHkJE/QWsmPq796BOm15y9SMl8ddSvUhbvfdlk3QxYxvv5mdh9wbEOyIcOs0m8dqTgSuuGVeUTCJsrC3wnBUj1/3abfFh5JNc52P99x12TgvmV9/9zNhMXIZEFolvfVCvPr1/TxE7UNbD0kSuA3p/TNWSO+jPjeplT4JVtuLiTG4hPQO7mHIin72RJet7tm3Eue17H/q/kvrEFcWfuNsKWswyviGNpb5QWHKbxpwd6+epH9LdOY9qxyzO2dlYndv2bFQdxoOSQIfvJ86+WSZmhuSs1O1fgBqktMmoOiWmRvkrzoxe7kH1jHQ6ZPDrIRsCzbMzpR4dWq2cp4wi2IDT35ki+ng556GDv1FmbLDaqGiB4LGLksyG7zd7F1MPoT4jw/kDBGKcwUGyiWZHLhbtJ5phpEgoSZWWhoXbv2uNVMxmi1SRQPSGRyP2kf1yjObj/qD4hrpqXhKN28+hqqSxBHRiwEtKhQAuNGAowzzEcs0uZwQLjHCSrwmYnmltR+3s7fyKOKzjrXYdYce+RGeexSfWUODFOGqsm5XzMljNQHvbM7KGRFiGNHeOsECsd0PeTJyrKLRxjg+oAZ9hE1dbZlAooaWptqxu46FK2GGHlf5OL2wt8DYRzHonYmQQvCMgQDiXXxQ2htwYuECcSgPAZs4HyekEqmNUaxPoY6ii238WEy9ribN8qM2Oag3iqD7EdtSwQOYGQgkZdpAqH6cbmCQfHuHFDSRTzlsL5A8evHvyZR0dp+hyatKyDcKnGlRJIvO/pBKIAxduAmDcg/cREoZE3HfACRGCJD6wpZZzTAFor1Qi7MK4he0na/qhv6qBS0VRm6Zg1ImCdHGXcNzHOwsir9H8WJ8gvtmRIr6C9d+9nhY0g4rfoQFPYTcIbVqG7YfmsfFbBm2AF+3W8dAgmoXJzs9L3o2Ogk0CMreJ2DNM4TZDsc/+4T2A0ci44zg4ewfFmW7ywVixD9NvEvYqAzEctZzwKlbJh0dQqMtXKg3z1hpop88LOTeRfP3+zSEe3/10moWLWx3/dybl80mBno8uG1wtHPqqcIrBfCuX0W0QSYz1Pv1v8fpivXbCpRB3nhktXRxlDNgsPuWusfcOx6OVNcld4+khGsbV9CtUxBApDT62+YLQfNrok1ZlNQ93ylGSDAD9ijeNpXGtPuwBkvVCZPFZzcMgjoI5mHmA0efqZYXo9L2xTcxJJqlgA16yu6rK0U2NpzI05g7JK0Q5QJFX9mrMnOlfSjlfUIF6AOZsTfiWucmYS2v6faU0sdOUQK+X4+DIiyhP4lIUf0ftbsKSew49d+DK2+pDW/EgzYtUHN1pX1sqo0sQlt2qSlD0MkkaSaq1O/i0Zcid6T4l+DfDnflTcfq5dGL+LJXHwxZIlGhXa+Ymaa+hBLb8DcNBGoCiOLI8QYb9o8qK6Y7WdjphpLEQihWIwVFgQT2tlZSUwGcO0QAUSxTrJKnF8fi0Dcnq3ykXS0yElgPDhNox24IRw12/AKkW87J91/uz31oek8CVqjYTe3DUa7k6+gpnLwnejBXxjC45kwYywsVfnw4f98OmTunkb7S14mhUwXGlNQp6bUlWgPUvlQbnOUD/M6gNGe9hJ756UaVDnjFmN+G8JYDSWNf6Z1EXoTsDp/UgHgPr8EHGNwfdwRkjGoCXMKk1o/u8GBgDu6uCzRCoVOqYHP41TGX+eSbiCQPBj58cZ/wZ1dNgljAwI5MlP0zT7cLKfZXwuaPscx1JbH13aMLk36VWhFi7jSzBKQW0Wcat/NX2PnaU7VMKq3YWmjND779nEwc77+KlV8ggfjsLn6usl7rTpGn7uqWKFR+iPkPqLcLqHi851x8EWxtE5MpfJaMhRr+8iS3dgXMr3EOrbFeRETGY1Pd3lzPywSJeZjlcCxzAYOJMIF54DwB+yDR6MBBrIq79lJTDUD2MsLL1rZozUrU/kMMoy3kp9CQs8lBO/bZrcG22FkHGxL4nkjKMQXPGT+WSJmwm7kd5SzhTeH5tEN1bzlBYIa2OXgw5q6aglnKkPfCQOwXFgfxwuGt5KIP/pZKiaO3C9C4Lr2tWV1hyREe7tkh7FC4PgTonzBXi/goqlnHs0FCHnZL/rDlBC69/rlcP3F8b9g5NsXBu1qtaAN+wirqpW3y65VzzwdpJDxAeHsas6w0fZvHLFM7GxNKe5fIBVWtF0JLwgp2+bIKgSydriGi4F8y843ZqLzM8sKpQSgXedwKYB+TKZavFSE5FHOd2FSK+GUniCaILNmIaiJ9ojAE1qVdRaGBKPyIyMYiPi1YCZjEZPY2BJ7DizNZRFGJ8JihuEI7zQAc5G8pelNDYC5l8bYvd2tnzG+39CIW8qKrruOZKPHmCC7UnrJynSCoD/nnnasCM4UXP/UimBABtv5J0gXpTnOfA79fnaSB3I0MJ6JrkdoD3DcZM/KIKcr4EJH4bVEMP+TvcHI6tAD6Ye5W8bEeCc4XeAy0Xy0bHEDEohTXql5yH6qvUmalegFB2kdeS/E4jYugKbB3CJp04wvrMzmJMxxbgzLMiflTRwKSSsTQLqyi2piEljNQUTV2f/H1/R73a/1AUr4A8HHTvOVZc2Wl5rQ99euffgo+sbVwRGVvL7RhInwMIjwczBNLBlxfVnE9eHPLqiA0XR7/vmQ1Bb9Q0Kb6tagSXZ7LPDwoHH7lLWTR6Fg5+jicKa2sEAfUSVqRoUM3MTHhYpdpzFzDWoB8b6bl1RH1/iUM6NN6LzPNOP0zEYR4APRlPYYoNtcWoOs+jDTA5qCCf23fPXbnB9FS3VyeRRnvseYl7MlkOpTbEwXYqVMOW4WdCoRKxE1LpWSacCUgL8UaNRxBO+UV2YL2HPyqil+YpKzR9T44lWr+sOVlqXsDQSytC7BKkLaCqSfYYOrUrjCHNrURZLNYUU+Kprnry0fs+ZaCWHj+F7kIBqpWQWvaqVqAo15YAsDsDhqVzKRAZ3RMuFdimaei9dWW/WqKy/w88nA+jR9HgW/ESvHiODF9ItydULsrDeGWaVJmuGFXlDiLAsLOhYSeMfPY+kj4ExmxKkId68rShVl7GYbp/i2gQEHPS5/iE6YVXscjp6L5FtH4uvq8dQdZuda31avD7rKxivFrTWJyUcwDZkdDK7gpwYSRhHbZbI+R/YwmBzs4hmyzbiTBOGrrfJSXSMj9uMuCQH8d/1XdKArlldtAZ3yf7w4iswpQ6cWXClL3t+zIHs+rIdSdwJFbDXlTtDl+KUYnedphVBGutTtLFwlcsBjmltFO0InBCdZ2g+1iHOizgsMJHi/5ddG5k4bjJAWa//qVd3TCDiZLB8LlgzTLE+y0Np+H6THNmuIKYHOapfDPrehLPVwhDnTR9v+qufDC3CbFACwNTZVlRKYtK68repNIMIDZdn/DqG9n6Y3rucVNalS2lZNbP0bk9//vPKttek+qYM4Mpl0xL3bG0yb1NTZMVJuOmkIFSNRWrof2dFYZWXZ5sgI6jy3cIlnvXEiZySHp5F0m0IkawT6m/9UoLak1GrYtYPTAwQABuHrZ7SCL5FOI2E1Rj36r/7cIl1ycX1MVhghqFCCiR27/1TwcbnRaPhEBIOSPr139mWewCERiQUFFHFbw2OylBXPs/rn+c2a3w1fouS73soONvt+5q0axjzPzdc9wKfCK7lRAKqmhENi1vTgEb4ZYQcv9bniBe+TL9adjgfg1uYiGkuK94bMLDiPJcPaZV6k1hOZzj1qPZ1DqAP8lZ4NxF8nfeSKTJyB2T/U8PDKa+W8mXDz7PpXwrVGDRl7PxzUdZBtTvpml6903B2Rx55on5pa9bNwzOo6RjNLTPxHq2GsI429DP/VzEyyPJFKeUJ8KlB/3/HVsXUFL4zbN3Jtnyf+k/rKWF0gstOVBq/KI9ORXc1xfecOXSY6+mAG84XCTWemqmir0cwIbeLnZB3VOmr+01RRPk/sGIAH4XiKr/VL4y2VqDIzHgmV/q5UCbEc2elb1/3N8SvYRJXTD+Hc1u6vvLYOeEsM9N60Y01dv+wsdK97307hXdS+3/J5p83NqY2JANk54ie52eh2UUkiebsf8C0KynJY653Kz/oZkmoYVYYMEDhZrirr8E1sAG/wwQkHSnFAXFo+lY7sjFhGugvqMR7FNzVRIIGyqcm7nLZEk64xLZxuKKGO3D9uKrDJiqcuGM0SAxBBfiGjXWM4KSP69AoeMQ81pAaGLV2WkWJ9/ZR40jxBnB2xpLNVeEkBRIAwhnZ1vwhFB461kVORAWCEUV31ycAFlMN38Zz4PvpHTX4WkhkJduQPPQO1PUaLLVd40HyfiARI9+iJprOHpVM2g6CnwPxo+3lKjmgGSDAM5HWVKE+ScjtpmZbzJFBUY58s0C/Wv+S5Qt/QuQ9Rkl5KBxtXmxYnjXm1EBQnbgdcFf+DDL7vrjP0yUauEsyrVDKgNiK9X5r+WcIul9KJBh82lAcl/zBpypJF63UdPA7CVxGzFRv3Q+kpoBezV6s16JKIJ32uIzweEYfORRYxqbup6F6WiOAuVQLmCi3mqUnH5ErPyycxYqF++tv8vXm3/jU7g44pyFvY+0ymrRnu7kv0f65E7lRAK42Wqyf63Te1HgZSP9auVSVAobE1WIdqtKWADnkw/77qYOzgWTrOB7+4MlhtosHrAFrCjWA71kHnWyHzpC4lC+BhmKF/5gm4V9BGvw2n+EzJNWr4b8c0ZaqRwaIpNuNygEIDWWSIa2fYwP4WH4+IRVGvkib6ctyW40aF/j4PO0nr84g/UDx0YUipdcmsSbNHRVshMotNaMhi0pROEwbwrGFXDCyELucUU6Jgun37piHSdqEEkwkM8xWbWFV0WxsDLS4+LpVO9mvvv264Z8uAE4GbobGZCN0zzA9M73HiQdnolCmUnbA9b9mbnVwqVfKT6zSi/MGwrlQGckAwx+8VCZ88iGZgLDfOVVK22oigvJbrXfsqZI72394Yd+H8k2yNs4+LAv5Oq0B4ifBpeHcT73ZJtD5EE5MB6l1x3d8+RjiM2cnqd5lPm2HreMuxhYUTwID+NnxUesZLxrq/+3YNuzDpOf6bIvRYMDHXFofstmEdMscp85klcS0TAvYEBcjMhgri7bQ1cIylr+p3MR5ximZZ+OnKiWNzdKsAURsdKAOVh5Xx9s2a8DrISL6+3uBo122Sa/KxinYzeRkRBmlPmdHAGqS4aLWKx6fBYl3CVOfKav5RYHhbhNM65mwNTipf1j+N/rgu3D/pz8eRzRqX/ayYuqT3/5Vo1QWDgf2gmcyjDwnZkQi/f9/L0cm0Uns7Qj3CZ82xH7hx+B5k8DtOf7NLL8OMVa8kugUJgH9oyzxhJDYFn5q3vHM+9UzYueAvLsWFP9F+wI5r/SFqkvC0biFTXbACgtsZ7eFa3irz67sxE+//YuHU1i/xvG7Ise8LlnboN/OZQMjL8RmjkW+L0T/6eRmnnObbY1k621xCJOmjNhn1gmtdfVfPqcL30a5wbjO/B7kzk8H2cFOPuPCCBS3h9tw0HK1OT0sl2a5jjYi4TBGpNR931z0d87XSDWsbeyZ7CuO1r+vl0uA+otbLgCHj5QBD3QkdG3v14/CZJbC8AFuK6YIFNcHbtbkmGXmzFXx51fZV16aAazONAXLKKZg63IcENEaxkk8WZ1ICB/kGy/q7zWEEKJwreVBYP0v9Gs74iLvVxbZ91G7ySiOb1vjoOs1ub8g8oaNkLZe+vrkjXU9omlQJstkZyx4M5kC1Jb0L6z2soQlDDvNCRYG4aA1SLUUGHz0SvId/IT9rfnVDTUK3+0/XPaLi3WE+4GNCa588t9PLP/ROuoYqd6slrNxawvez7jTdMZHD7yW7moSuqOLtAdCVveGAPLWUwC3FHP8g8dyzuQdzo6MRJaOb5zNtdaSCN0V7GGBaxvsDzCvWK5tb6Ia7Puzdutq0OgUlUICfjNsC9OrhMK70zko12vdCEHxK41gfz6gQdDvxsjPK4tWjYSHKqLWkoi9RnkDL7JR4H1l2V4ve6VPZAzG+GuM1wAMcI3bxSHibrocSHRIO5qMq6yi/yih1JoGaRs7j6iF1D/kHji3K73Xqz5aoBp3xWgpZMvyiq5NnaAmN6H5XFOmAJPanThILV6ThzwXAank15qO4UJaeFmDTyus4wH2DzTMckvDoUUbHzUGogTvo9Lw1k0DuKT5DRVoFYhCz8IHlZ2wEUEOEYOt+d1Ejtcxoa4CM6KgBXQKGSt6TQF1bz+I12DR8y/5C1872z/xkNR4XuWVf2p9feZbDWAqLAKlLoY8GG31I0ENv7UmHKaNtVgP1KgP20voAf20/9z+1RPI8GMIrXw0rnzSazxeUVeHCQiz36rsAF48vacapyVywBah/g9ZreV6lAOHyu97p/0ofUKgPqyyNr3ILPsol+zQ+CWDVFM8U7zbhwPuKc7yfaR24zPPfZn0rB/r7f85FSQNRmOJ5G+tVnH/SqCC01s5N24msTYl4o56PbGUEv0B3BnMA6M2Pxi3UMUt8HAXfrbfLrJIDs9BbA/XStQiqzYYVG1nX27Ahkm/jp88PY81QMAeVSwlYMyl39+af9TzJISAVFC07K4sgdFdAXk7wuYJdb+Q1ouNSwV0aY5UkBNmFVMc8UbCa76jl4J/ANDqdThP0btD+4mwaGKteoga7Fmn28YCQ9Fl4kXsKPU/I/czx5dFZ+yvaBsO5Fi5/H78X8Os7t6Ww+4rbg60QNimGNfYyW5pQjQB9tgj8vcTHDZ228iVKMSKo949N8CyCFOmy7+6dKUgS+NC5WCXRZ/+eqCqvmCPtEGt2o1kvwjZi4zDiym0DFFxu1K8VSSfOdIoXo9/uC//qRY8n3ZXJIbuWFGgiEf9tpBc/0DdamzBXFfo9CH3infFPpNPzS7WWSn/HNQ23fSM075Oy8iF4WAkH3Btr70xBI3i7i/uFwDnTTQgIFyhlm8YgQr9jOmctp/83ZmvWhwwJWet9zIyT8zO6SLd2bcYIXD9OecQW99FzEpzSlvZWfEO2rkqB72XCnVaIlhtW5E0nXB3B68JeyIqrR8UwNY/LQUTm9fQfNQOZ0Rlb8HTsOD6er4S8KGit2nEhafhEX72ZRtlgx8vLQArGyTRRtIRCIm/dpX0tVTDxeQArPiKsJZGPuleiaHjJofAgCYUcJaTsg058Nydt4kVPrrHIuGdbrVr0a6PgRAY5gfVmUmzgfxly+rg03AX9N1kHkxjf7O0smx5XHNFfqdYAAmC+FWiyRcuqMW6kO+q+DsBVmooxWVFWSanwlaZsYZMM18qkvefpEN1qDDecd7xw+x4RJXdufk5TIjgsXJU/y8IrkKQxNy7eISMQIqV6MF2elL7uf/F9BpyQ8hlcobc9BDqpZ4MeG718Gy07aff9XwqWEf4xbSSS6J3y4OJoInPjk1lpbZpg+fHo6RaVkQeA2SQHtrYIC6cGNNngcSfaQIn61aFv4wYXygALjhQg5O7wpSUv9ySZsMJIzlUwhi1c1CrfrXRUBIwI0hh3DrVWeaTBqdWjhh9Pq+gcScMwsrpfTwNdyeH930+ilKXGxdLn1XNRC88UNckh2CllaBniFPX41MKE9U9TJYxWoOUzw+OKwV9UR6L8kfZZGL7opmPLw7C2SWJEpNnv2Vd49Yx7YAi4wWT0ajIPn9mSRhIM+FmS/0jqCRYHCN40BaQ0wFCZCw4WQdCLV7H4n79oU2dkKGDg9d01n2rRbXoto22ytMBpGOiylktA5ZUBmH8HFpMgt2snRMh/c0pS1D9l5PFKq0E8UlPnsb0n+QrUfnHhIYsWaiNPHruYVd18A1JxfWAxAh4OkrbqpdAQEWNdslBpgrX2yvZi4am5OLkFZdCc8ykD4QaDgNzI7XRnxv4Oxd1FHHvmLBDtwYQZggc7fXW0kXvy/g5KwPBXlCdN6k3WWfHWawHKcoG46PoTxiqv+e0uowNbHj/Szs9T1hYlR4FbP/KzStXC7Oe5/71JbGIw2eHM+ikXSAsioedgHEMj/vs1uKf7K+O25PICypPVUjBoVs4FlbaIyFpCdOg7d5TGwgWq2572ZIaSNWbDjYZI7NFJOpJyb0Pe4yj9WtMksFIUo2OjreLvPcZ20eY6Mt1msfZRc9Wr7vILZpNq850WQOzOeDj4Z5tOw3H2ZnFFpEjJYBsU+CI0SsXuUX3tg/gk0z8b4siK99wduH18ymPFzCBoI7C8N6g2n5ijah2wEweT1tAM0uNhnq7/56rLaRGOn0H/ZjDbXl+/dIpKaNKWBzD3C5JE7YWTYKNgULqyVTnUqCmsRT1UslVB7Tmhz/CqUIBEOCJRrZ/G4dt/+mE3zDD+Q/5jeZ6eid9i5/EUjawCnVLzysOetgVbeBxHOewTaV2yV4aarZktrNG1vGNntptFrmGn+GOF93spzq/1WL+B0MNhYJUTol7A1WBtSyZUqRGkR0WzzrztT50Wf99LjvLeyy8q+VCVYlMO/LCi1FYsiDmJMUIRfg3xqGnaf6x/uQr2J7Ja+ORmNRS98gYNxpKPstlPLbQGvtZiIgRjzkd8YSAGr7FwTPEnUlvxc5tpmIsEpXl2sbOFlK2oHoq04dtrk2uxeX22MACdh8/mGBHJZmfOsTXwc56rI4Nyzl9dCUXyJ0/k0bMoB5uz9y1yONaq/r1ISZ9SKt0qb96K1ynSrUmfLAcOrqCBIyhlwlXW88G/WDpuf4Q2xyEo6ZBG2hH6W5ageuanN7ztvJSCdR/rp+YdfcTmmZAOCjOnofGZO6Imf2AegQEesUg9I2G9NirkCgX0fe95uoIjXqCTA20ujdmVwa8CA2mnFeExQKF9pgtSLXFD+izBF8QrcqMs0SDs8BP2RJaGPC0qy0eoCU4dmXGB72qlMkUErx1oG9IyywdY4HktFXnfjK9zdzwFCvrSta4NNVBIY/eTZG1v5uhY0UBY2DPgPNUYKU003vg/T2JjH/uuNkCneR1DGJfOxbm/gP7KTSoLoUH8gLmrERtFjl9QBqKS/WECqwWIUivJR19Dp80gS8U1aw4r/jCVLAnHRO7guP/RQgZQ5ls+SqknwgYPyKA99VgcHK9I9sIofbZrYzXgJNygmgvBMocklGI8cxeu6jHI5rEZh62wKGmpjRoXrYxzIjmEX4UtFQI1ZgRKqPLycSiStLXwR8H2to6KvTsEypp/OdEjCZi1Y4fIje7/rrDVw0vOXSjXwoH3PywZdPL6aZRLoip5KiFQms27IcLh9fGYRdaw3DPf9rpA9LEZEiiOEeIyO9Bx5maqbfywY81zmDP2DNgJqfMbtjssmR9k82zUR0TMxfzA9WkImvvcC7QaS+iozIev11TZ5DC6TUv+1ZavucEDBN8C8qLvXyIrTc2XnFHVwnrVM/W/6ONf62i9JCFlxocMq7o4tiQhdQYYyvSPCThF/DvEJUhC/YQu5KSf8AlEJF+13PRA3YxZK/+3TWCMvbL0a4de2flJt19WKryo9W/WfjQgla0luwruOiIM6dX35lnbEqC8ewUm+OLgUvd6/KDa9q5WpZgU+HUr07/TRuq9YAKlj2XacB4ziOQLzd3ZOMLiX/J4CWvkmFASngbQnPBB3lsby/HWQJnULRTv3rgyyBJD/Asxh/byB6Gmi2U1K3OUzjBU4XXMtkSbjozFFYvJSitA6A18ylQvNLaonWEMqTNAmLcDta07gerYZNyzLNQFb502mpbB7CHwoenwtxKa8iLAiqcg4vwOQcdLX1hzE1v1lEDnMAjxdKqjKsnml1wZRGAr8IFf6Ay7ZOyKrd+67diphD0W2V2ZLWBbCnVK87FuXrfJmV0z2ZYBLbDJTXQJvmClxPszG2csmIkHPnAqjtgbhcGrVzJF6Joiqp5o55bMBragC8pb7xHg7NzheQfZOw8y841nU3+ICYs/E6OsyZd+KZ1KJVWvlXdpzf66XkaUc7GFFTUuP3SumX7+q3zzpPzlb3CvT4slD9YRFhat9l6bnDn4BsP+bRcdFYjaPZ69r7RgYPX3+XHAqC17jaRvoIuZnAMSzjN8LmH3MI0KboZJTixfsZcxb4GLx+b7Syxz3bwNFLTj/3bBgL6ihRR3QiaN7SiGE3hgtUoY27kmBY8TPb0SUjCPkOYw1VY1YQartNDv4MckNvqTpAWT8n/FoAo5JzGj2/z0lIu+NU+xlS5TI9uMckxu+oguW7b4aiqq/79v32BgEvRS4BlDI30LyI6U5rbKZL7BGeQ3zlCU5BweoXas2uwt3FybArs5CnBCtqJ2s1TwuJyM8OJPIorUyo8K/X7a1tGpwqx5H67P+laiP5EefzTm20o+FeUwji3XTp7tsK/KnFm6Kf/FYFQ4zw75GSc/DAXkUN0JHcZFlFLV6yo1dfozv69HYvn0EBEcHVvn7e+yLA6+oJ98TsBfmHJIYogvaPcdWKyBGEsmoO2gY/CCs1gcbUtV4YxbU5OfhUwemv48+QxrvxScFCzQGdl9guGDg+fN71X2aeqtXINN7XV1QPe3oAvfiEGXkawD9ysCjwU7dV2gyiXjtm8X3iB6ESLIOcRtxUs0HjKu1pLbFFzmFs/Q0aiDwp2yenxAXxGnOqovvkPUx3oKQPOedcWjs9r7l0eC5yosroRBDqIy8W0PgrRqw4zI99yGSdnE5IjIU0WDr34M5KCcy3bJtKHGKu7u3Skkig6d2jpPfHiWEypYofcc6XDNkjCfWp0cOV/iPwnqKc+LrGE3WMDAS0YkSAbyz6EQISlH/XuHKD8IUrVYL0kl5UnZimpVibhHPVUdi36QD7xZteKCjQJ9fQr+jM8ytuA7ZxcVv9aHTIhasDBwDnHe8/yBqtjEveVWdrezSpvmqj27M7xbO3on7T8PCCaTfzTy7YGxwgrTKDTlcwOm5+O2R7lk+EXb40tWXd4z5+d/zpVK5b2JnV9ArZFhWwA2UbqjcZlgC8T/Ke7ORtTSwp+38M+A3B7dndMMUBTcv5wWRonVppmCVBzn4AlYjO87Eb9cOEb8+7ptQC60rz9BSJwcXxhCleQqNZa3slCzVs4qTbX1k1AHz3xOa5cOiUSJXSjOqZU3AbZIUYUEAQz+479FycCExKmR6+e5rkmqHVmS4N/u3mVHI4UnCi2grrd3ePWdfshOIWKgAO61LWBsJvQ3xppPCNKun6YU4xMKCz12lGa2GmlWNnJIzpbChiXyL1NWqy2ynURCPEQLQXK+5eBOZLMPedjYiXi8vZS5qiRWQgPd/tk3S5sJ3St8H07yp6wyv/3oi2dY5PhcvA++aXtZnqqyhCcMtQ9IE0GTlvyxUvtr+A4TiO1uYH4nuNnaiX4tLFU/SQaSwWM18DaHJvhl/t+IiNZvQEPakTgAQ2QVuKKa2mkJPXzkzEuu9qit44YExWyrQHKTLecY6Dn+/eB5XCjrdLldzPuKca3eNWFO9vVs3YzBe0ivq0sX9/0QBOMjztXGykeCckPHaEv32F7aFcaF/nI1s7CIEEvI+/KD4FyP33hfcD2igVMxIAfnBw06IivDSeSAAmdp0TZ1n4rvySDpLVk8iGVkI2Ap5oXKcZed+ehCxKJDL/+7wYGapwt2vZSXCPCgjXWkmdW3f/5ENKq+F1oMJ3kZj2P0fRbXpiqCDqez62j3q3y56r1wcea3zMXKQiOgcDetwE3HjVSsJi3YsAMKx93BagRzpJR128Ge3QyLz1xGOc9pH8vBgyG6o7COwJpkHD2TBApGwo1pkAvoD92//uw8z04RGz5nT+QaWrXj29yt4jnJtrlNYc7kUq7SwvvvqigD1D0GRrNIxWVqMIFjz6cr0yJw1RpS8z5l5RIo4dc93aW/vmBp7E3ZpXeXYiFu/V2bB9kbGZrv7VY7LsMEqiAiKKpaL01B2ZBKuwQfRJHWag29kAbf1ERQo/xnGNy4/tmoiLnqAEQ1D922YxvkBsAabKauKXMeTu6HfC1Abeu4/EPk1dU//PJFjyipO5mWWIQ4cRuR+FEimwg/nNd+sTwpNcgTZmNiiGfZ6zdj9Ebm2VJTTIS5l9BopkyiFYVKSC6dIOqMopfEX/u9pnWa1CIXIS27j/nFR+3wPAn1pz6YFvBpQtzjXlzxgLB7YvldshGjjqYLVh8HcgBgq710qqSp7ae3+bh103YnqitRfSBaca2EcSNYFVaKv61CCSUylzsBm3TPZJJ7Q0pXAcdVyGixxpih4NbzX8Fu0T/TSbE1XPb/FqLfzP+vqGqVjqleDWLNuqTHZqkSxYeZIUXKKY4Y0qZ54AAZV4BCuAm1+vfHWWD2+//dubxCB2TAebV06f2alG7GqI0wmyAabwLa5K8L7jqQ94pKe4Sd60x83m7KUZRePZ4bh6syMZziKc/bOQ/QkIXfWvWNco37Erzkb6KG+0E4RMBDiXKBOS+AAQZOP2zdLryRM53G9xfCxv3YhVIi0QzPMsK+lk2vQDk3o6LzXZ5Hivbb1OlfVj3YhwFk6zfO8bDRU+6tEGTLtFOjhJwtUXV/KejK7XqIVQp8w01GSQ1+KvClFqoxBfpWv23UV1mmZqc+91vGcX8K970RHY5PIAtNxboEz44mxC7B8JNF2WvGl5pS9QF2dD+CsINSCGbSyQoU7EBEPFVlARwcKxmowQWh7QzYPASHleqfZHe5ik/MUNjE8Lv+6xg+TIesdfkR++bwkYmLKXItEUFv9XWqMlGxnAlw5FYBtLsCyfjOQzaIoNbtt90WY18HhkWBZMwt8fBv8ZvjzV6T4ZACU5o6ur0nfy3r55IgO960hoOctIDO38ouy6gikdIHG428AaAKaWLizZO7qENCsUKSH1nqJvkBrZAvU246sW4uywBiMsj5KZU4W4/BO7WNfNSjhJbH79Cf/MKQqT0AcWkYtSAw2WuBVuxTAsqJsZhYSf/6VaNSGlotMnWfLOi3ycP5kOsaYTRCikhlA5d9ymz6/XahwYloqqp4Lsi0fncmawjfZ6UCzqsWG6c/0pojdAd+g6TDMs3FL/I+7z3/WiVaJyKXFW2OkgqG4x2VhlSe87cT+wLyTj7FCXOG59PQmzPa/37CBF3E+8eD3Gu43BdGsZH/8M/jykUuqaICgPdz8EOwbgIyqfWUPAIMkYLHWeoaJKfYLNEtpbvz5Yq14PoB8eQrOFT4SB+BymgzvlGulK9YQjKHvFpTL0RpFOYlUat0Xi+JQPGYEdX/2omrJ+x/YIXvsiCFbS9GcUEX3hUm50rUPAAo+0lWPfpVYse4b4vX4p6svj4ncPi+3eIL2a2dcb0ho/YbO/En8dOjLywaOA9zz5a/coelVK+GRoZ4o6MKeAXd124DJPBl8iROKTePwPZ2NGFbGt43V1EqDR8fg5czK35way1p9CLv6UDYrA7vnpu1zYWx8z6+63KGjMzIthhwuY9inratetCppXohZPUEufVWgCCOCB706UD5NPb3+CDvy1ALXF0Xqyd0gy75pZhX3GE4TEH1W2xw71i0IhHbbA0s7+gQlZ5s+YZS2j0Rw/1ZyIcgklaAQTiZD4BeMpLbWNSwUCGoxrTj3HPLJL8LhCGVsJIlMBk2mpVrprEzsW4jzWdvVDjbpUDYljMn5azZCoEkP3cTVN/WHhIU7/xZzIiN8i6+70K32jnCfcJ/aBCD+tFPNtBGu5Yl4U8Kp+m+3EDvWCkhU6SixW05YBi0I0v1KA70QZRBhckYcSyqNCIZ7+NKtdrHPsaKZUXmv9ixCrHqk7X2wmom7TWCHc3CPjnnD7rxw1eftY1xmP5G5ywc/upeKKeqDjup7NRqv+p47+OrA0IR5UCSlJ8y3LYCpVlA6V/dAYkcfWvAmsCwdeJOvcLwbpUynDcR0AhbvhydERSzt7Q32cWi8KJ8ssYJ2Q/MgZzvs6q88SvpIE83hxvXr+wlY9jZzXQXYxlKowbDHJu8Lf4jt8mA7zE/6V6Sptm7KnWKlLghwfpU1wtrKDqU80Dneh2p8cdeOQVTk5lpY9Bl++x/ZDDd3HWBO2gBbYi6v6UJmxQHPahRv0oOQUXOSdnqDVWccQmLzA1IGmW3CY5+EnlE52M+YmgFu1k8wCjZO5JznapIeqReVgt3g2k6OS8DL0lnKKy+8vgx6+6D+k9LR70M2YdzJUKf2EI2QXZ+PCOZDvpHpzf3czSmm4b9fJ7PnjssCa4obvdzW+ZnSL1K41I3MADbzKZ4T5UDJMFd6o3/fmIvDbe7fJtuUR4p+ZKcX0E4bZF/wmeKKlLdIn8tmozeD8L7qvvoty4bj9SOcHfdzkP2nGx/7x96UEOZ+TmuNHlcgJ4AJXjWs4EghINhTyYYp8XDPWdeZYAYnC70JajN0+9i54zg+qybSLNMiWXI5abVbWEG/tLSRr1yaim5+Za0QzJn8CuDqC8LZKTn9AAHL4kTxPQQGT813JP4mMNECowMPs9xkm1JYGWkXIYocEN6GSk0D+0K8A6vTRzBR9fBwOfXQFR491p2MNfDZNzH00HpDr1uclzy+iBghz2EPwjet5FRyB81XeZ0/bocElb7+++ghN40epPCxmxIZ8Oaw3GRQU4UN/UJkCcczoMB7emCe/YVJauoz2t7ZdkaPUKRRyc4aXIJSHlXnMNvrL9mFMryGVjlhE/EZGKG59xR9U5G1VQW/LZXK2zQHF4JLNufBBy3yTuIHJTcG/sBDgSIBVp9PAwAGNEWecp0Y+CLwmWbiDqAlfuL/5588tI5EXcfnNaliOsCTHcKLWX1MPQZUdPzmme+jQOGbwz1qViX4KCggP27wH20/pMTQf0oqJ5QulRquL0hPnqIJAj4vUhoXpAfZHOraxsNDiO3j9UIdlZAbJ6CRwhn0pzMREf6E2VB8lNzvlnMoRepDA6NIsztJjVFAsQ8avU79M+G4iKzpq5agKjljBaMi1fIlm+OsXsGwAnTX0fe9fxiXupdeoDq4Jpd0+ZWIYV7G80Fv/KC+r4bVO7fazAhh3+DZUQbHylsUMab4s0Rbm2D4ec+ZI42elFWggx0E7rwQhOVcdQ5VAm/da5l4S2pwGuBBCu7yJzjmhF4rUiCMfvWENZyJrckvlZmQu5HMl63nANcup7LTFjx47uc6eyzJ3Ev280dYXtDljBF964y1r/Hy2OFA+Cg1DzRDUS7IY6swSW/WN+YC0jOgd25MYdUS59yOtfsqmFJL5QiFoetqKSKAWpjoKXb7BKYc7Z09Sxt73+QewFcYg1kgiKnVVm6Dt0qcqh/4Rhp0my52DUASuC9grNG3ZavE4hZqbItmm4GlXi6du8YkIqLzMoZdiUei4RNiSlF/fZUoETl2ymaQxXn33n75bfVkY7VmK/BzciaRv4focUv1LQWOvqcTnksxtdpVadfHKS74L0Hvu3B/zHRwaRdpKQphsoRb7xxkYzSpkC8q6E1obDPNrKbm0Patc3FGukRGq9LFp0kVBqentanAX/9Nm91WNv+YljksTFSh2i4aE+CmxB4fEsKHrs6HelOZu18nemiYr/jJFhzU1PQ5eeOkk5sSUlgX5iQZ2FaVFn7IwRsTYB3pP2SKtTrgoeuWvuhzx5LPO1RlSpq1qmrMo1JG7axHT5XYjiHwb9/YCzcZlikYnliaogS7RiKpgquRUTkghJZm0AFQ/tjKV7EeQP/8GL10mYCjlyQ0npyswlYftTWEo11s9/s+MFyJIeSFE9rSdAPe5gUi3fpSz5DNAb7fA+aKnJr+zv6hEyvldQGRr9IOpAioiMvLnsTNBggipGjML1bGIKXM+uoI++0HT+Xb2Q8AAMYdjRsmM8KOeHOJaXqIVp5RMVKHvAkPYIVQeRyExcWCJ3+mLk7P1us+VfU0bSUf7e4qjmI6IhlOZEN06UwNOr5e13W/AE0Zy+0tj998r60aVhlNKqFa4yzA4HKs52KWjYutzltgVDK+/NirOnSLLlcOWQrqRYWYHrurN1knTYwkyPgZ8nzXXlsa21nJgATBj0eyHny4Hdhr299pPwJQX9B8Rjz+2eg+qdhdtSw/PiKRYLEsVp9MwD/ThxRL/bzE2M8MybWXN2Shj++m7ShtXZRlQXFbJ3wkvmf8jO1bkFWwwBqvatSQ7ywVHv32PbHvqZULLHqV23pmwQfEPf01k8mzdzinT7ayEwHnFlOSWS+Ojlqbqf9MYzGY0H3QiyLjeVWpvAfhtwT5RO31lbOTT/pE+9VdoavrlVgx1CnjdK2xI3PuoKemRzLUvQL67cDV3riQte4nT//g6N+FMMk0QfbQHLq0rEMnmx6vLDILCEGbomwFDemHs1lbC5jcBkYdOxq3I6tmXXMqGp2KRRfY1gVCXagLeC3ANmgnS3TmnuGoh9aEonSZEynxmVGtYuwfRd1u3TgLQ8f+G/e4FHqdO8/UqIcrnecQBhFI4ZSnuGKTVbVUreYBmeFiwUWogne3mnrwk6XjP5u4akCdH741KuJ4gaqKNmKnoIrSE76qpq3t4VRoAqXByvdD28DaSzG7De43C3kCT9pI9Za3+w8dVIxHzwFWqnsJ3o+L6ZVTwYwd/roaSeVoFr6+NYtgxseS9BXfOQbPwnuwoMz0iDCft2pGPzjJAWdFYqKmrjZLFH1X278+NAn1tEFtl55Rbq6TCvVwa6HUuJGky6JhADSPbYprvG+nRrqXSyAuFbko+eXpGFp5gjFjwZbgjQKRFMy3GRshgGwMHuxQ51Z2aFLoFEtkv19VvBIFgyWWZhksf/YURpsdDZGkwqsIAKiLS8dvIy0fsY549wC3oAAfadHzpnVzlLQ1guGTlziI3h37zGjru1smK6sKPlH9W+02oSPkp8F1JdX2c1tIVroDFNUHM6DNGQ55gKvNw+DFhKMmCVl9Mm1bRoQNt5wXfh32suvdYHkN0SKbi0/ALXkeEz9wKrLqL3tXQY0Lv5doLj0a+JsYbRGL0jSH1YPwwRsp5dyU/XYFDDeogLF9VKZj2KjG3SgL9cQiuftfb/4sQkWdf9bELkccczE49jxgF6a+5plT8SjtuhuhWw3QIrIHoFJlDIeb400BFprAv49lra79PN00sT15nDbGrs38k+AT3fAJj2lF+uFdZjzwnCqmLEeDNIfa0vNm4AeDc8GU9pyiDmspg/H7v6UNTDkQ95DUvTcJPbMKN0PMYJ9khEufQ0DFX+xeCU0NNtcpmzlNOV56gg5sab/XeY2ZVYu257+qjkgdrp3ZiSgXENmST3K/X1PI+G2s3b0NL6qihKwJS846iLIJngePtsRMANPbK7uVAiLUXW09gtzV9C2+HoEDBhDLkaxLgHJhy9EPrl7K+k7TY3k5mOPJ7jmk89BMQqZF6c5x7ABO5n0gaX3HIGT09QomJoyteiM8mK9EmST5YpS6ZlvdRBA2QnldaA0pg1jyRRegqBuR1zMnPCPB3YKmBsKTkQXEvioBj0KLzqoIWwZB6M1IcojVAEjx/h3tmdmB1TRVX3pda7lwfHkhUr6orsgv1E4Drshyix7ck3xhrlmV/S0Z0X2WeAwliFRzhi5C0xypprPZOSILFq8j/W89kgVR3OpcXP64S+P18WogQL4wTgGjXrj97uAJx8X7a5+iNV54Uq1Oks1mXG232axqlp53v/pladEA5nOZWTKQLsjAJ52uxdhLzjcDSUeuLwiQi1sSUuM8ggUKbZ6YUs0ZHAB6RdctXc3YpSrzvO32CN4WuezDOGqZ6KJ3w78nj9vh+opdtUpCfMD7IFjrqn2L+HHZIaR5Hlls60dF5ZDj8wEETYBy8T6hz8DM7HDjYfQoo0h1GNBXLHt9IeI+xFYSFiggfh0sfOfQfjxD+A0rx7QzGnhT0tn6CWB4p49l4CRFlla9RVJ0t0N+M67UXV7zXIPxNg2RWa6zII/JLDbiZU4VRgbPqVey9ltaxYZLVmjAtNbHgEJhO8KuYQUBgHoYY5tmE9K9fnluy9/FrXZfMSGlwAd0bkCLNuuulJqTQGhgMCXJZuI0cGRctHOGOWVf/JeHE6hhNlV2te5FUeJJYzME8L8LiBGvvM4iqjeXQBBq2dNeo5SESSAlsEzE7Ox8bqfp89ieAIzFfRrzmLnVGqdeOSCBnmUaJFngkRXV9eBB3oxyS7OkWcdZoZnd3AO539khR6WktIpSx+CoU1vV0B8VtSXHZ+L//Y+0ab8sF0bUlvYIQQRNdUmv1z3DlOnvEgwDsSR5y03d1CLLkZtJsnoTg3mvg8YAmHbL8Hhy17MS9SYiNtPOr4PJWlp7fxttfhC54Qbc4QEDd8I/3xfcH1KYCD4EFYmmVkbzld94vHPUsAiIG61qPdq0YFdqITZJTuzwkhMYNYiLHgFTsd7VXZLEBvRMp1NJrq3jzpg2xnq3G6mttjojU2hcJFRhOc+TD8wkuGR7XuUFT6RkHy7N4D0UACFnlE+/JGB9bsijxYorh1+CEO+Q42lMkGtMyaFXa8vQ5kF/UT2j+dIRqAIB0Nzz62dCix4bThyl8Fn/H18YtMzDaUUpqCrfOV1BDBdYzhKenBSMesRaq7ZlL+1ikJTSYLy4QdSJN2AxAQ64PtHJkHWAvWYctyLxUJgBZniGL+YPnThg7dNeLb164yQ/KisQoH97H+Gvg32uTHnOao/CtyEOClleF51FqD3Al4Lirv7QONKQ53X/OeoQ+KKmKkoyYQ225D7DDpxEmr3Xt7aUSArICHW3VrAITTdrC1+/jgufaxjMa1WUWn3VCC/BCtqQx1NzvA9NApyxnQgR9BndkcA18SDXwAt9bNIGHJvlFC5jly84TPNleQrgzf/4WuDyjeysATdZd5mLZneSJM7+5l4J+h+Lw3uZRE3JRMS3k1P0nJv1js2gGknjC5lfdQFZpQPq4KZUnlds9TG8/A0JJ+8Z9oP++bNlUG+B/WMjFkd7srkMadJfRHsXElatVJmHxwZTIqayvuaCSCQ65yvy1Le0N6XsnufgoZ2/L+wkQgEgNgAYfk0/kf1Q8wBff3FkpobfQi7f8ULCz4kRtzY9kNeMldzlm0gZP4iKAtsrobPjip+ezCLqiIZ7i8FhNpmIzEfWWplEAGgrliwxnnXmvQF4jQ2lO75mzL9Wc+8q4jNCtVtWEy7sqV0DhH4E1Y6CIH598s8EWBkiuSPUCvkNeMSs3+3Tu+RFbNlE0yNCJX8GC3GleaFxmUyq6TShQBrDyFvLm8cI7fioU5NXJ94oFv091qWV4bzYWqlKeL0dQEmAvBlP8GJo0aDkdQCpctLd9nWbItCznxMoz4epGmB+guVBK/J5miOkRaAb4FNndAaioR8CLj1KvpcgDuQEuzajOx38FtJILTbeauCnLmdiqWky+mco8S3mzS1mwk1lpFSfkBgI2psLWUUOTOBhTM6FiH4kayuQAMb+RdxnC1DkCOluXCOd1zb1aoostgcSEOfFXfKZWSsh7jd7MVfNPLxxcvD+D3fN+I9KG0TcVi1+lm4dvxbuNvcv2JiDwDLZhEaoRSdYM6xw4kGjYHHjJJUh1GcmHPzuG7rgiDr/LhlxyznNkLv+azotEDg9KqFdF56+ei2vFwHsxD0sfFmDn53ovMxtpEVI1r/UzvOE6YifrDhI2CVyaDHhja5n91s/ZuE+MiSr6OlrwP2IGBWI3ZFX0YXm9/ws864GtNlPivByJL9wJWx5mj1J+Yj30EE93hc12Er6sk71Ur+SP5Qplpu+Davvm7l+XXXghHhewKXdoLQ0qpj9oh9XJjQidTnP4JGMb7t1z5lz+fdx4pBZNvKThYvU9e1ZMDAtGbILTWNnSOSHo7WCnwRBOQCzeJXvCBz57C11q4NAqe9XkoB70gamC6rUbJBWyirL+NlJnApNBE+uqR3Z8Bpw2G3HLMiE/rjf0mUyc2MXr/d6mCttKHhPC3BpJvgyOrQdtEVKScL5sKmxb3noM+5CYdTQaRfNaOotuhrPBIeSpgML8HBVTDUUhnf7Wrv8vmI/VtL7M2IxpE7/Igt5Tfc4Rr3BmmH8U+UhFfBkC8DZnup3JFz1FvcaoIJjDEQyTlek3YK7HYmrXPsiLYqW0FuOegIwX6pDnbbIJ0V0bCVL/Wf+d4RZDyKlfn8jF+JdloQoxX2OI2+aNxLjr/DfUA8Cjl2n76dSxQowNE4CV4e4d7F8hJaYHi0WtGFvStHA1bQbhBkfUa1qc3FCCs3EztCKh16jo729WfiW61srvravaOdAkLeSy0D+vjH5uGEJl7VDJ1WXZJDpSSRbpyKfjVx91aJqRhWCh9R2iNZ1Ic6NGYjlp+WjV469SB/boK2SIys+N3Xv9/PIjVdTA/ZuATugBV/66hRJ9T/CUMl5vcnIEFDz4T6qFn1xr5XChMQ1WB9nGtR1EiyTTEG8hec/q6AATM0nAl1b0PKuP7URV7pDUuFFRtz6Fs9iD0igK98zkz2gWKtTNb8apxajErRnvbxBFeFrwbRSHvrZvP43zToy3v7d99A/GXGUYcYmZMuZuOJV7QdrzFez8wOWoXBDBBE3bTfNGmToN1HLt805efxU4uU+2AlwscKCiU6kpKA+87x+oGUXKNfkXKHwxCJWNo4Zohu9LoPxp+IZS1ReTXQcN1ju20+Ou4VS/hdesScnxWDKkBYvZsRH3rT7/7xEgWEzx8JoPgFAxrf/hCwnMX23bJfTwvExg6JzF5dS0eERhCVUmhg398gLNMo2LfXhpc9KSonFkj9h8vovbLKLQzVEfktXzD/4rCJBmCq9fR881dvIsObz5gwkaO9GvYfWKvHhUG+MhrpQsv+qTIJwNgH9nrNiLjvSb/Wrljq77cmOXIYFJrPZahhCL1FOdK23ofKQPKButr5p7bdfNDyhgKYeSK+ZWp3gK67eFYupSgmodPRPZ9a3KBx95ksx3xdBY2BwWYpljL64mRZ8f2JyQ2EL47r9JQPDC1QYwpd8DXmzopXerXYCNNgb9LWP5TxGGamngMoN3uHhHAtKqyDi0vqYS1kZRo4ko1ItozJ4h4ZdgNuov108Q2CT8n73Ga6jNsoTCToD0isslrJurOSv892RFa4m2Ytseh2bDgtPE8ZSiisPmLmO8E26b4h9GMsrfTidHTXFKS+08240Xg0wpzGFwtsb8BUpEyprBlLAorOZTd+kYyAYjJijQfVhJXoJKfgA51xe2sJL2X5QrZSYFRnwsm6t+sLANHL/njGQF9VK6OBjjccUq+BKhmVU8/JMWrruXuXiFzW37U0r52EnceJKfaJXr8Kd2xXNp09BLfZsuhQSN47ACJQ+Ve9byLH8FWf91p90gm9G/Ee3Z9woNpLXXgH9lsxqEpO+zlHJ5G7tfv/Hrpygm0un07NF0hYkA+Bm6cGUrr9jgeOapUbEYX9uWapoGzEOEvd8mBFXydLvyd4iL5JIz+o58ooNVlIijvRCo1w/Ps0Sv7u/8qS59kjLVGmryb52N6kPAsdaSdvqhC/sr6IJoGLltFmeTPJ1TLO3uUBy+r0F0YHXN0Nis6rsgdfUtAcPjw/ze542Gc9m9JJKWl45Xf9/76YA+i8G7xtGDpdvYQckkUxnLAsaxzZpy5gy5Iz18bj+tPlRCzDzcbuozid9Np50jnWEerpjC7X/3GooH5SISlAuZz3srXn+P0B9ssGH3npq/Z8mRJzcKlniltmKyqTHjgSMbv02F52fzneIp4kwpqEPsIKY1W9Q3g74UIMlClhuAwZVBhNDisIusMFs8BwM3JeJRWre6HU0/W3UMuyIQpXxt4SoREVy8QLt9zW7+L6VzeHq2rmSmvKm8krBYVhwUqyV94CSdrp5VgVplnIOooTeyeA10eLqDuroDYjkIE/CwZCro4sLP//6xsmMCT9Bif+h/27YQpIgC0H0ikJqW1a4NktHExcNwat4VfOjGwCmYoaiUsn1TgadT5jWexGWSQ6vfJKRJ5mqApqC5iweYg72ueUOaFbLr05wEwUdF5CICMZoHs5V2Uz0FVmrwEVnPLIE5UqsOqOz0izboswHW/5Y3YOw+8xNxHz6aQI8oXYO87wisKymQkZ3dNHmF97/sdz6FpD51HA3VHFijrWkIozPidIENWXYsRdkyx51ST8+njfyqTv0ELy1Zpsw3gPx0MtuBIn9JBOiV3s+bI+RYBVXpzpxWyMH/N3Cr84ViYI3O1oHzUxasbv1UggFpm/tFMirM/8UWVhVWvBayrnAKre8uJQTUbk4PV+bSAkrWQWgAX496AlAIksPbx1DhsnSB+gU/7sRe7uEgaLM2Lc1lj5VKalOLOyGfo3NQFE7tWc+l0jRB0cfBJwapImXm4CzOVlY3bA3UQOsMH5OtVdV4jV/ajTbp5Bu7Q35vMUBbQr+XIN4eBokmbTDgT8tIbKZ+6Ti+xeuaJx44kO6CHGzkpvn4tTwFhI9UBdVIZT9uPnkSIjX59a6LNVQ+RIOwlXfMgV5/+cwN/FVkbTiHpQWhPocRFe+L7ii9GeiEF7AWwWrPX9p5CKFOWE/zcj2lubuZjtZra6zBIWj1PQvmvw1XkeztLxuu4IG5RfLY/tkzusS0l22DgDbqNjC2mA7dvciufY386vrleAzk7J/APylI7gqzrwZ8HSkQbb23bxpFLnttX4k04tUO0sXXF2KDpQj6gy5T5F67Atv4jqXcrNZ/1Aasqxt4+mUGrPsR7VVu6QNrHMqyLqhDiI3vdK7e28Pcgsi1KldL2i9LdlZZsmcJlt1YXCI4JuDJ1y+swCW1Bw3YfSxqYSszYeuVn8kp9ifyvSe1IysdICOpdmrVp99gSQBjnninDbuUefXJJhKYVnYjswekfO14DiVOz98R2l5IFY1czW8iUfVJeyqLNrM9Dw7VdYxbk4U815N7dgBz7KmGBI609jdgOkNlPGm+n17RV4hky4yZ5IvbCz98UKkE=">
            <a:extLst>
              <a:ext uri="{FF2B5EF4-FFF2-40B4-BE49-F238E27FC236}">
                <a16:creationId xmlns:a16="http://schemas.microsoft.com/office/drawing/2014/main" id="{B81B2631-A953-4420-9AAE-CA250BFCFC43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508036" y="742671"/>
            <a:ext cx="8666803" cy="312856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9" name="Retângulo 1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ZLBIFgxdsLbn1/lUYeJ//1SWVX6cZUgLqB8IsK6jFbbgXqPhJR8MRyZWw2IQ7Etkf041VMu5bHjntvcMUpHgbNIqw2AljPuEyc/TpzvO4q/Hy+kuWx8LViy7clylSVI0XW5OacbDKrZge2FLzCsXMv6k0qOHXG2XANwvLQiS451bZo+rv/rVscrE/M/My+rcFyp5KqP7W/d3Sp7jKcMcEvB8gCAsJVafmpueAQSEGiY/0lNcFbjYDOJAgQ0/sRDzQvwy7r0vFqX6EZzYdoqJosi5serzPI4XNrl6+jFqqy+f7Rnl3hpyL0yA0sf51YoE2kgvmcQK1YBJ/sG1wiPlxUjm0FWEOEMmkdgt35IClmWJTgH5kMPVAKqxrUao3CfbSGWNddA/tn0p9sQPA4yYmOoXITxwrffKXofpvlDySqB21LfkAJEEvPk5XyY33S6sWixf2Uecvd2x5UlELfTBsYLjqqDasrfY6yzeUsBVPhqqkQC6pRLG55bMxifixHKskMhz6FOpI+jtRWMzgUZn7WdF8rfarGr0mvLeDevLfEXwJ9jfoWy1jVA03B6PWZO6hnP5ZymcWHLzmlIDOXII5YlDZNMqBZ4v2QqEL3Qi85XBapsD5c74h5q0DTc2f4P5evoXu9ykN2z4laTEmCTInWtjhyTpCyIt9FDcxRJftPHKhA0ZcJPEInjriScFTNqeNtM8j27tTltLm1abGmJblj6koTnScIxgPfjLa4sVyxj8kx3jEgt6JboGo6OmKnt3NtyO+4XabmbC2+bih5tIwG8fy+W6+LQEyMaMRJwHAf8B8SyA8E0KGLz2rN5dScAGOqsHwprz1iELJrNQawCw0Vaq0GagTwzrp/gtfddlftjHChCMtcSZUrvPw7ZKeZG5VSn4opnoj7Yr6qVsegjY+s7Vu+hjp/DX1lEoirsrjx85bUiZA5eQktowVpb1DaLwe1yfByJlWxjdt6dXkjlzgL+D0ra72dwPn41LupA7Yo+v2+CNSRgqZSjw89hXo6T2wedQWM4l0T3KwVpZ0HTX/DIT6ET3bqZeskLU2YiMdzqEA6JOO2Iph3uQR4MmD1xC4pry/aVwvK9cRS9qfhNsetIcwf++mBSZ2eafwsvVmY8GIQz9KqkYMIa5zDZZAWvyo5dkb4eUxD+4pE/kmWcBb8of5wuEuOwcOqDh7KFovmycsvocer65dWbKfMMb3mKcfaI3uxXPXVI2+BNbQ1/3aDk2lJLiEkWJTwGvFXxYUBHEYAQMkuSQnpMnMyvuNoBE9uE+gvfYmFSuHjpshTPs0KAm93wODMp1hbPzeSo7k7dXsofEMsP2GYodVOCG9kRI8Ghl1MOeSIk81nULryJgs2bJXg1Ag0oAGt6sY8iblSSZubi0KGLWqYEbvlZYY5/nfcnqGElAV18YnLtVIBpv1DIGIOgRT9PltpdDZmjud28Xb8q5xMhZhmnJwuVKeA2/Ox/dRTtDjl8xPpWH8cy9PglVzVbU2DEhchdHvw5JicYjb+3dF/MFJ5PVzUZQ+lB4Wy0cm9Hu/11XDZyRyFCau5tTbZZvZnFcfSLdupGgY7eXcIZNqeH237bHPlsCbtYKtoCa2azLsCUckPtvJvzdoC92I4k2TN1CAkL6t89m14hn41bCZAnGdSXBApnV/q20wcWpmBqUUwhrFyYG8yahrrJaAq+hFVGgnAv5G5bLhPwNHfdUOJsAojfB3CeN2F6FLmDIdrLdLOPWIfh8S90BaMJhJPLXPmN0WYokVDqAcphPaEuwFCyEuv69U6ALNZCe/yIAqU58ihutrUBVKqKbrrU246D6Ldr7YxJxk07DKs6E9nW+kWoshUkXa3AZp1iyAWVo+c1Ux1qwpdpZHsCZtDEkKMpZY/C0n9V4HBj7aeJTpATnPmYKBkyZ3+c7SJh2uwX05ml0LP7tbB8xBuncNE78hseCnSoQeU8NQjjtvCVUtC3f3HJynz/kokKxLpI6T4QwJ1ZdZiwIOJKBZ8pQFFTZwriTp+fqAv/Td8EjB/4W0eEULTcioD5bPFbUPEynS5G5X4acHUV8t9+Mvx+rHElB0TObLKX4E7N8JEpHYw60asbmst1Dsas3BGEwZwGafolgu4UqmO402aouO2vvQaxWTdrEJ1IjwAEPwhMIWCBDehsAD1o4O9Vw4AnwgVweg2kGi9OLj5kk3rwHNY8UKFp93DY0VTYmNd/00CAtRog1hN0XvlFl9CHLrZGXks+KakRE2UqL78buekF0YqqbXAPizEHrVO9sPRRSiMskpqpgZFNkIKj5HY6u/WfEosszmTZNAV3vutA36LbZhlUwPamqHWbWdt4H1p4l09SIeO5R+nR0ZhZCLCnLP5WZQJQNJE/qlhfTp7sgoWskq+6t8Dwa7R/sjMXmiJhYzYRr0UEKawQnkyejAGHWw9lLayV6pLLrMU3MH+tAc5+YY+icuugWkMKyWEQZXuepDVN96JZrv96vd0Ni1bevIo/0GOcsiwA0LN13169E8uZfnKlV4MiXwXYHP9i8AlTJ1D46VrMbftAjB6B3Mf6OxmCqzywXIUK34bbr7L2OYmraBG8IGDUEouZQNkmESmnRKCB4aU2z1SKBB2bABEXVeO5n+tEJmbupXNVpy7nydYLL2O7rWf07Nfy1DvnuPQtTT9mIv7rnJV7b8GT0yvuBbTTQDbyMioVO1ksObfcCbytg9fYi4O4CL+E7vOAY0eoogwq3QiEq+N6oqnLU5iixFvqu7Sk7RHcAKCxBCWPfz6n2N+Xjlv1O9mzo1x2/jg3sHUnxNePLQwcbX3ykd1/jBU4CcCJ7PEPyWh/fbOjBm/VUKVoVdBgXarXfIRLoPbc9heyutyxyHcjNSmFPtaYGEHqylQ+QvCk/69zC+xOBnDI0ZWzq3sv5ksQU0M0kFsdqOHsyDjzyVytqL+XNrr7cDDpGEECEDApJ4jpQQt2n+HDNFE0t7b68Vob9gWF003y5C52XMOFZYDTIMxidVMySOy6zOrHWuR4DZ1ERDUD0X4UyZHqYL2U+8MaFT4nt974tpC6ceVwBQbob2D0fbTj8WvphpFVlL8lkpX443k+PN8MNgscChJgTp3h+qAijwGJdpQd96L1vgZBGKfOCUEnzzfU8qLx5vRGwAnzHNEJQqGwP7VahMd/Z4SnEyOBoIaVxGe8JVP+P8ODxgTT+KQnzZpLJFpUH8qchNxhM8hMcwUSEio+Fk0lW1xnMWcTrOZVDnk9qshtM4+ke8tdA0CUvWUoQxnb3K2CymjjNxjDX2zobaUbtJ9seEPsUdYOisgWe+cdQ6Tqgq0G1Uchzt101L5bRyHOim8uaXH25ASEEmct1UQ+XnnzetuEpXpeBkeNGcU20uUj0dPZmS2hZK+ufyvfZLisPux5lUFJ1reaHVzNCH/KwFyDK5qpD7hm0EZMiE3ukL7sz1a4G2f6QTfvSakWR17JqMf++JWtm+0P/BTM4mmfDWBowkTwClmuUkqe8WvyTn5+b9rQ245qRrUZImSD37jqqifDMDon69yLFDJr6/mm4a3/uHMWAVjwXD++GXxXMsnAzIxxGGEbkb4RrMd1S/35y7hWX+ZJOV4s+lJBgD1T53NOe638WMUT7s0N7Bh/N7go6zslMPzJc3D4NxPf16vnbT5O4sqODYjW/hRJRluV8+SA4XG37jWzTaSv3secaU+Jou8e8RZnz1+s8muv1kx3cDoYWqU3g/ermDgbRIiJrYpq0sN921TYJRSCCkIFuFB6gQqsDpgI+tg5SFvN1ibxFBilBQ1715sC5aY+aW2UWgVZsQ29XLOVbfth0k94TU2JHZMn6iY3wrC5mwKHH6FcQT10Q1we1njDGexf/isl9mKzOoJog1XrR6vbiUido0DhnBOg/ISazB5DnHOoc/7y+F9RTGtva6K2n/WzXZ+xGyLlYWYDq4luCspVpM0C4x74ALP/j69JEwh/rl+f0dSTK6FKzlfZKUSWVlRS8+5QB/I8IQbQMlEm8h9DtHmzoivCRK5DeLg1pFuwbVeem66sRUzjoZNyqbDR+w4yglD/lHKQn08KLCdH0Va5/3uXUT4QICXbGD9YQyTHLY7AMpSml80alInbqdjMkDwXwFFIM6zgpMqJ8H8vauA/UwGNxqF2dXF4mJHDHs6gL1L4WS67esfi76eNaj8dmOdYbB+W8Jg3ukQI2z1n5L5gsMSjC7wImeZ5Dk5HL5u2uo9IBKhpYC/N6Ne7MIofhAhyPPkv48Simud9xTqPaQxQHeOAHMbVBVtr9VRjyCUDfUEmTSeLjrmcBDnNB2lFMgERJ6M/x1Mo61VnR2BoUCR6jRjE4sVZnw+9TZ7Ggl7kkttU6vhjLfC8IGJV3or6JmHPkkP5W54+VdHVzwsmOYva0ypM03ajjjNi4lC1gJVD5XgarWC/sDr6rQygdVQt2gofYAonbES+hQM8nIERLsJqJAzw9tB2n6YnrUywD1YBpl4ETExLceUnS7tEarEyyiPAQi7KjlQLTshN7MLRlWpKkuuUyx1LKFap0A1EoVx8JP1yzeZoxrX1h6a65JjnpXHQiSM8VDGw+b1kKw6lTzqSa7MgnUbA00DBKXAP4mFQWO9/cBD0SvrDMVclatGTaELQomw/WKL7Bdj//Rn/QdQ3OtCOIbPtn31Bx64gxBOOoQRZPRuSKIo1jzDEiJ3TB3ebCXajScBlvFqZhP1Yux6qnbwpUOM6fnv9q2wsi6LuD7H5xD7/gP7m2S7i5fjbtTt48Ir0uAV7zlaQxNitEmulSy6Gz+vKmZVila8395wfwDDUq98gapPq6ESHbf+UcsLsNc+FBeaT+riyDJKYd/BJTvAWPJbB7LZMOqBAVoj5D7L3YdQjg1PrQ4H5LquzjCnqMn+oF/zYObLSzZSFFjdpr5U+m9f9m0HMAW5v0xInx/oqXZmvOmPrv/6yRPEIWB+ehXL9f0Ii3Ene9argvBh08rjij/oG9GgDHT4ac15t+pocDHL16UcGD7aMESXHkwOKJKmz7DGEi6Em43qRH94IreLFXymnxi7CgwssjTpLNLfzOfUpTsh/4niTD8txnJZOKnbRDau9LCDcHRvu6CQbQju5JDFs+jR8qk+Ryzgt2o0nTR5Zm1KnoN5vVBPlZ+1oPUwYVG/sdEojY8ase8ym0WT2yfr5yMN/UG/kCCQFvnrwQ1noRruAWVp5MBkMrx4gtjXee+cQ+2XTwcphf53oIzpM9un6OciGABd4X0yLogb1OgS2zhkFSgyQyv1NCmHSUD7rFLMYp9t9IQF6G/Swa2jyO2MEeMoLKmO8ABDgieGz4ao7GR8iJYwBK/T+/566RFugU/1WEG8D/Pl5sCVyU0Z0BJ+8H38b5g8xzazPCtSjVEpUAB8UaX+6YhHhpp3ZRjT+LpxF88Ztys4kdCgTqGC5wWZIASjKc5UeazpDuK+zIcM4P4LhX4D0qjFvJOaBw3ZyZYgUBSYgiu1VG+deNpZg5j+fcbIs3U7U4cu+b3Q6Or4fB9GwBB82aZOCbGoMXZsax+E14uqy5WKlLO+9y5Py4Pdu2ShdKBxgJNntJcYq9p+3OTBC2cap0/kTYdtx52jbUAMp7bNHHmJcE2PvhwAaJiGyscWBbFjbv1S2c3DPxVvhXkIDw9BBW7xMk+1ZCYDGUmgAQfUGWs6BVx6wfRPID6Z3R29LVWedmO7O8tMh5QaeJH0Xju45jHczEbS5mO81KWq8R4OyjKCO/86cSsql889iou3bsDDRgW2aWIgnwq8YN8oMIxeTndai73Jqpo7PIZF/Nd9Yj6O9Yzksi5zlxuOxC/DTEEcSHouHpQYQzjjblW1/deql4A+rpUI/dggHzo0ulpMZKiTh8wOwxQdMyAMkOz0XlY09IL5P2Cx8ABFREGYPp0eWFk0CUXQYT+X460T4L006iMt6mKTltf090gMqjXEN9OAVf9XO3qdWgvBtsWX1VuSL+hoXs2LFVLzQGg8TaLs+H+M3IHKv+Lx6ajlAcsyDpGsDSOihBhEtJKxGpXapAO4OuQJnLeMeq9Nho68V1SJ+cNKR6yhA4vklGe8W/k1ApeWm15DLH8i5HEjkaczvl1r07AmtgsbD1V75Fg2t75K93rEzN2Qu3sbFb/XoD1wOKk16NEmPrekP1DAhMV4LE0g9uAXtTH87wTrCRQ0ckf4bPBfftLI6r5Wjpouny9GR7vbtCR4bwMl4ezTWgaX+WJIfSziagMadZr+ucaE4dVkK5J7ds9WjjoRRoIew0Zdv7GmnPt1VGovlkPegRNheFz22oUWe16xaO8btvoMxetS5S98pYkfxHfL30G46kT8p4ETCTuUN9YN3f/evyE8zoVgPFJ8XFmnvZfyU7O/LROVAJLzuLC2rzRB4M8YKl3tIpFHwK413/YV+a/+m1eVS28RkLDgjElhzmmalFhff7nU+3Sdxd3tvViQmMHgaXE+twB8us5NiFtsNdvkjek0wwsR3J8sk1EUvaJ2JT+D3rskzMlj5mTzYHfW6ZIe+x3b4D9+fovdnitJVwxLfbLmQ2jESv0NaWeU45zdw5O8ED95d1JTzmlqnt7lvZjvpEghOABYfyIp3DusMAXfQ0UGJWx5MGY1Sw1oeUvOVhCLAuJ/WSxXSduMnOH7bwsRtQp8SnqZdHJdTIVNz5J0oz3sjylUbkA6lrJPWUBgcgoxhkSf/y0W6KeeHjx9IEcUjvz3J/NjMpHB/0trlHRRNcsGF/0CYR1Az8RW9wMfBVc3zscpJCh+qZdi1zMnediNHXBOY1/KaHpEvIiAUS3qWZj33yGn9i9Hfb27OzGlNWV8vjqsyBzsuSFXRTT9TJvGZ/qM6+nookBOzYgeyPoaH5KKXFKqDAKt3n4ekWGe6ByBskDHEqtRNAQz/4xxvjoLRjPKtmPh5lHVym5Gg/TS1BbJFqP5i1O6eX3xW4Vdz/mN72/zyWbwIzJEhR1LJNIC/EKh9r2tvkZMQwFkmKQ/Ap7jlBbizQg6yjng776SYp0aVM4f26oOd1Jek5IxJo1vCpOZ43XDOS6s3MNhggwhlB4TBByw/zoPBYP9khQrCTbdUSCbgTJ41s0po1zIHLK+uqxtrNuWaDGL6JSlovexHZfU3glhpRwL+snGM09Uhb+JWwaiKP8lvcNPhSbLlKFCz/6U6VGWDs5AV6RV/qzVPaFX+NvQzTf0Iy6RLLkiCahG4Yr6xdNBAG3Ch0MenQq6Z+uxRONf+TNkXBDgggzBt3PJrNTJ2/gcZcXugf7rOPrvZEHajHUO++P216yXa6fpCRicZz8kkLzo9XtP59l4lygFAG4t2gug4AqXx1ieY0t86a6NX7ouIsKHbWTMKyHuaoqbfweKTWdj98H8s8CXPCrElMdf8k/onW6XKuqkDKlvLtG8rbsozXzvcFUykX/TRLjAK5009aovU3icMUUMO2lkmrFjO/tFs984cIVT8E4ERlA9BU72WIoFCS27dvgx17GWfJyd6OCxiiNklMritTeZRThw8BzIJTy+rF8UQaFHQWQJtlxFXpyPQ2OVzdmGPVwOJ1DCkGpau2yiUroRN/N0TWZbVQgSRBS9pa8AZhsZWeaTw9HNDTjoDwnZFzuL5gT5IPynEBowJXSDhBXJ3FYyVdTeLzmkrIRQ5x+u+IukU0O+k5xVNBHaYTzjZtM03pdFMXoXdf5P7xlTkcwHl3tcm4XczTy4HfoMAS02KOAFA0SXPlrWqZQp2ZvAB1CB3nWyyndxFugmNtEtzp+mHsOunKNuXxKtrJAYlQwgPt3W5ImvYSGFqfxcW2mhOdSP/T9bB3q719DZHZknPgzVorsJPgjVvZmzZYvcdJwOY1RsbF9dYKLqVz364E+zbe1ijzfsp2ybhfxXt2ded580CB0JxFeMrhdXCNKTPfr1WT9Bm8xfQC/SwwMmVqeNW43i7Vy39gGnz7mleJc+eFv5W4m/DR+zUTWo0ROL4ZROO745FNm+KQPe4AJRXOpj1GKFornhQ8rWVN2HG83Q/L1n5MXy9f9Yss7jVEfpzi4zadlXkOF+dOfguy6MHqM0Pj+WQWSNq/6wal/E4JEUe5LHjgs3BesR65pIuemVMqhsD2z7lFBKW+Qox6xpm6GEaz2GbkzsKIqv9c5UaJMK7w9ebCHPRprlNjGSmHIdmQ+UFve+pTl6fu7CGg+a1hpIQWMEkrXNbFbDR20WKjUo3YmUU14/SIKLwChbUZ1OHdKpei8bEYu9SHde56WPmpqX+JmukUM8TKZ32FjSNoPl9A1bw1WH55DDpPHmrkoPms+e8lmM9SnyA9snKvlTITgEqN5yBT0OQ2RcGT/xkTriVVs1feELdDwuGPZD8+/5xNJRZbbCR0LvIXU1lzP/KHTbCWlBjCAm2p03NxPbdAphj6WNxpx3Z7NS0un3MNdJ7xyrM7qTFVJJKtvzL9tyQJprABF5d4iGA3XhR1S4EyyVa/bp0puFXS9O1TaBqDs5pSjnlYdchnfvGovOmRAVYbjs0B/sAcUOYmtfEXmWSc9NXnTga76vIgY3WeCHZ7udOqvsSvdLSJQMos39OKfW4PS0VQ9XgyJUjekBjmOM/ahWXZ9ic0QccDqyJ5UsCwBgj/TqRj0xRp2G2252cBqI5jtOXJ9uSsKz5tEvtJu1hgxZHsnysOnsVyZzeMAXXcHKcO2WPjCww7rtXMa8r9/DQJB71aTlaAFfE2ngE+7LYlcUqxK6CoEril5sup8AzVcC+/o89xGd2qK6DnUR+ABaIJSEJm6n5kRvlNpmkx8YzPu6tD/DDNgQz1fzYa1YpjyehlmHm9/nUt0FWH+josXGWhdac0rdPkoYARBoVZnLVqc4zGnSZE8aNqyw78ff4ScRGxT0CTsCItS2GvEOIDGeG8ErVYkvxIvkWslzcnehrqHG8prMwejxOZCIWQ9h9DHbxN4XrcBaDgbnaAbAClYxlHbmrNLYRiG9c9V1j2WQnlsPt79WHuyyVTRM7uA8Xti/KogyeUMd4N9/qOo+0QKiTvWBe9G1MmR9dluyvKx6z76xER9XK4WnBV4Fm8SV+4EXLAUIZnITTxuNNfCKCjgaga3O8cnW5Q8uK3yqB2INyHHG22yJVYmbN9eeMzfLOiFXqQWHiEaJmoGVJfIwRRxwsX6laO3N/0Q20K66foCe2HnHwKZGj61E4BgGEGPf7TEtlOFh5A5QXNSGM7wZRm2tdvXUgQDalYf6Ge36O8PsQBrUaEJ2ZPm8/yisCjpz8loNz5aNL6wOol5XZwkRpnESOZ1m+8QjgNlI+Yz14PDGGTOiZyqtydE/xNaJIaRIJR3yv9Jiz4lExk5tIZjacaiaUEE7uH6FGFw3YOlwFOcppNnHeG6t5Ir+Qf2NbiNOZvSn/XvGK9FxBRkBSyLGN2V8R0Xwu0PVnNt0JVl3dDCdMeAg7j0aTQpV6DSScmMoSEl6MeGJh4ubsdTnils+X4XYPmGtyTpK+0IK2Wlw1JcVbJ8Kwk4TADaI8d8rrsXc+qM40TJmZpdwNsBVpjPCou4VWEBUlwn37PF3HESZlUkxPce1Sza73giiqYbuKM99L+/LYw2X81AQGshHc+JAeWfbtgpMaMSb5gvPSEqjTJ+fn2EL2KvU0YgICJV1ddeACVKlb5Xo3qDuIdSkiDdRMyjPQsCs33fn6bJsAt0GqSHPU1x+Eld3P3lpTNbf8YTOfIGyjidZElSHbr36qMo1oTNpNHzbwOcYIxaeHTNrEIO7ssTZhKB76fD1D04qYBBildExk0HBGIlaOh96C2MhOiCUN/XJiVcjed6lRNBOiNPN+1EN9PlEz0UtzCFC6BVclCip52e3vCk9ZpzJPjJDcQzfXhfZzgKPypRKx7jAwYBlRd4PGY+dFyu+6NRgJgN65Vf8ET6D+IFGxZMJEe4RP1mGaLxHugvwj1mK9IsFcE/G3Er2wF2g4PzHpY1JGL3PmtzF3t4VEZd+P2rXpSZLOSYWjaSxEMe3TGDQObR8gioXQfI42zm3PeFe+VHhpBNKYw2BdLWsdphgM6ddYLF8Ab/aFoqsaf2MNkZggBbDi7unyfRsn0FaIBPY90yOA0wDF97Gd02cdICNJRMrKvvur0NebyZnqh7rYzYl99okYneDGadp2eMeQRwYe5Mm2DHSABEbLDiCE9IR9G6k+Tc+I19Tsf37oRDwBdFrR6cPKjXti+a0YeeZBiE117qLIjDxs1+Ev7KGfbAwhZjt7i8nAfHEz2e2yeiQ+tUcJHh+vED0GkEKcvooVt1Mv7TiF+VDqhh30u8nxrat+9nNY2ai/w6nBMKiWOtWMywZq/YBeF2ZGkS5WsFwqkh20YuaVexcNw4IY7WowqySxnKUZj6tVmlEBLQFTq8XahIu3eeBuQT75B7ByK+EV5l4WXZJdJC7t5Ujn1IGDIIOSfz0MSU209Jjbcx9cY8qKwafLQJXbvTt8xuuXnauvokWSRKWsNL3TxoXhC47GHX+tHoRXBvCA30gYd/ioBL1yFLAghLQ7YhuZgtBPfSgnIot6ddEexVqtQsZbGzrHe8FJ9Jc9I7ea/QhN9zA3uYFSiiWjmoxLrF+7RysJ388DPsI26gzrGc2LIqIpai9jpjoFJpCC1olbgm1RhITfxxCYuxINE2jhQsJDNNwEcrrCXZi7H6L2E+fUIQ/zTymSxqVmggnkWnbvC+hPw/u6FRIYCWG4fxtlhFM9fZ1L9e2TKVjU47h4Ukd1vbc6fX3mHg1ToXQM6zaEcq+fvse3ovpEccbY/sehTt3FnaQDtXnwrKT3jRGjmETa/gZy6/eAhaLKDxp4Z+aPeUE1fLVeQQvFOfL77JIvn8x+9QEACgFF/GNT4T4PZu1JxW7nTM3a2xMDeqXDqR2wtyzQD5Nw1A5R5FtPWer6Pmx9p2iTUDPv/lounCNSCR4v3EsruTyJ90LrB3Px8+WxYFt9AMwafzJBR3nyu7rhw/wk8JPPdkEoK7UPN1IUblkqHKNfZyEDZXjn+6Y3WFr4LNz520J9aL2ZQ/e1XnDZzXFFerg8ry5vFoYQmlw3qJR5ZavlwRe2FuAQ+ArEI6yQwl+yI3E94S0AcpxnwPy+dXbn+FVV9vY+m8+hekecH1ZpjIPe0087z15uxBZqMrOTZb1BGADkgdDlIqfxhqHPi7zJY1XWKC6YVuxgifJeYKrJTawwBOf8mD8OUEVcE1alVee9xbrfBAffDGVsrg6A8/fvxFdDfEotE4IoiekrqhFSoRbqxs30H7hvk+GKb1T/J2w4XMxzGRRpJOloEgWoUgpzG3AEz4IlFAaKTX9HAED/voVt0wihpj7xA8/x/2Gd/ANb/wa96Z7BcvaN+rhXeApcTq8WrXkwEXXYlVWVz8sWrJoZWD6RYpUR2DCjlvQs9G7K7UGV/0/PxY7wC//ntPtX2HllGeK4ltQ4AyEEDuoPlOsHu9linAv54VdRlCSiMqUrSUl/6Gg/z1HUJ3eDuqa5rCgoXIIphIIwkQ0guBwJE+fkYi1IF6Ae0GndEwwb+eJRctbn2qAq/kQE5hXe7UKxa4mBpDzcfcHyGk0YG64Mq6T5Ml3YBJF2ZsI1LmcuYEZFDv/jyIuYKJyNCqCinqJu5RCNtMWSD0FqgAUBTAlrGXWVPxyGvYoZLVHByQNjgDOhdQLtr3xe1gNJFloCp7HeNyGRy9IE3yb+kvEloYsgFquw0FrUhyP+NhIgpqQ6mH4gIAFfa3WVtMBMvgza3Qo4OH4iDxDLduRUHDB0Reye9n1z+FFvLykwaQ1CFVVl0QqaapA+1ca0tDDwy/Nqni2N3MpVEsBMc/RyyGG5NVXHUMZhRvuv/efDSU4UHhE1I5bOuz1krjz32U3wjJE12ZTjldYz10F953jHr9DcbR2LsXF9L+s5lATfhPklDa8/mgtFmMP25ea9DLTLLgVU8Y/s/fpFp530FqLHXs1055U2NYEwuti8tE138m0NzAU9PaWqsDNC5h0BqE2t47KqXoQcgYZMb8rkmCJEcHm7aoenKxmws1ucZTW0Scxr26RZVTmCT8//lxv1TuIWlghQsI1Bz/w94lygvOu5dhwOxc54pLYvuV+8yi/0ToiQsuZ9yB+CoDVQRzgoxEAbm+cAUbkn3FUwJbC1s+Ym7KgcZ+amlwJEIU0FDVJr6VtWK48+smSBpbMWftxiNrWjLtEbJk2+v88xM+aV8W1jeD/jk2ziSSqVcu8dR4Ue6AkI3rjYmnQNVz4SX+hs4Zgw3lruMUduz3qLk//VWYy+QgN25dTPVcNhggUUSux/KEctj7DIpFcvnUQiTUNT24FvxuBdbFvdMHYDfnYbKcJZkX71n7dTCLfKOIe0hOvNjd5zHDUtaPDwmwdm0t0vIXJmcf4tHWtjLCBYUflC5JKDKzxK0Atdi17srsEjoL9UJ0L5tA0aZTYfdF1WcjNKR/nvmoximedZKiRxwHQXwbbWE5FlDkNBlHV5c3RcpQU7wxKlyL+GwQtrX3q9y4KMEW17Iv7BqiSID9QUAM70h/eT+7Y6RCvgwmS76cdlX+0NQaXo1yazjWzBLywRUVHiCbKkrLKCb0yPImSdP2d/YJwFNguWpuKuS42D2utaJ1AiawTqcyzklZN+qqoOoK+w9xJxd/7MtfW8/VBtvb93ZyZUAy+nxoTGqj5+SaO3YTvxA0wE8d5wfOo2xw/d9taV3OUnMOhjjsUMTg+3glbihgVRvT7pfjmkoMbI2t+BQ8pSn+UmylisFeptKTcNab3XRYkbBP+FDDObmXWIkIBWhTum9o4syXuFDJLpHc8IEBgGLdqhlyDWtFS34CeuZE4g676iCd1ZXKH9dua54za/+neDTfMAFeHYpA+zCydaUULjz4pTyjW4hYmb3dErJRvspO4O6V5WyS4sCks65raDWOp4dGWfvthy9MDRlqca019BMeJPfU41lTTb8kbfFtQQACaQh6S5d4snhpMJ+WE4uZMqrtWT97VfcbMNfMDO11vCwBTWAqzxJNRdOcqkikekzm4bhx48WapYC8Ypk6LwaY7Jh4+vJlqO9BXOwwU8t21UI0MzZPSZ1JeEVLclFN8Jpy1ljBuArqFYc0rsDCbXxh06kuGW5u6u1XuWEQ/IX5sZZ8njrnb7SAdF8mprZnOkpI2mhpqMsTegnnG3cuzR5XtG57fLUHr4Bx0EQGt5cYnt+mUGsaVbXrO/x2GC2SrvZh+GTFO+RCA0QrC0WXAZcWkGcSvR9/sqcB+bTFmX96WlIgMt03dVN7vJuFsXGN2DGF6vmEPwNr1ZebMKoXT5GFcLB5YVIco0B/U7InuD8EPsEFWd8oPSlzLioTAScw65QasykqcLvgUK17kgRaItgu1et+Q7pLY3tnJyHHplo2Fa+DeaDrFa3GYNez2wrloaOzpxBagZ5ZVtkusa7yD4n/Ds9Fvwmso5hV2zw/9wb/zyi7TlfBNdmn5Lnfiopfeohh7cWHvpDUclvvld0Wnk4YbAL5EDUCToMrycNjgxWjFa8ySvZqUqO8ilFAxR3JryLurcdjOOB4aBV4cwGqHXA3mFju+raS+s7oIy0TMk/UNtKcTOmPaFdQcf/XfeJha4RCRZaGF+8rMEcT+3vfdfK8rZTIrAVghJPtYiR0jJD69Hd2a/Ut02/Y2u0C2Vx6A3Dk2pR7V6t5oA0Ho1E7WIoHJqu/p8Hcj+lEWBnH/uJUCAZCvitLPu26PWBoMjR3lN0bmnSSGr3w27lEvkZzsIQBq3wFmt2FY2mCAJ308W5blc87EJ2EIs8ab3BsVIJN+2UvgQtq65lpr3u5cDx/8xjp/oB4geSTdsYiaHl0o0QbPDZCRXwzEMSYKoAzrvnKhN0Ci9gAdI5ZsJ7uuydcdVPWVE1PH8cnfbtldGmQblYZG2SSor4nbjJ7eydfWhmzL4IkDhJ3n30DGYjJoIU77Ts1WjHvdfq09lSWxxbPH/lXcUGVyD56XgdRFCJ/44Spm47UG0c0gIhJCzOZ/D/3oWckcSMXEVmKtCFMFxjXOr4wq/gVloNZVWgqg5ZlcDOmIntfw5jqTtDH1oszujTd6bhzrjl7XD7JwloAss2Nq6tvO0GN+mWYLXNUpTS3csa/yQDYVh+QktdGf0PllEX1mOQQi79DyFyh1xUPoREas4Ud4gTuy2ARlUUXAPzF70wrE/ykwZFAzDS7uF634XXPLid8L/vcbg3b+UXgvKtn64tSjABHQHa2A3toj5xbajfh0PxiRnB9V5tYPcT+KDod7ZmJ60xEtRQz6k3BUfLF3YmLdQxVOE2jqZbpZUgeFQIGsnU8tFeqwQe73oL6W3u9Yik9mHvGETvftP+q2YtwVaXEM7DW/3OH9nVcgbQaeLLUDMUbx3/sp4/2uKNGU7dZcrAVDYyQT9Dutq/C7sf7VlXOpN3hd54JEVUZfngOlg08lV52AadrhJCYv4EogrdbgZbIKRdEGbQ0NGVMekJGIrJNRmyNCAgXjZluc9/AqY5BBikfG01EnAqjpyaRpYX3TJbtJQwBcLkXilLlholpk1dg4gw683jxIJV43QOe9RhZ0+WeE36wUUt7P/mLieRWedR50TMdxsba0RTK7jACJkLTZnMT1E+QKpK9sGqf3cG8ypwst1nbBXidPC79rm5+EprWKrOj8Uw7vqAyF5kxXd2+qZPEiArmbLoUJJOq8wTJmr8Yl3UY2UzbBSYVPYk/mVHxQKSY0VX+PMMuGATn6zPT8Nmd9PSWbgiVDzpyMuWxO2kNFnhgYrGkeZ6mKI1WrwAYbM5t9CSSmw82SAJTdSyIjuNmPFAT7da6Ybq3TVfRarwEeuaRC9sJU1PK+WTFyOlOWLOqd6Dh5/sDWj9NIgmQKJis67nnIgp9G2ArFlOGZ5AyLkhq+t+O0JRCxMJyFpiJbJhjQ+Ud6PHomoLuiEeEZHQM/vpFwf4ZloCCJaWRLRR+eOjjaGcbLy6/XihhPgje5efjmSm9uc3WdLSSZ4bg4VXMz7o1Ww+pOkH9vSIFE/069TlbIwSgtwiiFpPLuFjHORPulwnLqWgPR040ZWR6xkSma6VhliqJL7W31VYMOgrYR7iiEQUX/npwL17RKFzU6Ly+vCUYJHT098UVfT+NCppA1olB6MaYZdqn3TL5MknAg/nctK1ItV+NqyqkjhkviFqS3LXvhv2vlCtMf5YSrF2dJRIA79orBUokSGiyY8nj1LYUKFuueu8+FxWMVnt8pyt+jKDfupP4KqSB9nvXhVcRpx+19s5e1sEEW5L5iJepv8qSNxxwJ0912JM4g97tABgsv7dFL+50SnhnmSwRTYlS4ZDC8KMzZBcJU5vmTDHXxrCwuM3JpACAKvH9r86uujwMzuU0fI7fxhLgcvUGTrhshj1hzV/vnEIVGHM6mZV4tsDebBB2vDRBInR/5IVNmjivcD/IyRwQ3b98izMzA5UG58XVrcCXKvXVlb1S6X2fO7S4nRF5UBZHoOQPTNesCPvF6+G/fuomoqgUPJEzdRAdjiDPeDxx4ZOvjMrpHTNXDoQgBef7gVOQJzTE93BTxa8gvIflc3KFBc6yNU8uKyhZTYIfED7n7el5Dj/U7D7EUT8xFy59vsw7fQaL+8/3yxBE4XVM2vfkSi42Aa+YjEbuZ5kpr0C3TrghqvHGLUbvk2mbOyntpxE7jC/rTfoH5K7HsNI2St8pYDALcswEwNw0ko21rNYdbETLX1kkfCSt5tJguyyQeCnYs6EKvaiN+v39f5wMc9lmApBlhDS2S6+/62zs4a91hcmIO9iBliFVeGOnoZvan2XpA1CFFpf9o//q9dHb4byahEA/IeFzUA/U85YnG22XdqytuNJOfVSeUCc/MnU6Eus2zC6qy+eQmOpWjUamI8wnj8AKErtKPyhDeAZLe41tT9GQzY4FAafJiXW+nbZhErebc3qg1WaFy8RUIryjpxEqdTowQP//e1A0pFH876lg2WK40CiaLbHCUpIa45xoMvD/27XSGfEr3iaRpj4NgrsZb2OfvyGYokNUGLBPp2lVO2ZGxvjUtJX4zUZ/oA44j34vlQSdq+9VpKUw/kB+Sql/0QLoOsVrZI9Gxy8ttVznLbQArVVK4gSke5N1XZXChHQbqIbFlIiRtXJ9WRGix5FqDDbak0acwkI/Hha2WIgB0j6USwMIdC5+EPf4oavNMV65uIvbF3HALdDZLMqABb3TyoBkxTQqz3MOl6fON3SEzpo8QeEzI4AT3AyrBCj8X8v96sH+zeTLeKrdGtoDbCXvrCgb7k9zegfe59mF1Hw7pL0E6yzqiJ4GlhZdbULcks0QnGSl7ldRXVUaDNBHFiQQ14D9622FZuFbg+8ggXjB2YiE+fCIbOS9GcXOGdL+WRp95VMINdc3o4OUfsrUbdz4fleR3FGsQJVwMK2+pjCZemdfIn1Owr7zfngMorYQ2KvY2H01f3f9+R3IhirPyFk/eQtCL+hksW2jJRwU3qzLrdvtfdDn1EoSqwMlvV3pTJaZpxnbjxUAAEyHrgJ96XRLS0mj4V6rTctGJ2Fuk9+XsjzBKp0foEMwa8vlhQ+NpUBx69purfubhqvn8HqTEXAO6OuBBZ/luwnMRamDJ2LOezyl2dc2x/WqFZlbhVm+rKbyQxrG4hwrOHRXLIX49NuhERcGQwNUjttEmeA8E10VBR7J4JNc24cSJngsW8MKpmKeXIDwAkUoWe3yg0vDxgPDMmer1En3mhaSFREyKEyIdN5tUwBSeTaQGTwUTij5l5648NBXFPYUf93WcgExpCbFLYuecgxwO54i+R4f8K72Nyz59MeGDvb1YWEofHPBn5Wco7b5XUNZuUIou3EVxzxzjpU0YMdPHJpiVoeMJJlEsOyuOWHFMM49PZAjKiUzJpMgkLlIdIpSCdsT4BJQN3+N2eIaPw2jNdmgJAYl2MvOmNlsOzLnDTHvjY9rArLI5/MBUcuSRfUp2KNezJkJmf3VcXWmtqW8tkzqLycRPnmyhQD5zfG67uwhAMnGNzUK9wgPka+vg8C3XDGl8JB0HSoKDs7q1dhbC2WLS7OP8dFLC+/uCAVnKV1WWbYEhbrfo0i92gxSoyA7amvFTbLO+VdPHXMv7cuxkY3K9/mW8YomKWgXzCwAK2Kh49GPMkNytzMXnmJ2mboaS7OQcqJWBzxs15Az5bzc3dKDw9ap1umSxMv4WWfz3ixfJTaMvboL3fn82yYvTCnqNvKBok40HoFiIBo1QtoVobziGp1UgH097CfS8QHdAcotBMtqDKzjW9nyP+ujuuC1Zotgn9R4llcLffOK2V3xA2lv2tzGMOwgUf/vfULuTj/N7cXTATwWnlkH0uYKaP6nsobMrmWPrRliuFsCvIHlTOLFTCJfXTBnd2N8Uc15o7jRGuk03A1fjV7/4a1dWqmWoiE2f2tXSq43qyYzPwfSIQ8yiIWZmQLAReGOEl6DnPLWk+SX0VuEwe+aZ+IlOXBtTLLUJrhVEaZMvRsZzOpjNX1ziv9Isy3KHhZ5kCXfXyM7T9kS+8+AkT+LnICNjOQnOlgiAUTvrR3PkKdWr353tvuGq6VhtBhhP7A+KaNn5hV7WxpiXIXQ8Cwp8TxOCHmxZlvrlFXm23ylFOerJvTIJgh7Nanfgh4v8DodRs4Mwc+ecn2UcsQKhB5iPyfkA0aUgiOHbo16FUouk8Ji0VopV2xySb6A/NMMDoOTknxdF8Jw3rCpTMV2YpcXKTS0sJtQd1nnT9vKN5bHnobEPZxYG94zBb7Xbh67A3EjbzJUPJlkJTkm+SsVpbXLcIlTeu/NiJV8eJQdxjIW16lwoKyEDJZnOJn11obm689MuWkHEx8dvxMzhrQc6KApiQdliJBLWTLTAFrusO4EbOvSHNyK+7jfcr6YTKHV7E6V4JQA6f8j8yK7SxRsoK2qv/hl+TD1r51P41WGQEYALJ4PP6z9a/Mur0Kp8phQNzVPWpozwbUzbZw4Rc0wjPm88dKMoB9G+1VfvavcWVzxTvG4T0yHIg6Tcsvk84mNwoDNewv9L2B791ersQH451vfakS4varZS9uLxW2+FqozExuMHI7S0PZgRJCDUtxMbcJ8wpnEYwfvQ4MAcct7XDwN8+FLEYf0RBlwoeZ8r8317OjuB9EahlDJVs0Zpi12VKLp2CUog+jUSSusyuIj64aZdSZYStIKQ/d/IL0wPgU4CFoks26kz7YFACy2u4Mc8S3axE2eNwm8XXcMtQub53yxDkvG7WUQu7cu8/vepOg0NRLSsyS6wrT5b94vljCdBuWqVgA6Q/jzwsm7M7h3H8oPCpef1club+HCT9nvnltLdJfjbT57EihvI5ivZZ7XhWSJE7mZZuwvbxUfeJ6P8xDnzEVmL/7DpUiO6YLFvXStDfQlLcKrDXe8dV0hdNrDzR2Je1klzBj3rS8fyqbfKiTg20nRtsq5AeDpFhkIVmm1022qFhboRfsbQJF+mvlrPrZGgNQ5ZILwvVacZ677wV2M+zp2CLgonhVq07XwRAK2fzulW9Wh3WrkFkIkqyu6TTwJYrhSw7fRICD4E3HNCsg2n7rCOCD8dEDidDLdGiQGuzC7D1U2YFUUVLek54xh7ikTdTjvDwGukXewSpjweRBqxMSvUehWK6eJoTQCdUAcSIVp3/XWg4yDXz2KhUbTe8BiI9IvIFqLefGeLqgJMOoq8HMSOFQL6kPNpQVYKEbO721yIIGfkfQguixn8rB6qqGRZfhqK+CDslwDFnwgo5+3IYN1sU+Oov4XYPzUsEp4TsMwRCrsXVse8tbDzylHOf45FR+fjR/qk9Zy9KtFk/W+Dv22GqbCyY6O6DmDddh5KSp+pQxeJrVZ1uBMSMHzjhsd/uxyvgLCkzY1BDa3qXYzR6R7xbeQF/YE9VN+Lpwu7F2Xrh7DyPHXv9O+6ZrHs7WQH6Pxv1C1kP6GBGuUJc314oMTLwQjxZtWuUwXuXNq91MsknfgFGxOc42mhctc9coXXrAt/1pUFJBGvWJdRdfBicqAEBgAYtUFp4WGxuA/c3US34tNXPSrs/10d831yYnk00dlz2uRdOheX3952yHD4o0Ms9w7w7CQr0NVdssMKMAc4eF0y2cVG9YsawsQ5Sy2F2veP/+SkfIiy+yuicde+iMNmZm9Nbl8ezXU102d7/il9BNZXuhM7mJLKTa93H/5j0jGrIXivMeiLezfBDPRdZMfxz0/sNYJJxu7S9HMH4tMOglE3nheqQ1JE8kGo4INKNyV2Cib3jJHkanw3S0gctW7O0j9dKoNNSzC1FhA10VU1oKsC+enLvViYZ1ALvEcdAKXrExkIUh8Ene2SdR26dxTvixo7uqm8kw4QLeYgRyelSOx+fSric9N2Bi9oW5cp+4nw/Rbhm14rfzXTGutdvvbPbMWMmOqdRpW+gmNId3mevnxBIAdkhGIhWx30NDNHjBd4UiQnXWQFRcbgxgjOtkGOC8cJ4tU8GmtHJsUXVXNCzUK/iSXF4nL9m1tiHFhrFgMOBg3VViZ4LK1Zpcog44N4o1ADjhp1Abp1eTubdRCoecg+WZncunMOS15iUbsF1evkWtAWvxzhRxQxdTb2pcCJmXWkZgBFHChXqeYXk5IfgP6g6j03NKg2CMXIsLnr8wq/03svCuVzRWmhJhTuF2Q3aZPGVYp6ikY++urAtHbn31sqT94fpK2XSOMaqLj/keifaEuOrnKUQFn+WdybgbgK2Lshlj7pY2v598HkJPayloHYx847oOSzTdRPAF01yBm375g5h8jORUGyRtxt2TODoQ4fShJ43h6+zlR4O1opQ5Ef9qGGhRqMCeF0dcWkbf7FMXiMWGbyb2HJxPQ6ekM0T1YHvxOYGJ+E7gbhty/1sNN2AxEo53k7ErCoDqLAlEsG7S2iwR7rz6IcCBv4tOly9ABdozENs98h4N8wtaGF5tTSaJFMVyWr8Tn90wi4hZx4tVKsYxNfoxpY6KklyTcijgXM53mX6hYSxQbmIF+6K6DCoxx24VIyusi0t/tII+a1Ilaitv3Xv7qquNufyAw5LFgosBOViTCjHpLbV5XS/IiuOuKWYjvFlxAOJT7TI8ZikJ7ITpywVpURY9ZJJ8fCC/rmF27PZxZpHrX/Os0z/qRXKewbo4ayGMLBGun+wyL22iB32oBPW53i4Fi32leGQM/jq2i9whfstRkT2hrP2Vp/2PW667xJVHQ2RWOzWPZhQz/n5oKyz3+PbItNZvRLI17TuIhSwJs8ce6bcCoMPgtJxG++V+Dm4s+EWFcTK2dgu95B7IpHR0Gkm71mXuOvmBLfUJTOK+MhcELhSclMScnUxi82mzgcdKrwwURmvEzQk3vQhs0ckXfGj7nisx8l1spxbafshq4Pr9VMOFlURKf/pLoOzKR++412+8Lw6UHWk91Jdc6jpWz3n6tqJDlxORwauwpsvfwoYCFtUnLBZfnFCbV0Eh4MT5xOY2A2Rg2st3QIh/EOAP+LwvDg4wPqXjQx7I+ItDDd9ekFcq+bzNr4yAH7AbBuHynH+N+/JNWjjJA71/kWx5uSyCCUM0qaYOpBETHMwYFowTwIJY3vhwhrDsD/vgrFCPBhi3ZWHgaIA5dMK1/fHvkF7hQ+B/RS7oP7s1kOMGMomEtgbqn2U6NBTez27CG+vYfeFnGh/EbLeVVKxIqjXIdvqZm5DtXysEtNhKGRctlOYYXgy4F+7kHMKQYs11KWizI7LdjqcTOHCmu6kwU1UXiRNSg61OwOrIl4K24zhbNOgaoCVrqY9akfk4HgT/8Pq3xuxRLmXIZPQiique8uPp3Ia87/z+t409UEnyp9a+FTz0LCmW4jKPXqD5tWxfqZD242PrWdWNS+jNhSIPzc0Ab5NhmJ9oRw9wzamG6FIrTkmPc6oNGKBY/ZXXK+tGczzgcOR8xfkHTEbaw8VSSJvrWwrLAxLZQDgKybszPTFHVoyDBJ6DPONO7uUxV+zM2ChiMCkqMz0E4J+NUlQsubllaF9nKLoj28AqY4v6GOJ4J5a9Fb5k+RStGH21hX02aqVn/ZfqpIMiTpLHl2KAWROZTNSR8KShnP+Sz+95qLK3Ae6sGKa1nr/QAldIO6zp66eeWpCsaT5araMHLbo8L9LZ0kifj37H01f8QwRxBriGXOpvoOwklk9lsw4hST+tCl8JYwrOE9E2k/yOwjWOqAcsbZokqpIh6egam9n2ZoC5XItAdWdM6wSg1E2tvnv6Q7U8wvK8WCiYlwSFfnDguxlX3hsQ3dxBLc8cS0IhfJPXijyHYv+HFbbEsrYWeRqnpoApc7xhfLCNo5UieoBwrSDfqWgVRx3U6RFlY76t04hVVV5ZOSpO7vPCWNwibQZCPOAR9gBBc56g2zyYQgf5bbSMa+TnMo7nzr6gVKi8LmzmiIrC8u5TvVbpyZjZd9dDd/v85R12MPebD2IAyQMdK81VqjOD5wJLl728Pmg65fCvRM7Z5Es4NRLAaQM8ae49HtxU3hPcEH7Su1LcV/hTd6c6NEa7VJ7iXiwazWM4/c+q8Mj2ewJmMlOgCGOGhUOZuJhxnHIdMYCVOgI9+osZ4un79U0ssf5pmTLNba2sE+ATqpHXwA239zqfQeA0pR8e+U2DmwobmjtvcDzIC03PoQuzLRUqQSTGk/2OXyc7ATeUbh4kua1eAeb3uqu5EH4xpVEH8uhLbqfJOdb7aLbHb/5/xTupZmYQTT48AaXPiEAsNoRHxZpK2oGMt0lFyXL3SozDetcjRPJx6vgpYcpbN3lin1yp4KVqIwlMt6B0aQEhNfE6tCaH8wZxHC+M2qTMklJL+AWLNRW/b3v6GF904riRbPJnKIG2zMcNoWQFRTq44OOP2PD91PSK8FeOn352wYFt2ckSv5O/Hz7wQB+ND8XlIPXWUikxAfGBdWM/eAUk5oe2LeL9MoravJ7zXuWc8H7pfJm1RpZaIyxsLxX6SoEeHHAdbU3RVEIS83B3PBUJYjfKJ7jpiTL/6PzJqlloRAgQL1eYNh3+ZY/07xoc690dWttzGdQpXXdt0LfoxUzDIxqOGp6iOvjbZXg3d1Lv1sPF3NRJ2dNqhp0g1HLN6NTxd9+kFPxy9u2dVMnV5eL82QjZg/MkNL9XDQQTZ/2slx2l3Xgd7mrnGgqVMV00h0iBQrZkLk5XeG/mIr5XgROMtmS79tyBX07PtjcjD03ZOYCTJWYMqdkKnMJW14pmQ7Cjg+gfQulRN9fiLIBAWvVj/7uKPFrXZ9Le1vmTYjJj75FKcptjGG9gX8eaMMdKbwRV4OCueC0L2EOkXQmdFj49PZIGCcgbYc+PT46tzAYs4vcAhxyp/NLSYytlt7iY+phn6S3k4op23OkbII40X6Gt5GSTAGLKNgi5tAzncmOYigxK7y5NjTjs+/7JeBOKXuutTYDhp5n3VNBv7VNt19Z+b59JsbpozZwGh/zYDhWSby2Uvoqa5I4/8VPYko1pSNaXLAkaxxg2kthKn9WJCSXmqcUm0W/wBlTc9Y1Mq97wp2Yt305+dbh/2eAJo+FkKzATqUaMqrjjzM7HpUgoxXAQ+kg/DVV4V3ex9yHS8mIJmOICBsmcQ1hQ1tCdVwH74L3nxeron5E66+4Sg6VT9BurlOrSSxyGj8bsfMvvMCUSnpDJHD6C4bpIocZAPljHF4kjk0QAEK81KGvGkm3XUTYRS63Fp0+NJti19nrD/ZRyHe6a/F3lfiLbcPo79/XxUPRvwroYNrrxv7RqM2384Dd4Qr59BNsWWjxPvMfVhq7mM3s/PW59yD/HH7PbkKSjiarGT9yxhwwjrGq5/zLo5w+DwlNtp+VphjSoch6YvSRmnRDNFB0p/e2maw58YoEqfUalpvcrsRm5CRKAvNjUw3CXevF5v6JYfoGYiJQYYV9RnT7/rfADzxkszwSS4vrjmcCak3R8wghvNprfEtZk8F/zdhaolq6GcM4EFTwTwZooY5xc3yeosIGRtxSlgHgUPD+vuJ1cALnYGylZ5R56hC/SS+dXfRMPRst9bwdIkTGg94wdTMdPtXbVrewoEGiltFGPt9k2L1+6OwsY0m8jK3XbDWg+VyerxKyRGcjDLryLMSVMZAzMmnWiumSWCyyILDzBl7jLy/pgNaQ1GfUc8/7ESAJoQHTxULAazEOfOIcv9+YmL3XSHqEQQGhZzAULy6dJeqNrPXjRb7tqOMcve06uvuKFKiXwk3l+RhRHdcNMSZJehH1XmGyaZR3zXvvQr1zsW/V5zrgQP3bxKxZk0j77DQhuPv940w+9mlzwAi5zwOJ1geUWQlyH2FwE+/qhhzOvrTUSM+jciJ9szOLc9SjYg93I8XHENQUTYHL4vnWtVDCJkuVhmO4Rbq18YsFK3/WMHLPFoHY2mOvDbZLOksoV4K3nchO5KPH4hNyouzLf1z3oBkJb8o3ZdpSLd36iYzkk9Lf4tOz4KUlgvKi60CmXokeYi5Zsc4WJHqlZG3hFgaFX9M02NDNx6/PmMC63IMtbOXvZwZD5JNZCET4ILo7RsnVcsDowvrEhY4oRzkdjJqSM94i18ObXJxsHt2wgvdkjb29uYH2IYPrKAFx6k0X2IfR6Tx04nfGOUeT+VeeiESHvHG3Qj3W0oyWQBWkZk2eBFVPhIaV/0V9Xyaxd/r8r1URvvhsPnJ+IuMbXqMBsP3IDEZTeMHPxYzWdTiSz7w5wtZnJPSzQchD2jmPMmy7+nJ53qO2+1PAogoStT0VZs4IN3TDT2b3ZbM55ntkV3n0kcjKFFOPShE9wowBdCJvaZArSx6mY3LMW5caglBHARXSeGfskG22uXY1jeU5zT+TqHdtC7GNI/BXOhffRQyL+OHA7S5ZzmJAX6gg6/INClf0lZvpjIB2AqXK9bf5ZcT14NGbFahELoxnbBzspMICPoB6NeayPJngW6tqScnQ+4DnTJUfdA4UD1LXU5Q46zV+Mx2NdWkSkeU/zyJcLYlwUELxhBWYm4yYeQwVueSnMR0eb3EA3IS+FlHAV0dyAKTV07LuTL3WIKOFBWGoA3Sif9TPZCn9SCRRLduysqkxD8suwcnErAlWsPQug4z43Qz66WVFNHsfMP2JKjmeTThfFO+dnAKcR6s5UlBeKeGg0hK9UNpJzqEzlAO+hIyu2ILZ/C+Y2lNpf71GjRmPkzIR+uPJ5gAPTX4qjJaxMY1iULxGtwaJ9OPN2LLmfscvKc2WX8lDfnR1hFEJ9fAkUXIkB58tSFrnG9yQBaJNsfNTy7OGHmQs9pPRu3S2k0nUVL7KoX0XaeTUm6VPnUuj3TXKeb/K3OYQAWoKm1InLqQ5j2cZ/tdv48k35KDfQJo2azilues6Th92AP2ZgkW/MRTH9jEdWX6UZnOEG8Lw0sU0Bxb1Qx29H3sN6rRpcuz71nSlz5DrMIi2dg4vknxBWHFGRklaD68bjvCZjk/nAUDDKpBvKajrgBLeVGskQY1lNzJLP63Kh24h4swYlV/vR4i2OHdNd5pOuZlZ9D+3irBDFIzp8Ea9slJePYK9ng8+bvNeGlzn0lHVfZuceoMyn6QMoTaxVVFiGUKDNbehHg7FxziSqwHvm5jJ2nliyy0PwK3H/+KzBuIt2MJUZgEY/B/YeLl6nKBU6efnqfWaJ+LEGjBGwJ+RHEfYdZapSYukgtHiZDHBw0sL/GUsRFvLik6HnnBWIajK94g/m07J8oegIrzzSSaBE4Dr/YjS0jIxKUYD46pL4CoH+OyUaBTAG4nMLqvMPgqa7UJPDBU791/cGTtQ7LQdFcUNxY4gD5sqDjNLuung3mWk8MFSXRPyH/orLIYBiYMUOdsdHhdUZFJtZLrAqxC0wYBdd2a9aR2tMerFLBzi5cqxm/nXyTdHvFrZAXaKlVRk1uuZ7j5oTdmFBWFuKC/JMJ2/D9nn4t/9l2o9ihlWvhXIv7Rm7V5aHD7EI+SYlck8gl9tOwMOVrUIhRPfxT1rZF289W8ztHDOmxdMJq9eXwZ4k3ArmxT04vdFnu55XGc+H0qXL8wFTHIrRl9xUD3n/jRF1khjFa6zcGhYj44QCfZEhV6sUfe6Hfvoe+4e6bx3XeVpEMWM5VaT8pCCbi/j0pC2B2wD0zTBAs1gZt2mWB87RFLKT3RSwjk+tfIYxjFm/ugVjBgBSSrx4fyuF9vT4Ewaa5LdT9BWNOL5jvoe6BzXGd0OxaQI0lStUjQe8A2V5D3YzM9RAGuhm+2AcSo0qMWKd4DI7lU6/rnRnSaIhh+vX7b6T6dMWCEFKh43woeKDcS4Jh3ugZ7MOa7Tzrq1R4Rl/RiLGCaemFRfWjWktpj+UxieeVioIST/qbz7h8QTV7OCWsnIE096pGKflXIkvDUZH3IDqSvvcIcKDYw+7HNQ2rfvfdg2nI8oijHc6Ahk+8F/OR3M/YWWwItzFflqkj7cIHXR4uEGA7HpTr7G08EmBsLng26TxeBUf0NKx+zsjEhq7GTQOVLXH+laAr1VT023P1wZKCE7tpPhWsq1C5N8fjMNpAeCA/XLodVCHKu5rq0YJrh+WaJW0jAx+NQnwk9kZJXswIabaXkECnBwtSOaR9anFpXwU77Jq4HtoY9RtLbj7Fa99QKy595OPMEfbjNH/wEdOoVbiqzu9Fgm3MwElOAR1DwZI7nae582qnZWIexMlbN7ryXdi9CClUFasjL27cs3/08DcIbWA1iqCCgpFWU9sERR+Obq3HtJPH6ZzxpjHtrEPIx4KJWyl7JSi/DUyqYoLcspt+D5oXiZ9MW01Ggfbd7deKxWHGQ0rwCQFSMe+cQXoxLku6KwBctPP+9g7by/Up46JPaM1TFC1Flm0N3WBz+Bi50bIKdfhbw3MaAuWxyj1O7U/ZIP2LONh2NWjvSM60tN27PxQ9MMnXyOPBYdktd99B5MsXYuxp1V2GgxjxT6fJCcIuM0qqdzZbOPK185twaBJu/gJ1/M4bpWO781oFiX1zlg4Jx/Diiw0xDdPbfvHUv6ydm04ZUp2StlohSNAbVZk75VOA0otxMlY1Fc+drna/qyRcjytitScfXFPqa993J+O+mO3QWbEOy8gtubyK9B7Pw3BENWMyRGKZlOBRCc89YmquvdXodza1CCh8RoP8BaO5zg44zPxT8lVSJdjjvAZhDqjeyeKkMnS8aRjZGjHxbuYmyBfacYcymnrJKe3IYnBBBnG8UOtH3s7RHO7826FNZO+ulx//gPIIIPzexnY4VK92FllJ1DWEk5iHOSHRyLh4EGdJwFVtcQ3Pd0ruCUbBrG/xb5ChHMCdbhJ6zGRGzLX/SgYk40+DyaVOIURY679SRiea3VtbVsPerYWYzoVrXpnkWSTibJNU9zkQOZKw+jqHYpSdajYkJ2H+fSMBYq59EeLTO6SHfvGQOoIaR5YC4KhH0jAq4+GFeMIWUR33TzraMaUS/oHEmr0oxFlUQduU1umOhb3fa/kAgsZHRO6em5otTPeKlO75UzpgfhUPwb3uKWmptn6lJE8XlwrErRsyN/logCoiJTrBSOhT1YRLEIlaAmrtjFa0JEev5eqYR72sFBJsElFacvY+t04t6PE+g7yY33hQL9DGwoeq83P3RD1hE8WcbNoBNGfEJZzr+AnM2Ua2107NKuX/2n5dEe93WgW5j7xOriaUBAuRPjsNAoGwU7OpQv9KEamZKLpMfh2b2vM3B0GKzBuqL/Zk/RJgwFpywQBnzOfo8UIgH9lDXxlelS1zKedqtJCM6JlIRor+kUjnLLRfEiKgjPcJSBL3anPqhcxHubRYb8gR3RnL/WB3DdFUKv8KMUTAUQ0Lk0r5ml+5YV3p5YtauOE0H/ktCl2dq+V57DySAmwt5X9U49n8qbEpWnGDWcbXrt2sKt41w4yWvr0iXC3lfzG2G/vHT4Rd4WIHdEiyfhWFF9ntZFC+TORvrEfEShfT6h6o1whSGOY8H7ccduGYRZrA/RTqUAQSxlEieQxaYOhNnBIqAt7B6txTHtgF1wXXvTm9dIlnXOIduNusVcSCx76uEZ0bcdSyDFXFl+ps/GNtfvR6/DpicMWQJDYi4xp95IWd8Nrm6HcAD7Zy4x1kNeiaHpEOi72SbUvMp8VgSk4TkfP6k1zdboVdLAZguce5U3HzQDiL5avq02wN0vha4c/TCgYNlaSKmruSL13C9zEgQ/5iDZWNhxTK7vCbtyxRSmtBUdtd7eHcICHYWsA1//3SmnaaF96Qbzcs3CTELRzBDym6eet2cBHlyS3zvnC9gXPXVbf9QQ+YOoVZgV+m1vS7IrQdsIHRTfm0aDOD9jE1q9P9bSLMS7KUJklcYlDxj/ySirht5nwi7crtTJEl780BbCHlwZX+CRci197pEYrs5cq9eAGpaeILmihC/50YHdqPwWFCWkGEzj8GEjKCW4a40Yqk/dKv60LGd9cVtyUye4p9wXJnNK/yNAxQHT8sOFDKCXagU9yhU4ez5Ga9DNq18w7/AjknJC95VejPHjc30HNNVjbQIeVOEyvXPYi5BgNfEOdRxlGLz9iQWhr0KfjGHVPVYtoblm5ohadazMHTEiUMGbzXjWagRIlVksPfrjOVP7nxj87K014Z7UFDp7bY9+uXuag2MGx1kWaC39LOB2Js/EWT3IxN+i8FrlrmOD1DVguB5I/vVLdhtfZb8Q98Cf2oP2+qJMjRJpEac5iZhUjEEN2Mv6nttKODH90gJkagdspK/mHnX4BSEMAEQQ2Mv6l8dd0EvhHQcxOwcX68Ezim4gXb/OYWUFoUyVym10LINMd65U9bvyDXaX4iA+S3ye4O6/KsmMGd+1TaxWTysY1S2Ak31UDCUofkCJynO/USsyn87c0zNLqEwby0OE5mhnpTzSbtZwqanGEXDRMc0k+V9feGVmluLjttaxRXYZXuUjrE9ma3aPdLuKmppZm/FyypQkZ78qFedDz9x1rQyas1aR3cntRrzlP7npcit0F6keg9ky6ykmRH0ofeZdRqDooTooEjuPM341Q6BoT6dMviypteJEHhqRt1fpRDB3kvhD3Fthwzpd8+DPfvpL9HARRBv9oUkgElpEjfwGBAAQFGAiZWFgXZCkW8SixQEcLR3rrh+XntSw/ZAVsp29eP7XiWByQoHiJL5va4Mhu6LC2DEgIUx1gDMdxE6PJuNk1k1/4C08LHnbZUKr6jm3TsLgA2VORfeJyxzOgTPg2on7UVbKb3IpgHrcRxr2FAhQhZwE+xn4fGLyYoSLSLPWUIGBD6Pt2QtleNtV6drNIK79yTHOz3LVcX31t98et2KyZ+PxvmpV6yJRIQfTdTV/xVirFuZejHRhX43ACE0ecItjIdqw4lP3Ten4LiM0CWj8XU95GVVxoo5QONlLFRj8x6SdZoFCfoPxqnep3bCX/FclQ6vyJsrqJia41G0qTXLAXKyhOoKVHlf6zY2wvLG3guwl6o1iqfJKsiCUS+SSql5qvDmK6pZ0Rp278XJnY/DlHdSqOG3pcLHdCsxx6ucwo15KdD6JsANm3O75t28fAs8kqr7RPluayfcsJIS5B1RNH142oEFWURJ/wgThvbECHv/Nhm1bCdZxeT8JuPMuWOKCQ/EhtY59wVR/mNRNyAWVmQ1Wbf9tRsMfOFi9pqFS5NgGSZgyAA8CPWegNILIKIFHNTD/Q6ses/C3gOmGkii5/yDR6fKJ2zKBm8ZYwpQxqP5iqdO+Pj6ws+vvmVyf8qeNLvUjn1vE/c0o74M6E+ORBLEQi5R1lJS2lmWW+fP2TALBQ7hXJL/ywQt5D2byseeJluKbSuXdwzXWpNlRK51PyMQRnKtXf+p2M9Sgr+iMdsJdy4h2WNmHoHVYReaB2DI/FQzT5D5eaF4h3J98inD4KaQIP7TQyV6mlssHBqfqKxkwJHeCoCS3zQsMwWYka19iCtNhVXFmXnHbvxXVrDdrklAhX9mMcgDQOPDxxEH3LlceXvTyVlHwy3Gzz0til2j7d4Uo7yLy+t2NODpwr33r35MSQjsxog/mt6sS9rajQ4H3wiMGIkK3yd4fIsfNUelMAAfB1y1LoIHwdZDvTtRe3bvcyDU6FJ5wEI402MTFxXnZTTpH3pbxDOCPwlDNfYoqicI5tec0k9az8toM+JjQ/nNCj4A5xa6adgjClXNJ504pb/7N+qRQJMMAMuTfQH/De8PcpetBj26275VarBxBNFLKBquDsaeg1T1+KL82jNO5RxpcSXLAK4kCOwDndMGlPG5vGI7lFDo6z74YQVZq5TqqV6hBSNT/BMC3/Xt1oVf2e6A/EXipuRB1S7KH6MXo1BOsfQe1/79rgF0GCOJCOBaDjLwL6UMpfG4BLVYg7MEcWlRgbtzTjTx1hhMm/glv1PnoH9WRXLtX0GiyeNaIZHcjH/fcfy2eqVJFrSR25ds5GeFWr7iJhYGk5t0wi1xSEWQaIBUrwc7T6GksQk1Gof5ne8APf6uSYGJ7E+OneQuN5ZUrZWmdFo9qRHQgtR3i1+MD+pySj2C+9q5+zdyJdUwFg2xEjyLIJP6shYRxRvX/697Jd1VYXFGZNl9coOjRUY/g3VGMc5n7CpXxTTjxw+nG+SAtr4NMCMhARhiMFHcMJ6Fs4aRbLhr4zJ2UTLjdULjBD1JXGY09apgHXV+rKwQC/eCYATtdG+z+mBIU355HcUHgDxMAA8/pNBEjiWiozrHKY0CwfftEfMbTbLIyh0GPQW/9YcC1nanyRFCQ/pUBMe+UX0dYghYu2NYg7i5vNQTDYAzooXo9jb3Yr0Hz/CXDj9Sm5cVTAlMCT1sd4qQZmAiHPUOlKf27clMS+VO49mSXyvYItqOHKX03ea7CNBACGPDlQxF/SHs07VthBt3QN9EEOb09JFHxRNmgqpWjHOBmDZNC8a5KNRsDArGUQJadQ9SeoBQGMjxSYzwufqzePP42VB8JD6qxgL3Ubz2XB8n3x6r4MBHlsmyNT0MrKYrfktLqixcZzjr7PNXB4n8Co+PidljG1uIRBEQbeH86hfrwt0A/bHkLSaOpvHXzaIZLLYFTTi+vbRiX6wQkD3kYu6Vz9RaAXLBnDIPzmZ6WPtrijxVvko9oNgDN4MpbNlPI6VKON6LKL99ZrAsOcPuhXaiMuNh4kiyixAwP3i+oe2sDQX0ZRXik5LleKz22gF+x8JWLEeP7AxwKy6sbeV8QObyPCR/qp/3JMhjLR7GEe/Pc/YualPpLKrWz4Be3fHjXR2mCO6ZZg0Mlr7WH6uRGhEdgcmuDS+JQ4yQJU2kmgr/EFL+bX1AwtRHnrYY7NOQb9WmS/mXkMXlULwdgP/MUYdM9dH0Ocyblfc7wM1ZI0QS2kkPpcVg5tLk0go9qqOQCviqhe1Y+5kttIM/kt3RjDSqmqHr4zT6LhacYLcwI2+nx2Hrhh/GxJGEo4x/PGbSFIAPiyvqUaKDEViu/wIDs47z9ScOWSwWG1I1gXVfFRNG1omXK46rTfq4GuW4NjXkCS6ge8AjX0bILxMyP6eJwiY4ngi8nqq4wI4cd4yO2Ng/kNXYbZQWR7P2wWY5cuehOKIZ2v+pJcB6wvFSomTQep0l2L8fXTDEtCATS4kVKWv/90HSTmJylnThft60wOG+XVDzRYWyRqH70nI9NyRlL7WenxeZN/nyQw3nFTf45TxYeInlUniMMtcgVpr0aGB61iw+Mf5pDoDRe5DE3OsihhFzxe4tdsAM8aOsgwosxryknL7qEcE0kYnbpDsz6U+R59RDYgV/2AJeO0JbiyP4FMolSudGwJ+sCrwtlzGAGifC9Aj9Y3E8dCHD0lzPRKnU9Kqe+/L4leFhkMaMjoQYC7k7vx/IMdswD3P63tM0WUIYNHQ7hZ6Q8OOSk5R5m/WMEqk+1yrVuWplVgYLDGl8Xim5O8ur/Z//PqmburncE3o2DlBI0ZK1YQzQLphogvjdDgSEv6Bi5+vqvIL9TlW2flMmBi/fb7hyfc9/qcCEVBs+vJbQQ3spuwRDSyPApvubEhvuKi4EbBvZDZ/9CY+3fUGZoZ4qpJoS+HhI1KY45GB6l7cEMieTWFha9AaC7XXIOZ1amIFZdmXbwz6rvWqBLbm9ab9H1GXwr6gic5zBpG/KTfHW5wrkc+xio7eUsK8zKj4QauCvsVRfnG/JSr4KEwf996Hgt8OLsgKED8XvieQPyni9ic10UmVndmTrP/idf8vUMYkRxFiLU/A0wU4cqmzm9i3PoP1xZ3bVrw+lyMUizTXFLlFcVuZ49+aBlPporgfrGKrUDzh9CFDYBEm/RkqrCPaClhtt73tbmR3FmaTJE1Tlcu/gIzxZfydI7Lk7t2dJ3BAapjy6MvnH2G3535igLZImyK69ZU5UeT7V/1cCrYj00HOugBYzAna0hFX+SrwJoFfmyVvVAY8CbWxMOGtWbYopJnVISTo7bcygFAdNXVPqX19osBbkGjQ3sBPrLtX2i4rVmfy6pe4sAX3QplFmHgs+mSR+udUsqUDoP2X73lyARmxyrieHUm1gYYuq88kqUfXuf3g7ldvYRlZWg2oIMciASo+wL5HbOPa03hbutDSrctVWi7vq7yrplIJgrsntslB4mq5eD923VFVn5XfRJ2hAbTY9/tPv2OrnTLE/JekKYKbKBFDTjxof7/l1cURSYjJvE5Zrb8de1DtHgL3JqHIcRrbA/ayBoysMKsWMGWeYHAd6iCNLc2TgZfn4R7zM226HrhP1TShZte8FyYm8SiKZvtX7jLlDYQRZAtN61K7UfDomKDDHBG9+/hqYPuVm4kCkij5/I7n5A5fEA52artdcx5qfLyz3go/iYTZGXscSPn5Z+g2PCXh9YP1UddMF8L2SGelZYiNQZ/QRo82WI4q8jWOyRjInMza3WttQwg3PgiMlfA1Xpx/zp/KcaKLkBLx8nrE+ZfVkTU9FnQV+GYdCms/7SPdeGaeqII/9gnCGxJD5ind9volspn8U+1ucYy0FjNN+PMhMTViToFpXVUBIHsCTKIKSnd39csBBG4Z3ncNDmYsJ11hrp0XHhGB9OxP2hjM9bx+Zx/qSKioalEZZiyRN/WINHBcRWgrV5hZwzftoUa85tzVdflq5g5/axyXsaFi7KF6i5Fm8me/4ieMQFKCp5TkFm6Fc2MSocIgOPkaiJmmOyAyEAk9m7fFIPQ0tjgQVHhmG5tx/uHDvX6G7Ap0lhbHCfoVhbbvNvfJjOHQWbwb2I7o5NOwO14oIetk7k4nv3oKBepdOv+9+lMdxenjKloqlfvDYoCtRhjarL2VC8Q7TSqSN7td5MSYioclVUfUNSMbgY79CYFZ3clfKamLZDsQKOgcLjezkS4ZMNk3pQSQoWupC9g7JzLoJVXzt8tOrhf5SkL5WxpNXdi85n6QBtx7+IShm752SEcNfrZUAt7RFsOW4dDYQE2Hr5wgjrWIbl6U0G99Qcy2pLloqomnCQRH+bcP8NTyCAGYyz4DhkuD3wU0WBkdViXbAsanohfe1jI9NL1B4yOc1kCe6QjKdLMbhFBvnbSjSYKhCWtqfDeoJfoB+ySyuS8moizDNXYFA85Ne+zRRnupatVbbk3rM3NEXZfjzLzXu5CjXLHVA7wmdWOn+IM0Mek5LPidSefdyE7276mwMJQH6v/Sf2Geq5gxTJiY+br3L5Q/vDv1yJ5PNrv25jKRTN8XCajfnOwPGpI7LcPYRFs+HJToOBN7DsEPDNK3bpU3EbTnG6wvByk9t0OKWTgtFTc0qjmkYytXZVhq9U59MQxLybDXNoYMENMXg9jITe/TeczEp3NpWx1mCipN6uANVjnrxooOnxr2tvHhj28Wf4tW+MF+8uHxP3TTFtdfBdBLo3rcZBQAZqey7Bycmdpq2jSXruFGtoRcpHRQ0WNKxU+C9KFu2hotaamDr+u/bWoYKynQEHopUyBxjrSf8FjqeQDQNK0hRVsq0Nzbt9dclmyeA52KaGSxFsTWkVbIBfHcIHXJsj98ZHsVfnGkbLU+l6gGGMCQC0+0JUxUzVomeh/3bEAb271341nHSzuyKu0BQqc27lxlT26PuJIVGADIWWabxWbOY4FcMrnvs2KOoxNr3yzQR8kvF71ZuvFpYlNMpls+iJsG9l7aCFJ+R9KDjZFR6k4PisuqqkTU5dR7gfP15/aXa1MLWtIig0ARcsI/jwmo34eF3AfZODI92AK6uaI23gapGiWT2tZDVC35uIsm87MKYYs/QPlsOwkjZhEphkcP7m83HqfITxaS+0NLHE+dOwY0kpsSnvoTekIc9UACVqKTHMjX0TOzOhMptSOElZwnXY28Bb2lDdu6j6Gh2Oxak8wMGATjZf7ge02qRFM3cpGFjYikfGEeZ2FGLI12pQSSNJjUaH7bktbJOtM2mLAj3YS8H/MNtrdQDnBL6BnzbJrQs94DpfPpLrXemUfGpT7ftwQo4sYbF0s/E/czImG6H9HgFlBdZrdCFeklAJIAn3h1Jp53vAkrV/qoEYbp8GKKhUb0E1RXXtV3Lo9nj9RVq4fiONmkzKpRV1Wl9oAtSHMyY7rqH8Qic2XaRWwUkZJZc4jkrianyrlHkF59uHlIsle5Ry0pWOlme5b6Ko6eIiBSSMR354Kkx3gc6bsUQytD+HznbZpIQa1N9M6ra6xLYYNbB56sYyQ0U1X5z3HUp2vjk+gNGQ7qngxd/pFLbw6CYEejLX5LzbFt0r1OL6cUuFc3HfaT1d0hdnPHT0/j721cv5ifbbMlY1+ZsuUsb6yB8UnnQ4lkn32oHrAUYUg5310HUKox4YalffbgJIEqGN/QI6MDThhHe/Gq3puYfc8rI3kVrXTOb3s60dneLATTJ2+tmstRXdRuQ0lgIIYgTcj+jAivkuQkm9WYsz6FRREglzVy3L/mysZPKu9VEunW88+xeeVD72/iNFm2QcirTM5lpbTzxXFJdev5O3zxczLjT1VxrEMWQUF9BQpMEZ6MRjVapsnvTIBQPkJVdl3Dy76pTaCV9YzHA97N9Gd79Je99fpSL69tUGlQGTB1L4OYO3YX92CRdhoyKsoLokk68dUr2uBNI4pnzfm2tKjfLwOqSyZOVJGh62xZCwRTGOWqI/D6Bd2iHfV7oY3pTBuayw/LVj3dIZK7MHoaO0lddFCOQrinPjSj0nVSgzSIrQiqm6UgmSoj/OKZVKDjj/BmhXW/iOt3F4yJpfCfwO9LGYyajyE2U42fjOytO8vJO0T9Cj0O5ZtkjGVgqmp/QmijUGtGNLmlg9WmYj8FJduzItOoAuigO2Sk4uwytcJbnNgkBMsX+mJzGFe9DQDgBTspgAVnwn+nDfD6M7GiTz11w+FTpXLKQcdsqQ+ECsWdJ2B9Lb6JbiTTqNvOKn190VWE+kMG8qcpV3K2arY0PTGLvEUEYFActzMni1oDYBrYjT1C19Ia8ueAyB/xRhst0H9y6EAtFD5BYPUv60k2Ikk1CZf2jSHormpobeOxlWH67APV1kS0oSLRRYvcJyhzIP71cTmNwlN6eCRkMbRV0cmaMiPPcgOBWkFMeL8szr6T43wLSLeOzD6QebgjLWEqjz7TUBjOKR+srpeMYnMxP7nVDrbtJ7D8CoBw4Cj4tpB95M4uUH95/gXjjOsFMGoUFZHI+ylP1kOB/QHCIjHHM2wrkDjyNKIHmd4Z1qnVNxAj8cUZeUbNNTfdMpv7U9bkgwy+57WggjVJkuZj11rvwglml4saUrC0HEvaOKho7LOdOx+zlviE3NqGuhm1tA08oWiCUqqGj6P0CRJdctC5rZ6ojtLrG/2FKQFcn3LrniTrIPXkzJJvtccdhC04g8rs5QgHsxsBX9XR+1HA1iMnNGu5LduAtEctiQWv2OPv5dShcFXLleaYshdl2dgVR6b3z9ut2EcCNmMMJ1Kqy8kqJJWj2W/MeaUhT3xq+WrZ9YtIntV1v0ZeGDA/TIfKwIsq9O2xwht3N3AMJ37gsV6jpCEibkGizhlf7KnaPigoFMVAoJ0ADBgY4QadR3nxneWfIUKRv3VBJJTt7FEuo+pLzMdT4xOm4/4Yl7UQ2Raa++qDw9JMz2PdfY7GbmObWyHWUYgitQH2TIs/MwFTHinDrnCPHt3KQdR+UfroeFCWWD4jS1OCAwpxT+wXIPPWSGiKucFwWTCJtR0S+QWPxXylZrnVYDBOFAz5CODR6jdBnZxBnIGiKo5FGqxbK7rL+koXEAMZ4jPo3BJEGCC7tsnHHUb6JrvDmzdMJk6uykilZ5uTjLlpZoUbYthqaD2T2z9XooyILgZyefqUjsyIBHiwDovUzjnBo3pyRW4lo8qJCdhmp6QXczaAJfaVy9s2HVqqzJAlZejCm4ZzUVkRqDuTi53xi4lEX+NGqb+jbg8uUy4rctTt+bLYArODghjlxJjb8zGz/BsxJlnR0hXpTWrP0LA0ZGASnHAyroGfOrYP7Khbev3UT4nP4JEwFf4lH9ynOuF9GLRe9R2+ZgpilZEyXqeJu6X8bMJSweUvMJhAanf63JtKfm+Jm6p/fqmPV129CW+gm7Fgj6mqzJo5GsLMkvVmfnjgTi+BoMpLwz3ijWFkTGaWC7qLYbBk4XQPTBVzT5aWawbKKxH0+u7hbn9TBVtpuhIXXPTViWTTZYPAFM8CZTB45wey0s7rNZAp4VtvBaqUTB4RpDZJe+3uO4JnIy2+iDlHka2pWwSzfdG6+DFM7XLco+vlm+vQ6k50zDYjvktN7Ahqzk/z+w9PuFhlyx7UoTVIUrxapoiAp1+ezr3SIOuy+Ye+/XDQdOFR7eefHr+AWh+iOgI1NtCgkJRk51DIIFQ9doWYtrQ9t79BHGxo038Epof6iAFXEwGCRRAsc4T2QXxp6bs5AJepzzFXLmb6Di966pMUIAviqQryamrNmN71KmK8OfUF5VT/IXl+q3s6ZOJZNPomuHQjALzsPwR0KrZ+ewIkIgv018nz/v2NMgkvnGjId9WLT/+ImauKZAMuCcU9Rxpxa2EYcSFfTgJ4RNeEaOlQh3r+DFbxXvxMKje0SSczG3aWg98/nuFPLlZiu2SpmhJdWNr9cCtpNsOxGEDcuv7lj1gKHfPcRCwhr5/X1ajEtZueuDmXwDokAydmFDTPQdD0KliNdfxXMOdr0FZoPD3AbR3E6p/wSaW8OdPJGa/4L1Vpo0AaOVzkWqcix4oOYC05EZJxE6pBXRcLQ/+XuNhkUkfJgWv/DW9TnKjjg/zCtBBqbWObzzoJLZvwwNkFFgLWowwDiSMbJemDWS4HblS12kWhim4EWVlHiP6ZzlYOfo7+JVIqxgWQ8vJYMKiTLFp6thLpESbix8M9Dy1cu9YC4eJIp+A9QzWxRCjqyQb7Dyx+V2FVdgPWqrRSw0La4JMUsA95TiinXUFYK32zGZ4vVOOPUPAU5IcOJYSDGl7LjH0xjImvdbCLv5/9qhyYsIYzFzmbHqovtjuWHe5BWHklvADGwTJhkyz5PIPCexpk+kcgo5v07cVrJkWh0we+Yg2+ty8yTarSa444wTjRogQRRml4PSt0xBDGuGUcpLsMxEdQIxTgGLIi1OY1G1s/wSFElF+9TzMD2IY6ynqOnfJlNBewqJ867ktJXdH+nwa4iqAJWFLPrC6z1ixK8JDN8hVQhfafelHE+pl1NfeO/coAVw9ZO1hAOYf2qPvPeXRKWjX5QxXacdgk+zgAKOEKrg6GfGQXwNDdFuhuKKDPaqEaLKxAuIUo5323lPBI0HME4ZFp/V0kzom7TUU4vf/FwMxS1C7YeJjUG7skcwwQgGxP1kHgaGqYov9dCqM/GaCTw9IFjDgd9pHD6Qdy8IR1RG/ywc0WWfNVJa73kgEDYoMGoHiQgOEjFGQ7kpDJXCFTGL40N13codObznCCojzbwbr/GEEMtEVN9ZRLYjpA+diaUtnFxWJUtIvyJPbksTkWHoatDxbm8eYhPWcOFPZEUpkW+02Qo6zwVvUnIg+hlXA+ftG1D1NSKz7yrSDA4wL1AI4+COWcmGcLVPUxNv3GqPPHrQL93HKGGd8mckqbl9rNfM4AXSf5ZLVWkANhshBdi+Z9WtXiJ5p7A2B8JfJaTYiju3Wj49Z1MTZ4zaX+y0lU1susViF32w8Two8M97+brx651R6yAQptQM92iaM9dB4ycLRHbmjPhvqHJMPFlPrGpDtAj0uayalHxs+6QzkpXiADEIw/CBShk1p3xlAKYi4RG2KzSZ1rgHxhuQMqAW3jdhUyTcUnufmW9FBRCFZek/+8C3sOXr1pAFWwZNe8fOGIC/FguF568Jy3hO67VBvvoJZd0vajBjbvVSvJG3XiAwBBwzorhyxRSpJhPkYY/ppCKdvYdRJ1r4iTrPm4SfhxRakBrXLoX+YkJr5l2ShShUbV2EhFjS9XIGsdnyO/wvQy9+RIoRKjCTPdBnYi3kt1b8j707og4NcHGlT38xSma+2iXHJ9C4meVFQFiacYFtnKBlWpjynsaiqmu4C/lMvNAmUm40qruXNvCuKOJYh4h/R+loI3FwbvzE1Vt9U3CBUHj8EPJngXWJ8s6wEy3h4hEJ2bK7Sl7FbLKEez+GRQU648OjCPd/VPGdx8d5qVvm2qxLve2AwcIzY0+fP/cj4DlnK0bqW+mjbk91CqOJ/x7YDpTzgkDmt7RWE7W3EJU4fiQEqv2h2CEg7r5Iyx/Z6aVKhhS9Y51kSufm4ilm+fqfbbfYtY+3zZEWNECFW5IYnYM13JhrMyq9v1BZcsMEJ8ygEtoXc0jFWCw/RDV03GRGT6MEs1CoU8KzqFJmN9+dVoYrwtd6i0NcAET1g/Sp6kCLKp0xPx4WVCsMgVPpkOn8yr8mi/FrLIgPyhNGfD2lb+LiJf6Ob4NokODQ/ox/ymK88OtbGvsuw6/QOk55gGX1UPgZtvj/n6gYuJbOQ29u2d12aiIotLQgD8A7ihwXEGBMhtXAfOIiNYxQogGVOQFEmqD/rXbKHpDHTTUcLDDHXHXgq/GKov8F2UNods3BDw4avH9ad280VpKUZNdHrn952+F5MmgD2SKIYwisJTDSlm86kNXCxHuwJogH2c73ok1742IgJvC6DKPXp/X0+KZv4ZmUqV24PXyLP8/r5mBvQLjrUK8kBqnYqpgQ/afI4cnI6sudobl23J8tijp07O18ym1BVzuyVLvNSVep2ZmVSY0yZdJQxMY0C+xMwqJ0AqydFdYIo6vqqifdWDDSHq92ixTaAHw3b6ZxP4896g86XYIVgQ8phxxSz/rjcX1XmjEctT9TetpF6IUW0D/oCdEBLcg1wFjD86EIPa2xmV4QgEjjeMD0FzE/sqTyqzeu8rYr3v0qNEtNhpzSAC2EldpMjdJngkvNd77f6duKJM7xy8TMv+0+ZDzbCwcPIof2eL+K+A6jRwR8Oz9T90Y7pOjEPx1Ae/CVa2bdopQ7o/ACl6GsTndCClulxcb1AgVPaWCaSODNlbeW7jr3XCG8E52lkaDYKT0MpHWCB/LFPKba148tvFwexiLTfLSmZcEPyLkfrNTN76s0JIGYhFH28AhMVTvWC041kRK4xl6IMJfz40fedOu/hJQs8rmhFU8lyyZTVrb0Xau1DSD6i03NwPiyjl6f80XLF5duFnQFs26SuDeTLU7es0VL82Cwnu3BQvtF0X+6OPIIQjojI6464WtAkSqbQLBeCXvN4mvpFFrvtplel1MxU3HI2jI+/JhKU2IOUEMcU/r0xLSz3/WeRnuHuWnZUAZK4g0P+NDQJgDc2V9xEhfJ4v8rMOfsolpp5ZLCypfFmGOnY23SluANmZeD58rnr6cPNSxr1B+Tl5HBfNni6SO4btI716fVmW4X0FR7ZKjlsdI/Tc7oABGNApzMSDCYtB/RBJMglJfROwMXYmE+qDkUpz6IA72t24Nzu+GsV35mWr/sBdW0jcpSDaq5wDWLTc7e7NXGX3jPtcghnoaXgDHg4rbX65zX42VyXqucE/vf5idL9SDzfI1RSaTciYyj6pEHLzLx6KfHqG2/kj4698ShclVaVQ98f0ATCMBpjCdQV6va5D2Svvl3fWURyr27GXnBTD0IP3Fn6fMwNFCTGLxCQsEB8r0s41lDRHamrlTQfEJ6iYFsRb6Ai0JRbwRzDT6q5Kbu2WNhAyxpJg+c0BfjuWmn9wq34lmXHu21h1+rj/hifv2Y4+1WjSl0IHUH17H8GofZFfEeAjHSwQ0nu+5HiiBssMei2A44IbFuoxsOoqedm8AznQid2XaM6+JtkuQZfsTroHXE1xDNvl4GLInUV4EtjZaOr1FqIFIzmKl0cDsWO1TwHCcp4pVYnNrW2VbGV+VdZkGc3R2Y1racrtdeEFjAMu2ArGagvnKsk8s0nCeUdNqui6XhagVvQOSzrx44RujoHSZpVwBP+ZglWpGitsqd3X/PCFoil8bqmXK7E4n8ARU0Yu0PP0049VAkb4GiaJHcthTIim/1shIbsr8R7FbmOT1EkQkAViSJOI9OpGe307hFLB2yhJqxPDqwynuNlpnOjfKTtu/0O+vvVKkFpwwUq4oiDjLcpnG1VRH9OfG8n8nnL+rMw/k1yoh/KQ14R89Q+p4jBy5vUgl4ROBZpef3TGimEuZxdFIrbGVlcrxexZj79vU27rMg7Qkhs/OKqu61FeLvnJtdZUxRpnIkekDs0iIdbQZbUwNbIq/Pm2/+xXssM3utjT7/wyJqwcaW9rxP8lljF5iTCfqKTS2fTKkgDEAS0r16yGkMn7/IWhG2U9Uyz7GGgMO4X30dQFlDGybzh5U3ylzQLpcmoRE8lnC8mWy1X+hvR+LmyrC1YGjt9ItzZzlf3ntZYemEYtXj7wICXQFNAwUWo3O7pZkRSZIUhDcpjRPm915FrVQF3zeIh626NktbRNgYkcFo9TGnTvSR/QsrdJW6IblYOARRYHjzyrB+fhEMFB0e+FqI2WNA8Pw6XQVOiIMpKWajme5YVAwSSAHME43+Eb1N2sMRvnaDT8ltpirMPVe9RJOgD6RcDc6fG0pT0jTe3YiP9KTOYfCzk+1BTPLGQ1mmCKjkc+0JuC/iXGz3cy4JchyzCQVM3zp2iurkZWsqauGFv6zmoIHTt7ztrPtRScTzlBP1z6D2kXZ+ie1d63KjTmFsH37fvfoykyNobvwBfgonT9SOWZmSeX4DNMZw6xjwJB65cI06l8TCl1/zGumcTEUqamecT8hZrBjArchyfwSrDROYEBZEf6SvgH1U12+PGFhPzzL7NCU+H4nTOTSQ4j/dMO2FCJx3/rPrhaKq4cWXiLaxma+S9xwsHt9BHLAforLAH1p7EzHazWyt7Km6/B2kNzZSgd5lmIuqiRUQgXx7BKWxeJsmau8uY20D1ehRc8Sz8JCOIrmO8Q0oqOwlnDn63udWtRY9LBYHg4eOHCW5LtfD8i9yNHb1Ye2sat461b0lhQpJg0J00f53gvkDaz4PR5uKep2O8KCtM/Hd+vmHwA+NA8JRbapOmjoAqoMDpZPY5Q0FJLqk86EC+B9RhXl984CZxHouNu6Hnzjw1D+UtEkGY9BYxdJ+3Ke0WlecvvYxElTv83aLmx5Ja0LzKy+mp8JLdkV5kdOiKuVk4lrFMRx6ehQlZQzVpKXqiXmJXyvn2kfkbEZ5N5s7EIEb0FopH9w9KdxPc6i8AEFr1xKRBKjG8wTnm5CxglQkqA16VEzRZQOddPmD9hYfXLIuQSb3kaFUpyRFFk6fTbIrfjk3WxZeChEarqZuZw92QDC08WXiFcJ5bWDutPA2eAkyJdPHNJn1Joy5ReShrLTsNEW7nta0Fvoa2zQ/QfSc/yXdrrbueD/JzraMnJl5rZ25VC0ijhK71wjnn0oPMEszuk33yenpjpSM881kL4BKJIcU31+ev6axERuiI+kN8RxnNrPsLQs6wD0GXHgK4OLIW8n9hXmSXq/VFY+qy/RvAb228qIw5OrjjeUIuYTumgfT7owA5+nDgFv6GnJ669UB3sEaQQD3snlsuqBWLB+FTAjPydtIXffS0a0riJIukQ4AtkG4mNpiPM/7ScJ40YeMTiFSt13zGH9sYQ5jFOZdU7mHBV4ozBZVW+QR0xgYuN3zujZc5Aohg3tlEpWrMWci68pvFIy75R/X+NOYlb0xGsPIqonivSYUGmK+UDxWkjsCT5AsFhwEQ4QhsRbOZZtH8qwF9A8ES78s7k6Y5INmE4sQXrDLCs6q2VVb24sZhxEHN4KbcZp0JLmDunP3/u0zCG2uN3oZoOyxDudRrYehsl7v/ryLB1ZFAJULXi/izFOO8+yzX5i/QjH+m6j1v9hu3cro6uwTGznjKS99hQ/k12j8lGVGloGx74N1a8nzGb/21TtqwKxb9Bl1vrf1C7/X9NQr127HWDeLw54B4Q6ERKq5i773yjkUzmTJD5TfxkGwl2DKSbbJT8+5OeP6YZT11+CU9FbpD6aDAAQ9YmhZrZCkZo6F4Mk1pu22+KpKp5eGDZUC1yB69sjSHlhmebyz6wVvd/lF6O/LHlAm3uIBPfC8ymef5Ga14TXBvV7o67E+EiEtMtWEiyjq7vvfeK48vA7FSf6PBY/gw6+3ZTFSgA7SjuMfhwyMRKAFqEhyAADNgwNDe7ZE0Uv6u7whOMg3KXNKHFxKb2cslE+6QoWV/+VeGCmTo190lkgLqNmdVtXwDDOlbJ2q1dOExyuEPFWwDLtEOzseouE2ysmoQOQYIFVJJrHjrmSdAA6N3htO5iZkxE8PQdVCjjD7NET+Ie8exttLsRDVqU/I8y0XevwzdSyLchUvJQhL4KxqHxye1ioz9VyTUqCt+sFWc2QsvSQfIWDFfN0yhutU+Cqs9BLmI3ehRAy9mUj5TX8hCaTXbfN6EY8Pwu6RAOXbsmgESJseLNapGZc2ibYHE2aQPZ8DnSc4BfHcajB7rj6LMlZ64EzT9MPAWNHFjJ50CPswPkNF+8lmy7dw4z0kHfzQ9xy9sYnYX7MFILxRIEDDQMD419wiyYlItrnvNSgLYoPddvw4pE4PwpZ6n6ppqyLkISclbgwRLk+hkQEG9KkrG27OS8hqywnOzK0F4PZ+S42Hm3jMZQSZdATi/cVxRQAItMSWlj9xI9nzva/v0X84rlr7e0DGTVK9Tj1xQshdMqBDcysEjwGbKcv6LMYr7r++LLm5e1ptH8N/FdcWrp4O9UwC95dqD3fwO6dr190WeACrcgei30QNgQF3AIvKmp6/x0lWeioOY9KejP8bEoAseCtQ0E9WDC96HhxLOtkEkDOjEFW76BuRSut/J9/lD11rnEAKvn3uNWnffRKF+OZxiSyuNYJm19yO0La1UcPrYGP2Jt9uzzlmB2GKb9mwB8PyfUiFPT1mCTwlDAoQsqFh9Xawh8sixwk/W94z7RW4coRdCTjaY7EGzxlyOfOiDKaEIXefpsoWFwFtZAWhFHBU3nFe+1m4UufN/q5CO5Ps4kKMV71r1c3mCkm8aMQHb26q9leMs7oefRFlkD81I6Ks6mA2gJoNlTvLQ9X44xIfXXNJlCJ26b4iVL42cQ4LuH/MBxmI1aEGlcSNy/nfA5WZF5Ppa2U5K0BD5EKdbZ+Qe1YKxaLcJxVJFKGqu9fYVzHp+/68kkjwhzslLSM4oSXwfBMNnLH3NRYb7yr0Flkk7P2gyATGLA3YUuCnQRI+0YwYrlbxSnRumf9s3IZZ+/4PzyTZsEjbCHPSAz3lab2TQy/ulklv4A9k0odHsZlSvna8PoNjXZVs2eMpmYEtO3GNWZ4S63D9OqB7Guqkqw/a+fCiPfwpCeREZFJ5GJIuBG64YTIsE0IYM92aIIP6QspikPE/XesFPZrLDLG/E3P6GPblxACk+wXDYIgid/ARvVY3gyyN94sQdt1BkzdA5j6tX4/9lULG5SQ9Uyi1nIkKPBc32qqam4/q3Bj1/dmQeK+/dV84ioVbJkWi92ZXbeVCAwanQg8VdfifHV7Q9et4lE5+QQjHc3oZyT9nhRFZX8/KIDY5GohLTGiafVLFi6skOe8H8KMcx/PeKcjFN5FbnQiHvb065eDo3y7AAivoKC5bKXfD8OK4R+KJJDXGBkDj/EsHtirDcipdR0j3lj//ZAhkoJlHmLVxmYl71XjCxtS4BYmQvzRGW4L3FJsP3g+ZMN9KvqtfACI8LSU65JrpreO1XKEs9RbDfZkw7iKiBpCCdLkUbW+YO6LgUEDWDVAgh/pGTK9f0JFwfvmPDM8cmKJQMHjjnLpLVc3vPo/gXNtpLCF6yhL3YEdJ4D31VtMMePd5GZmTUo3FnscK3Rb4CcXLbWBDJDgw9FhkY+YfsDJ9qhxOzX7HVDJUJGBHrkMVVZpTSXG6Gd09xuyEirC5cNMf6WYygQT2OO1Ayq5pMFHVm+ly8laMXvlS+RZDQ44Psd3HXJ1M3W6zqTXMjUAgyaTFOOqUWuOInrqMR6x5obCq9WQ0z5169NiBPP//wUiPYsUU+bq2I6SsXRFwJhzIdLHePtp8q+4M7tdrMeXGKIS26zcfPhiuAjVFr58dF9zLPy80fgR0EC58i/WZ73QPKWwtaggdnjPM31+aSKW8HW2VmjjzxQK/A/Yb2jHx4x09WObJqbo8E0bC05iQd+2fApoHfPTr+V7MvLgRZHSQK2lyIHfVvm1MtT0NpY3/7fJ+Lxbrw/MAGhqq7WlU086RJ8FP4Ix9bEGhKPKZSV+NXz4k7cLXrg93S5DjiPZ8RQHRqMQ7a6qvbqBwTzvs482giayEz/wxnxv5otSP+MvItHVkXTpbJlNh2PMQIe/B2+gePJX81bPsREWjNDPKXQVARGq75vniGGoc6v1K0BnaIhF+R2/uFC0tIddDA9S6QS8irb/nZoJGED3MpbtdtdCopAWehWriI6nbQKZJrP2Focpx8pogU+N25rnCFX6Ak4EbKdDRccM/Y9GhskL2vtf02UFOPb/I2DbTr6TGC9IH22CcHCxqzWoHdEJbe7PMc5VJ7iJM5xyV9WnVNkXmOdgiM2vc7a0DRv5IjzIV6BS+H81Ss3G5grThFv1rmSKD51BBgdWqQ2+lu8nnmClNB6YCBNgCGIdOg79Oz/srBfYyJ3vcJThYrxEMmQpvjjjPSxYrxU4JArKbTsFw2OFU5hVs6RP5Dqk5nVm61fMuQevz75sIsT1ZenMh1G8CJnm36q9eU8v8Y0rMIjtIUII2JdQooi2FfprGwVBx9aW5ibggA+C30d3EMue49Pw4wv1t5sBJFjCUEO7HisbcpqoS174smtbhLyGvH6C5CdYVfo5XlJS3xGPHgeaj/DeNduErJJYDJxD8szn4Lj5GkmaKK9iUyp2P18eUkDzj1924vZZJq+xsolCnkfwMoO2k5HMYArOZXOvqhgZoSeg7GmXytMMt65wZsppHcTxhiNy55Im6gwKa7U0fKdYYwbKJTczJzLj4ECPgOElMIgJawnN3PpTFPNCkfjjS45zUTacUS+1cr9eZmP9GbHrSVwOQKcoD9vA+R1mY/V2O7/iMcVwyBfG9Y+7kkQecmgjL8JXoehmk7RYpAXNef/ePqHRKX1ISF41W7CIyHuvYqcQQqmpKCfxUTxlGNkGOOOyg+KtCwiEIVndvWQgG5eAIKwMqVuTexNTyr1IGueXiuI0znFCgllYMjh8Ml0v+GDzlDewgsKs/O51vl2ozFunTSI97w31rR3nOTso3yjZlWqOhFiWJamseMMUlIkpzVvkBI1dhAuZb3QA19m+doEToZgpj1Sx3fFzepiTsjJDB7vUJPpB4kzxZsFPH14eK8CYkbfe+KB4ISyQuIlYbxgUHwWCRV6ownC1YamAHZGr+OiZh/U5k6VyhyuhIThL+CbCUXrY8wBvvW++kwDU1A1NB/U1RsUSWy/CAA2Ginr/heSq9qwwG1eCYPSCr94oWNBspir38jKca25KlmgmA/ckOz20erlfkGKzJaMNMHo6ojfmm89/+/bAUwvv5528prCE6rp2SFSzlxxPlNVumDz+PJanUskVcgKO3aCTX42v0qSNgvqFN5ZR3sVsc1TaToNSVrOr/oTa1JLBt2IKEmnosbxKc98bVESN8sD7/CKUue/rHRtlv+MwKweGTxRm6/frS0J8MXM1N4ZImCyndaq++FvKyJ+kSn06iW9kEiZANAYUaeLbr977dj7r8TF14MvQr2M0XvwV9oGWPomLj3MtEVgThhcr1ALsDpazqpJ3OsdQ+GFXaMLuf0Uk91My2R+YqezEsV2OSbfLjeQyleu2quf0NWrtA4AxCvLm+zYgSEdp/w6fUlTbBuWeoZM2F0uaINn3k1P+wwxDP1M35JHRLNXoUcW7ut9lnOl9Xvn+0YiiRQI/ghiWQde3vuySD2SsNpTdI/7WxkbyxCK8UXsE+hv4CviMjY/vopqeHv3VAgIEZPl/G0+s0n7w2mMAZdL/UsJxD9dzN6kWBDWgsRBLoaBdHIU9NmNVBBK6O5NUaToAnkJzQVhw+ulf1ixbCdiPgkBy+ucbeozqlIouwaj+g/NMhWTFLyiMCxjYUo6tqjJdeUwNKgOjVwR/axnxCV2kFxGXx9GE+FlWYrmNQ+Swa4ZWhsILpxAeuygxXO7PTXc704EI43irJKwrPajBkOwVqe655vIoZVlU796MTQGo5niTWAXL4NEh2SqQqiRO3zqczE5+I/C3gzofFmhvDhh+INl2IrlylFBCL5e4twaNFAtiDpzxIXyMBw9u/BPJZojM5/FHn97ODt1ikG4SXXC/bJidMdgOXjMbi+7E5NB5lVJ7yM3pErihhDUeEeMWQYCQR8yP/ExiCskVjMiHcXKoGCG8nf4qGvJ/pTWIMJCEbFYKyVCTspyQmLu4nOYiglYYb2fiJ5IvmXF+fFrzyOwAcRhxx6wCWJf1rH4yn+WfxIF8qCFhoSrzsjo31ver54l+1o93GkuhyMVhJ1rJhkbbxziWkvR71XcfyY+YxJ/wuAVuxaCnoc7y9oU+pdsoV/vW9qQoluyj51kr948yi01/7Q6pYy7xkDpaLRuhwkpHGSrPanV3FvANnjuQMiQhXTXx77gHFE/3K4BGAPfyWKEENp/t/x+zmxkgxvHn7VEq57KXPWY4pF89btAqFCdRSxulv+Yocq71qUBTsDIrg3OIOO+2vkOcB0tSZS0noUvmPk02QG7qxdQcHMbuAtdctRSpLekwvn+IfDaJhUzPqHIJuYkvw3OHf0a69q1H6Swu7RSW8oleXMFP0SK2RyGM10p2iFFXvhKLTDM1sNbfW967ZbsDKyg3AepSaJArHQHibactAaa15S+oLz9mq3JBYM21tAlmlQNeolGSEenTsQA6//4iOLhXSNcGUYmj4c92/d6rioUvEmjF3pq6VEsZnuJk6ywo+Mi7w9jMQ9T6qlFJmoduE+kRVimkw4Uqo0+mNHCerwi5/ApaIPyZUTnOtT0BOaRp7AVMcUTyxdN3PizDKM6zc7gSR2BuuDi8JiUt5luNUGafgiiNi7UgMmvvQjFm2/G+f4W61+jdsaT+RVcX/3czTgLh8JZPheSZNIoGDalJ3c25YE6Mf70oeOXh0cnJXlb4HE8l/TE4cY7cyJW9rJ0z7uMkUrYBwPmURcNqXQhkwJ4hT8SRQnYUvX4zPrESUAWGXAWHwBEVYsyy53ezaBdaKfp6Ny48O+3jC7RNO8nURGt5dqvFKq85cKFy7eGRfd6HSiXkhCwuyw0vYbnbizTwbENMk6qXmcEnwuNMe5MUuTFvH98zMyd3o1l+zDIncODUJ+lbDYlg5N5wm7//wZUP3DK8cS6v3vNRQYyO+F28WdwQZdVLfji1RgFNURDJaXyu/S4ZLKKxBY6NM5oU7oAeckF6bNq3uf9aGoJcZsLhO23w/QBfKMTDvbMCTXJRtm/rhF6CZhxIqPWcqWwxkMwu5ZdQ3TO9zaVIgz2c4tWIsiKo3YmtEGauZO/H9yvzesBc+VLiYE9rSPtpG1Z4UM66StCTX6gVTPiCSKYbWgXrWNuLMN8Yj0mzhFeB61dfGGkPA3rQKpmjAbopTnqfu0R7opvFbfknRycSyqNC/xK+j8JIN4gJxoYcF6xau1wyuTJe/vyF4xclvdWyDr4HyggNOp+66Q0AyPxyiAq/DLF1sw1F4kCiXcZ/978/KAtNhk//EZyqO4MzrJy1UtoOtktzSeKFliJF4wFPjh+4Tt6d2gLpDabESZjIdYRRsu2MsjjeuOMBGhFGJWjqf1fsfsYuW6eOrVZVP2PUBr5HdkGoEgvwlIIZF40136ZEYAeP0tK9N+gJ6NwUrP3JrZ6khtQpXfWpiW9hfI83taRWJiwO2LMDNdbrWQPjuY+NQn65nosCaKyv3UZ1lAyiBkfz8wvEIv0AgPgVMaNeMzGWKRJXKE6zr0Q0Tv9MeJ7VBMFjLYzLnYPR47m8huB0/m42fbVDiOjMdXFW12AS1+1P5jsVPDZAcFa2VQXMJdPwHTSWMS14I2/pzLagzDR5pWNGxwBmaep+oPKZqic1ZLMVyDJNgGg+X9WKP0p6erc3OisiDKsNkgt8YbNomCNn0J3mxzVP9T+tJ2nf6dFnAwG/dlLT84Qa1V2J+scrShYSoc48YkPJ1rTkihv+oyk4XejvoKpqUXzCO8TH9R2Z8UI7G4NLjjFYx15W7Jeku5QKGQpJG94/d9hchc/HMnAOnU8iPhOJMx/zKu+bPSt8z6SUAe55Ojc/+rYrlZkMprDAhVgOyn+XW2ngeS+jJ8EpUwPP+8L0XwEE1qiaxTFvPbJlO5TWMR0jBuuMOatUfFUaTaBRwxSoLYdXBguSGzENPtRn0AYLvveO+hxhhbDtabpK8m+6+SWooy82MHWjRzYyS9CdbBYIHDfL+/jlbVok+UwQmRLqh4ncrWAaIIxes68X2KIfxZPvU1nj1bFCPtZ89wqUTubyDa8I8yGZaMI8AxRE+0uQvj2q0s0SScMoKmpUl9RyZKzdk82CrGk37k/5Tfl40YdxNNop3HWTKOFRFqTX2OtmhYZg6gdChH/Xm6W4CWGlLXs0h7TZZoytPRq0ggP8DAyL1ZmW8a1Rs6dvoWPhNFx+3mla28SqVqYTu/BViEGXsJC7AjhrUQyYe4e4hSLkvzbVIUYRG5uIfZ4fDU72CmSNGRGvnX1vFMQV0QD+7x23t7OVczKyiEI72co8M20wjOxTyWjMnQxn0KodctENoljKtqtcAiHHdlNrWJK5agmtI+gZyy9cYDoACJyQ+9i2vZh9cyx9dbk7u7JVwDNNt+2KYmUaNdyS3n3Zm9AAXzKSkzFZIkscCGa6mFU8gMABLzYUvY1lgqDZcpt23lcytCdlxdluVpLxqkSm906e8Ry0TQYYBWyDgYXqsLAyeDGakWUC5BfT5vOVYbjSedsst4UFW/PfOutXmHUUH8RF/g9ecUjEL/ZN+K/DG8RoldczVrUDC/+lb4BBsFwW+4Eoe56kee091Nx4Hkrg35yW/ILLuEaFW2krf3Dzwdphn0JIAl0HUVaNd/os6LloZn9jTwXJM95cr5B310KLRAcl8fGM0SaF6g/Xk+UtUe/snc8xj5wVL4TsAVtUOAJNhiGsl2p30/KsfWmNgmvW4YUEED51VgS/HFLkM1irgieAGnwljT7gie5akUlOOIk/2nK8lyEDjfNLIIG9f0qSYB2Zn9lEA5kPFbUJNcF303TeBPFC21wQaAYEgWlo3KZmRpobIa+P3s3KMJkh2AjkxafEbNPbJKsp9Z44aYc0JXesr1Xvcd7KMG6y9EpWHVQ/yEYuozR/O68xgrtoOSUI2J5nB403g1+hVdUKkEM+6Q0lJ+x77T8jj3yNZMkJ+XtZIc6UuidgaThjTDdxPHvjf41/JVzW8r4yS7bi1w83V94Bpujbr4HFlQTzgTyNz/4Hhk+DlQrWKVlqKMnkSgdYGs6Rn3WOSbaIU+JcaErKRuhC3ZwO7l5J1c6sZ9+60gH+d/qAScGBiVMuy9wFZACC/NXiN7WYSdQPseTZ7QEiiowlo5CHBNMaMVJKYyaHT1Cp/D6NKUN5auEH70RUqPeRR7UHKMdmHNxE4VtmxA+BI2iJSHH45reGByFnjChQFaDTw3zaDYsWLWJX6f12PrxKWjzzUsZo6A6ACqrghGWRcDMSL5EFYCt2f/qKTxEocB6BJOswahxWk51tUS45VcAEVtojBtNPFOqRC/Ak4cYMmjWkLIaqmIPb8nllN/U1v2KHN27hpPrEvVUdAKnlcUMHH+y4f617tB/4y/QmM+MbqwicOn7iq/zOdn+raUFPcnNjUUk1aM4paEQOVktV8F1guhtFmhSfZ3nQplyGqYuaDqcEXbSyklhjNAIM7rWAHTUV5rUiRIROJw35PXD49T/CuxYEcDSz4lc0jXqXUtap2sEdw+LXG1y2EEo8OBZRce6vqXi3xNBU4it4cOo3bfmuAt0jFZnWtCOksbABZGwt13KhsHUxZHdgfVRIeRJC+aZHRVNwSHIWVvM3FkFSeeCO9xf+RHcYttUC+S7u/8dEhzQZnJa2sfFqTuRMmQBRzRTfGxs5EQnc3a9vsNpW0l8YjnVfaaTgrohpYkeufXp2sSNcz1ucznDQGiPujy0bbijtEouGp3aPkiIdg26djj2vIJKWxNomcWdLv70uVPt/z+Bd+eJw7Dh/o0MHfrK44I2lGglDf2zO8zSVc1h/7mv5A09xgc2pwMEl48SHp0fV17EzVOJBsVnw6OZb5F9Ua1qLwGAN34kESeNNpGdQ6g2w4coXHQSnxOHjnaLnMol7rBMiiX7JiFL2JhA80h2PqK5i1LMPxn0wVT6x6+K04P5PSZXBxQZ7HP6MZ/Wkf9m+6laHi9kyEhXJ7D86cKOIfYe62P/f87rq1npPsQJvr/y8SWQVE4mh/uPRQU+eBDqLi3J+Py4X2rPhodohwvr3DRKvDyJwmdzbYXQ0XFa1IqefLFVgOVY6v7cYGHYvNY+SIFPQjmhPrrIotILt7oxFLYGsELCEW1UMavjW4tMpHuN4UIlVtvRoWVfEtF5kqL+2i1/W5yKcWj1DSHKlceQt7qpYCAml4YUVu/DhHQz636RBVdzcoOr0pEfgI8rdhbOcMP31oD1FFlRgMkONdE2oIgIhWDBGMPMl1F5J1gjoG1dDjcFshDi9pRwBDHb+7hGNHmiI2PCKc1U2c2XGJU7XfjLvnAGdz4DHXDrU6FqpT6VQrcm9G3R8l1OKfdJJN+K8Gq03lVZNOxNkPW7olwzmTFuOTanNfAQSUH1W8DiqNGPk3+52aB0RHMU1lJCc6XJTcYlR6XKBAX/5FBmBUDVIMIYAigqwEaWLlggZKJennSCK22p3tO+SLxomyMYj7C6yhzrjdddOBgTalcZK3HC3b2ujBeNm/iFOa4fZHV0J2OUkRLs6nfcFmcO/YeROVuaDbkLt5NZDwbKjzkMwAVqm1P4laqmpc44hl9Ara4FkV84cI2QI4Pg7BekiNnFRCdMfaS+vyKdc/lZbFU2x6MDaWylNH0Ji5xyqd/zKZ6Sg9+s4f/U9kGZ74KUXadZp6q/CEI+PvXzjulCIX1fUOfOOIBlnHF4mKZ6BA6aGT+2EnkmRDFNq58BGO6wBvDihlMUkB+G/eZzFId6ajFAyjfxMiLtg1qYa4/8cDH1GAq6Mt0nQLZU/83XHWTwKBpF3uVgoPLfbKud8YcygehgWmovde+Pgk3Z22AZU/omQ9i7wVDNPbsll8KDsOeFDe7l8m+V9EndxcB4YHrIeAmyoyxtn2ATMdOkC7ji/J+8yq8vdEiky1RW9mAa522dC9QzbwSCjM3OPu62QRqYuW1c4ArdSzll78BHpbQy3c343iwm0vZY9AepgPayYgDK3WINWN1PUdYSPfBU4jBrXW8U9uUlVPzxfsSet1odIja2kAoQIrgsCafMSuPRDOs3rFdrCEow2Q+ZCwlmb2iAjocu7PgJMuB668Hian559zTbgpqdCUl6TcFeY9LAZ7itPs+BVnRj603PnMCVyo3QG914ja1AgAqmGA5Tje8Z2VG6D/f58O7pt+PYgtTJiZ4GVJL3nu+skRIrcqNWj7ArL5c9G5J//n9ZmfrLCdHTeQrx4mTIObYU0uczt2NnTIlt1aZ3uA4uKVDjrercHMj5CW+/6g/IWdlxo3rYmG4jGv9Bfk2t7/r6jnRI8GRyLYAaU06RMH4LvgmX7wG1oayXO/FxhJ25IZbw+IxHxzCcZFe/nojb6yH0RI17HeSGM9yPChGQD3Lg8U6y281QLwnLhqz2gJlkpnHehTRCQd+6hd3JlaA356hHI93BHsKyTo47Qh9ucC+O8w5XN6Q+IddunZbanhx7xT5p5Ba4Trj160htflxFJOvKWciUlW1kaR+LPSBezBB22Az9GweLmY/AQsweVuFcsnPTuqLtdVYjGhwioEB/+NoKgTK/gSQ/j9wZQNj+M+6Ihe16P/4HLb6LYFxS4zAcxHQwNpp8vX7TOfA/yYnSWIUrpSOhc3iJlwS+VNTPi0gCDFIjbqwl3Kd7TaPAdiSVqpyb87Z7upikKIhWJYbowwPC2zz4bsP9A9754uhpRpqFjK9HGJaSm5zDLaG+ILiK2Zb+jPQYXo2lDvmcJUKo66WDZD4bjhQOLCxiwZPDVSMwv8CxSJwN/WwCUBCfwjefL4KfBa2warIS7QeFQpURWt61FchXGm9ChWH9KgNGdR3PctlHryU4AR6ivWbO7gPtTjPDBr9i9JluUJUOWRk3UxPbboLQYwffryyuucJWGrmrnZGnSiWRlQlSR9qJ/FBEa9L7tYfIPSRA8ksiHki3sUwFolyBaoyaACd3EWbCmNS+Pz0GSwOoVWhr/WOTweAGGExiSLeMIwvZH+Iucvlh92xd1+N3ZaBZcnG1NF3hseDu3fw0JT0FURtHRK8aHYt28Pf5xcSDFVq9bTTaSkZtVgiz1EaMSK2jiZjmn4cjHzDAl7KF/p5uEu+i64JIbSg0RGM4kwVWKKzIMonDGxfDD/M2Pg5cFzxDuDj2a8OWPLRPjXzk9SvJkjcFL8JYRO53vBPTXdwxIoyZ0oCuNABh/qE7HqwmfGiMD+EuqNzipbIzLksDS+cKsJBkG7igLM/6IHe1t1f/Tm95I1VAr41TyeAY9y5SgD+U8FnxA5gKqBZ+I8vXPxxU5Sa6bYVVsA42oKnr3x4MG3GpRfVN7uiRbpwfTUGzLocTfWf3vAZFIKcr7BG4rTdkvbyjVwZAOFgtS6sQEfd2zKEjUMsMZGMQojXTv36TZcpvqiyxoLZrV4950yu6DxhtXHtMjx3vBCHDWFfNrHHh/LU51xMYGfNuMuESrt0QuKy8Cwx/DBfgGJh9asYpUwB9eG0beEknDuYZs8AuNCHREEjjzn7gPYYT2tgvcG9lrIey5uX3vewM9hYnbPKLYrOqwvKaCCCIrS0TI2nmbG4btUSCdVhyL1JPviJegBvUAx5XyPqUtV59eG2dLaXGaCQjxe8mj9BwS9WHduPPl+q0RID+5JfqSjtwznNbgPY+sx4kuEltwki/3TmuzOgL1gNOsOV6FMpf/3nbLg80C/uRmhEtcV1Ja81lx5ZUa+qW2Sahqj/d67Mjioa9kyne0KSrmT/r/2Pgdd6/TpyKAG0ja42P785a8wBY2SAzNlSxIV5yb8KvEKsX8eqm2xxOGCZxzBE9CrhO7h8GcBnk4ROSFtZLN2+gQ7nucSL5s/XuT1jVi6Z65NFnEHMPA7whj1JEehs8TmodtGH/OrWS39Qy05QOQ+MxNJmAv8FQPCrtQDL5AFxzhkc3i2NA6+4XgLhXNC72E2ywiodr5NLfokP2nKDwI7NKjU7W3zL8EW8LbMi/SBDgmIXVYVD/CIPgvr+P23MoS7lNzulgIXenFFmkCe9ICP7leSOEVylL7aQTZt6Hi2QCQIMrUeCbjkQiiwwHFL3Dfgcf9XXmCdPjDDVN4G2v/l23Xy92K9aLr97l/eBf+vJFUfNQxc8f1w6ufhBuIzSG76H91nRQCi/ZjPEQVvb9PfffXfJF9QyyPORn+VCj0TuAYEp6j+OI6gs4HkHudiGOTMizX/oBiupYGCNQDPt1W6mk8S35TdUNKE7yy1k9RWlRbwue7eXK9NrkRIs8eCkRHH79eL+Yy4NyLvFikf3PtLDTY0giZFYnOsmEJi1wmaoHcONfSW6VZVxjgbJUJzIoZEN6+gm4SdxZdVNiXi+fueIO1Jme/hFyLMDLHNhNf7cPenXLx6r+ihf/cW583zBIucruZ0chXH3DibCAzw+THvSsJ7OtVHXshgRYq8HnfCiZhi5W8d6vZFfyD5wWl3YtTpYCwe8gOz0cINRICqOcKU+dnM3oJUrIub9URwNzjQAz+w6PbicDBWWcyTjHVRBmBV97VQb91ZDpvI6+vWUt7ERf4is9YAlMEl0C/NSeB25EAR9Hp/bx5EX2ZM5Yram25EKzEBnS+ht+lXeHjOLrqo/Day1Qic4H0Y/irzKBOX3LsBcjISWqcs7vPGtMlTYBq4vX3I1Lh18NdHmKWkRN3p3m1Kuo96kp7tja+309CZYGf9TnP9fwrHbav1yRQH9CpQozszwIRfVyUNJAT75Li+v/hSZPUtmDLBv7Jzv5YvYhuXTx5gEnIO27ctTo5zkgfWsVmM/I3uZKCsX/vpDtl8lKcLbrNPsnawVP6NoDBicgJ/Kb/iDnRLdZpctkGRWaydvFN1Rnm36Jil4LLfx2EN30QTlk9VRfsTvGjUiHE7jAEPemkj0Ilwt+27K1ozluLkYe2qdrr/6F2NZ3kzXD6nk+f2OeywAiTODZX7yL/Mdqs1cd0HjHJtM6dLSsUg6Kye9y8o/MbWR5uIy/ZmojMqyzpCWag9G/pyg9dzy56CIclWwhlNwpqbIBqJj4gOLY1sENQAQao/5OfRBvUnBoIDlYqSjMZLNgHmb+TS5Sy2yAH4+TyXgU1TLkImqz16d+g+JQg1+p2MaFxVqR1otyfMU2NF/2bfcf+EzUwQ2di057TkX7eWstckbbODAcCtp8gjKjCv808tQKn+nPQPJkWqAZ69GyMnnW6V6Ox4Sw3UkLzngtZEslWSC3CLS0yVZMfdYP/WM6c42tdw0OUgAU8tuhCne3iYCGLZU5oYTVoejIKMPogMlZZFHaDkbX5eAFbqs6P6ioS4RqnU631fiGWVK7xr/YOiAugAwRWKQdpzG7LUe2cJHXOduN09OPem+X8tYiA6ATwKDdPDRkZtS2o0pKCfgc7AxNfDnI1yJ2u87YoFeLGrDfCVVskvWq5kx32uUw3NLOLNq9CUYVcxl4Ezq7pP8i0WkgJCjr6knr7tcQT2/YO8huwB4/KhtQEnty2tHPHUldNLb93KW1FK52INdUIzta+cezs+4Q3Ycvimq70zn/9HrY8NfPdJSeA5y4QYyCcknySkMkaUtqygyTnh4vBkB9SvQOckMGukPG1rFTZT/A2BaTXxu3qq4XdofW0tAoCg2UzpCi0elthCtivxZ1RTW9YkFzISOm52F0IP32SMiaJTDIsPxjIiCwK04JAy4qVEf3RCF4WqXy9W9V3N8lD+Yc8tSys4XC7yKFG+w9PJSky+3gs4VESRxeUiTgfwGCCGWhL5lzs49B6x/xMCE2+ZJvoM4U3q290y43FZusbNA6SQ0uyq3zgA+z1qfkxwNb4BAQpGb7RenE42Jtw1pxUVY0bskLyFRoRRpc8tMayz4C2NIXWEVk+cwaZvKPnfcTHRclUrz2g840LVU/iN4OVm7jooqPmGXwSqGyoSyQbyUwCy0VRnCP4CIgPpfrfM0CMTfhSDeNPakDYEnEfq9UgY7xYIHWnA8HFt3GS2kbspui56A4m7t0LOX4o4yg2KF/k+90f+9hGtdJz0rnINHF1cm28woQ4BFnC8LFucEckXqtLpd3L9Y09atkFHAINJygIrfePLhUMO5kHA2EVbNlsaFlVd3c4Ue0b0fhBUAX9WiwW/BI93FZ48TKjKhszp48namme8FurSkpQQV0dfBDml3xO+WMSyMKwsSYNTvLEaTtz1zA+B3hJDaFdaBvwO05RzZshq5XBnyBkEFQ9UvWvYuYOGij97ZeqCYyD6XViyEMAtkZjNNbv2jyhw6nLG55iWrefhjdnSKcaleZZszYdjeu/67MZ7Lfz3zATmlz3JzN0UjxL9q+VJz5Xi7DyP7zGbSgn+jjeorXQ8TPNQL4Q2j7kIJ5HvxFi/JiU+YdMH0OttCLmmdeOjJJy86mI4SqA0RXdbEtUpRTIrxLj32VpzWPO1b9hcECugTmKZEZqWQPGlhYWCTAbCVkfMzJeTSrZVHP8d4ZRvYlJVNxnmDk3CaR0we4fGp9J2natcxdLAdiXQNrfpZu3Sb6PgOipLhAJoLXvm3hY378Ugrk/7iwa8Kbxaq2ZKhCS+vs5Rl0qKJI+fTYIFhMQQy/JourzBTE5M6XsZT1kixg9vg8Vcw3oSkMEpih22p/eFjFoXi7KeotsgiXy3qFO1y+gSnLkmC+yjTelxJ8KwHoqPnrMX2kCWOu5cBQoFpQkEcyH97FGNruL3GIFuOWxQcpPTu56XeKA1wwr/xItSQnd6xVmR2gEubD/qhM2YFy/ts8xUAyDAaq3YNyQlpOhStP9bb2mgg8tFLFiBsJR5G5/xtDhga19YvL9uhNBKgZ4WsoSQYpBu5frAKeutkhqxBx0aqzvlAvHZDIA0PLy3SAM8YNMXg1D+a0zCrZ++SDuzn+NbWQcax9jsiVYo9Z9XpXxeGut94keinJlSFonoGt9rlok29KJW/Q4M2WOJMRaqQWnY3mVJW6nocXoATW395Yg0R2mJleNsj6jkEzOsITzTB0Og0SodDRn+8S2PzI2LmErNrOCdjHM5kL2C91g2bx3LB6U2ch5OXS/QKzQwcO3UfELkI0U0Zsfc1iehK8FZhyOCPEyQQgiTWothI7zb4hQ4OddFACAO5Hgvv12dpqYRsWrlmw62e8X4xiIq6igsaV3b6GLFHCpPNFbgb5EKYM8ybfpWNA0NvW54UL+CXOAz5qNg7PdHc7Q7cxpjODGy/iPCl+CbDnMnV9s/zsjiqcf3Ksc7W9OVKkMYts07fB2ng/cUlB/dK6SWkp5eHyBwYaIfgxXKNvqfCqwIxUtt9sMMeuLPkVMyofTDFViBzveUyr8hpB6MWJzRkv4M0tsRitcSin6GKLDfxWolViXjNdzAyEUYK1VZob3uKCRGHD7VM9nKfSqsCTBUOIv6d45IAZcS6TIJC0F70d7g1d0VxphwDHRRj/MmrgfP7z9wAW7X0/D7CDA9e+pIU+VLMITWJTREOmb4HzrP0eaGlMPJPj0sxC+Lzse7DlViM7XtfMOH1G06+DTgOyPPB2Kc72CDgmpQXn6Ewk7nAocwEKthkaHYcWnSWE/3cu17rz6GxGgBT2ypifLVdzyTMNXoZAEwrOthqAL9y2fwnMaOv6X/BkHL+VDlaE8Qpu9zi8vWopsqI8UDInrL7PVsYVacTBByrwRkWvIOV57Uo12kuvfSA2zyAQlCzj3T+7iSwtcjaEzYs8J7Iq/hVuCyCVN62wNPjUY2Cbt/uJwPP73ovz8rk/ZkhhtDTQrSZCoV+HYp947YLVvalRVLXyHuZwKwWmwNaQlf3QCn1eJA2eKTmVNLFDmPKL2N+V7X/SRX47v1n9PVPum4zXXTH1ccQpKgn3Aw875v/6SntGE6X7VrO6PFGdyMQaDXeXsV9g+N92uaKWrIxmXhOv6SoIVlRhsxxpPnXCUjDYcFC2IPlHreitkE8cSnvVph+8whl7G+00gE0urWWcJDI94XCVG7aFSWBJjKTfyJQqZg/+mRppo1N4JgWTbnA9cLTUHYffDA0HLThN/hX9KhWwuRJBQ5JhdhGXPgYhJk4euxwM+VL597XjLAQPV9Jw7SpkuibQJkp4Ly63DBWIKh2qSeYSSo1gRIlXfgivb7tw1xbL53sH+RilwTSyhaDsQoerhkIT4yATN8XaDfIEVjFqRooG2CbNAMZgsKxZI9ZLSzHINWP0Ye6P8+exBMeg0nab+J5CV/vTrkYlo974zyn4WWwbcLmH/7Nxcf1tYZ+M/pPKlY/SUnYJkrCI5Wnrtephq184EfhqajNVjHsO43F8qRnege1VCMMd/m0RR1LWUqQmWEyQ/04Lv4JzZpEtj6AvaaEdDmM/EH6WQgR9AwUz1uHgd2p91ffG2CmF3uMFk9VOZ1YTTWYhIVfR4iRYfncprIv5q7v3DougOLtpficPEEYMiMyIoa+/M9cPnrY3rTcDMMXYGhnRZVMcBVy2WDVTQT5TCG3ON8DFe6tADizpERp473ujGxWGVsHHgRRpW+vPEI1bI4n3cZk/hpKXoV9wU/63X6oYwnKuz0J46TJckqrvrkhKxAIOjarIthr0/Nbiqgv9nULpCPpYmB4H4tFKC9mnYw51xDxxC0PveR3TJipKL85tVEI6EQx2G/1r00y3N5L0OPffudTOECQRwmP4kJjeRn19dR8WBvXTkDFFKEkaFXvfoihnWhgdkWrX/1EylUx+tenyy5pWCGFxZZlXLnfBM3Q8Tv6PWaWiIPaljvj4yt0Sgbjkdc1r2B+uoC6BvjO2Opmkb1R4G/ezuMFKsXmn8SQBUmDkIYZM2e1D9CMdt3NRtMXj+Xcu5sj3g1B11149Ed2yqtHdZUvf7Xz9objmmhfNCr6NjSJv8GKDx2w/cmAQWTXYMe0633CM2i3t8s9hx0QW7IPeTDGD6kNhwbPQ+HZUZ9/OuKd9MPb9tPggIDyyR0adj6VTjfpYndl36NmX+silHrWP6ZuAv6cB+LiSXhPEzy/nTs6n3Ezry+LntEtWfHp4PA2dWzCXYNrEKLQ8Zb0Y3tlQUgfuRfsPO62dxWdV2MGz3GPk75KpVn0SCaZyuhPv5LXSn/MzRxCNd1Rzb02RccpZQEWkAcy6HuglGv2Tyyg4c8JOjzkJP9PodqI11pHc7PAbPsKzzOuYmQZy+6SL43B6MWzOh77ljzY/xHOcYd7vqmFaoRXYxmrPVmFvBnPCFAnjJry7ckXG6cz+n861PFc567dSj2l+TNlSwCYaKKA8HMjvvwWePZpdHmic3BTFzZkiP3S7nNMtTjNwgSVI+u0lHCA8bTOGgYNPrR65ne5bCRQKpvnDzGvJNfo2XkWo0OzdPkAcsFArSf0lrUqLb4pbHJ4i8+hFNDQbMpwgcZjhBnYBAzTG9BXyPxUYIFxFMJwxKuvu+CtuYmlT69YSnBtlB50/925v9LI9KtYS9aulSHRTKDVNhHHab88j1TvHuZ+zYR34gVuh4jrSAbH5ENi940WwTEEFctv1yalNbv1c0oUY2xUHqdOp+Q+in85xjsoZ/ZNI28ESAL5Bw+WhKcoOM5hqyqQbxzIRyKIBwn9abKxtrXpzhdAJQzH+TvZ9u+7NEc2kIO5NISltoccZXWoF723xGhetPK71yQeam2baFa3FUsw/xSj39OpxcI1DfS3IE/vS/6zoEe+7e+Cv5qqjNijWPIQqcMmyW2pUdvtu3180RBLpOoU++XXSW6FvrYG7WTrrQIm9I9GsyCFvLgVLzZM5WUX1XnRRTc5JC1rOV09FvWbc9Y0bceDcVGuOEBHR8bohSySO6tDXSobMErmyW4sYQE42P0SkYm8wdNPZdvXnhghmA71/28YZODNEq0XvaXiIDv0xwkLepz++cucpEiWVyS3KCLicBpf9ORnF9uCshYSJUXbjv4kEXemdBa6+p5ERZ8AB4nOA5eOhB+paeUy4qd/r9AXQg7C68TB2rZMeZVMB0ZQ20+kK3GVizLR47iGVvff+94pUpmIBIyUfgRDkkRywRfrKvWVeCP+BKuCOmMJmnDBMWBvJ4uVIQlQIIi6nwrfYfjPPkb1JT/FCKSEPm/oQZ3rIlbIzbeKuumOEWnyKnkS6dr0rStzUACjRdteAFkelQR3m9yaSOZY18WliikJ//QQOo9YQb2aT1JOqdvCjzmheAN2AenL+m486sPl4IQZSYVmo9s3XImKTvvc51GFf9Elp4ClhAP1epgZ6Nis40GiaLeNK+7IP3GUdGJl9FD8Rho6ZdIwXWYd+G9B7xMYnbPSKjQMKrO6QAU6yHSaWoKVw4FXwuWAs/3ExcnzCqBBBqQePuQo35CiB0jrguO/qG5ievcrk8jwJdzSH4EqXldoLFp+eVRqx8YwZOrEehRNGLSDFxONAZDMpf82X2zuhKmp8nP+Oamy+6V/e1qGRRPV1WJcPQzq6hWPsVkV9DT36D/rTZcAZjwjtTVxq9/gtNXslop9EG6mnCPxrxcP9q4DJEwU3EBxgp3xxeNMNQRCjIhDKwOvfWlrTdnI5HGRBlNd7xGMtIFO2EdY04H9ON7yUIK28AwvnrILgMYtcYx7ggHajSmdeXooSix7nwqBGCGn+lOBKIQoFIN/sUUOp4Xd5LvUn3RndyS0lvo+ez2ZFUhfP67kom2wZdysb/fqlqybcuvkQEjPEbuBVX0uyLjWXcXMwNItw7eBPXIkolOei0qHRkjZywY8zv26m+IXqAA4AndMG1hSjeGKPjx9UQHElJ60L5EzmZNWnOHO8nKtDTgGfqrlthIZizJrMsGPG2X5peLItFq3nIA0DY38cNwpFcVw8MP4fzmQtiL3ghsnCosvRVWgThy8cTfQuRAisKzNPK9qG1/LEMdJNUhwjRMM06CpUqDk8Z5sCHtzsqlni7QIdK9TmlgVpgX0FC3ixZU+MD/VycmYQ/V/4N5kKkyovejkVhfW30sYFArVoOegVPS71UWNvLQegxuBfm2hhzv4/BwKfhvZfPMv26iMkmF2j+x37mU3ksnddHBkOBBJkBr34v0YUmXebx4LHj4qBhS1GOyafQqJFykwfT8bzpyS9sOarrXT/ZI4CrG9puflZaA3WWLwJzUIJzEqjWqJAqPcIpXzAa3FgvgT2WQ0dKdh8B6s4hu887e2OJoAYtODUyPn2vqv9QbeY/94u4wYbkaqFbS5vJ2BTIrfHaZUJACBdJZbJd1FGqfajJfjXIFt651iNz66hrcQgJUiZo6iIbRYXnBAWmP18x0PdKAmyw3YnKsId2RUHN47aoKgqV8Uihebcuvg8Y0KzNsjL+CRMYn9lHtysQ9XkboAKvjrUAhnhQLbXmVdhAHOXcbGbY2maceH2b6dVQVLIq2pX23AyVVADUtyYf7EHAZomxT6kD85CkCVVVDyto9CLeWXSCYE03gUFlBZ/GfIzv7pL2uLQ/gB+7hGWHQY8uCTdRvnie9FDEbQvhpiQQ9iT05P7fpFxs92LrTbJ0aycUsXum3fXz/QAVcivYS9vQhhbI4V8jbhAZ1c0+G+t06nRmRxHgEa3aL4PNa8QuyETzhDR+oM37kh2atPWLeDE3CUGIjdCoEWwPyciKeHrA/oppNryM1/tIRMszq0m9tNloI5v3ydQMAw16Qe4V4OOuHZSfoAunGrTx453h5Qyk0sluglG29b0Ycxgb+0EA94ZJDVbhuLoeYT6pTStsY9dlHxaGW9MXa0YrMVGYcp13eAjHsfeMtsebhzWmckf5DVT6+2GX++n/1knUxhKfdXDgyTjc+o5Ic7gIRxoZM/vNOkfxkwfECGhpoIRcbG15iq59t/RoRzIDXVNmFFNDmC4aBeDLJcmFmmsGIKKLhUMjfLfPti93ks4lhKkRb9e1l9NT3P72nHrQdI/VhWG182OXkfUeQsIskcVf7wfQB8r99QTuzcclnTROuz/jXPEh+mCCndHiwbRoXzqU/p6T9cHdtcIOT08PUe7a7xD5U+C6gCkkXHOy3kDvgZTFXM6FLB/ImzDlvPJq6sVQgilTYEgXJhBv40YF9+oF8bXyYrHTMN6+JXHtaNePmwF321sFJ9Emlw4uDhdWYOA3mmyHUsnj54xcKpS4WmsGY1zo++kcZq3KkVsyfMQxfJPVdOFavNNNp94aQ8gKjvIXqjjHS7XuxgSHAO+FyFNm8c2dm/g0DA3S7oqLlY+7cjZf6KfFFiGY6NBXDz+ViCMFLaVe7gPOm665kKiJuAk5SYwdRSiyXaxSkghhC4MPOIBCdfnwHvzZG6ttLTuD0bZjtl1GA0uA+TnvXkvQCrJj8J/+H9w9L9nq/O56xRJAXC2VTsILyY850SEi/7JMmWDfvPpQ6DHQNpIp5DgGrZIFvemlLD8f/ExR6ejxS9lEWVkZ+pXd3inWBT5WI1B7Z57bwPt66F9ZI+GlR9vrkJrm5dSPhHxMg+pdQ3LEYNuTeYlg5LdBpHbw2izGg6BmfHXDA+V097Q+ZO2zahiLIHrG2z1FYAuoiczBMhgxm2xkKa4qCJYk/odWVTlNdqm9jMEwIlh5mZhQ0y2IOIMvEqJKYM1bDWiAE4GGBAwLeNZ8tIPdJjRQIKHrU4eSQHFXTSSIQH05ofwIgV+T3nZu18GWkO9iLfl6T05t3EJuUyL5J9SOz+zU09X8BXhlL1VoX7hUwH4fXyqaL4nF/JTB/jKWrGkqsc9LRjy62ieuLf+7bXjOkC6gSCOHuiQyv7phWwxB+b6nFwqDcHW7zrFFPHN2oWz0XKmx9fBhxUDgM1+w6+nNtsYSAQ4IJhqPINrDzNs0tSLU1eg33R5IJPKKPfbWvvY4s5ZNsFqORv1i+GQpVN6nXW2gzl6QBdH6i8gXInxywAniLhl2u0bdRMg9XIVLDUd302KCHC1BnAf0M1EzbMNVxKgGQGYAQxgg+8SDBy4RbIHxkI06GKstz2pYyUVMqz+tfk+qgYyqDwGFc/401sE/MBHlPF9mnkWEVFz5+aEd9i5wAM4fKrJKURyYLkgs3Fr70D667//qQYQ/bIonM9PNwnNJOeCEDBiY4A2Pt/6GyAKfZApkSD6rvCjJ/pU32xS3Mpe5Frga4+TtYVN9TYqj6UjRqE5h+JzHZAl13PSwfT8Q5QoQ9Pc1GkvlYIFJ9bxRYYbDipwgCNxFBOAXw1r6JZAFCG4hoUYNcxc5AoUOcxZ7la+neNgyGuSWyJYcK64SxMYUWXHaPu2bTkRqi/lgXpFW1iw5ASHzZM5VVahtgiKGu2sM+v9sLPpUye0fSCgIN0PqGNCiBQ9Tn2OK169pw0Sc34PzVWpXl1QpKYuiiWEOUosXDaEtGbZrdfJceYy5Ct0FsXbtgB+DcP7CBDrczlSv599v7gnYlJLk+hbkJNDj4RixcQkQRaQNx0C8HqsLv4Wl/j9XXPNfw44vcTP9k/E1n0g6921RZk7NT7PN0P2PWfXOiCbUhOL3qUbylVun5RM/7+7PdodbCJKmQpG/MHx/XzB37wYLECwmgzSTxzC+Hk3qfHr2VnwgTa32lqUrtbpIUGZMOquQ/7cfVfeRGqMgUn96n6a4mWyMuWO1NS3wX2Fq3YYv8VNtZkScHgYarOpmWV3soZ7E/Nng8j/lJ5+mV8VQgMKnwYxEBj63SFfQf7AtMn7Rq46N33zDA3/pHcF/4jVAEt/+ehi8gc+bVy9NwRnsa18rMQzJCjKkK9p1vien1kNaXmapyMHFm/8wpyxa9OLSEYmDavdhiuyrtVRbryMozp6Tb3PsRqIjZlYQYisbQ4Zce9q4FBmU2WlKETfjlobjkCx4v7gJdtq24i41l/hVjKpPRZPdT0HKMXPGwQj/x6TuCK86ByfWCM1VBI6GkPI/Lwk0/3GFs3k/PRKAHPeicjuiLfnCek5nhr2Q7w5u8o94i1eRDD8fqr6IxhcdUwQ1J1PXYOGawNVjtk+ll0AS1/Sk17XpPWKBTE5Ldq8DAIwVF5hMZRe5hBlqzNGE/Yid2WKXk/Nv3OaEtnFWVOp72l2Viw2t/aQ+BCIkL2DbSZb64WgbxedGbB9TCh1rjCkMwXT+nC6vIPLTir8Eih5yGQUQv/SUWMuSDg020iFq+magajRdc5PAPLgMV7SZPyFQtRxZGobymLOqacWVrDl8C68PR+WNRLJ+58VKnwwYzkS2V8k4p3Sw7+GQ6jNTNmeONQHWVVq35ZJSzo95xsWa85B4hv//UqkAxipxu0JKL4daj5cBQJqimIVGRW/J3GNoU7LVtwmO7QSbPpUS071Oy5tJ2Dz5+h8fCJn3VX5KXgjDZgrITkrG01UB14V4117DPninFHhHyc49DisWB0xfSLVqFYHVIqN6svCqS4gqLuNYwAsM+boD7OE76gGbkoxRviLNMu3zHOIRqs8eLCtQKlK8Sx3pfegghxuPuEvFSPWPSg5l6vAmTugtFlE4DpxKFbAMC5mq2Gb5UeEVc18qoDFdYGHOZe7xFEBFNm6FhoIMhWVFezoLnNzPHYLyfw8jXIclb0JyZOIm48bxvrXkgxCRAvF6pn42D0VRvmIJQ0CmNYMhEt8AYLWLbwmvZSA5wE3ZJnVAADZyDP/fw7qpPROPBVV7+pLk6fILaacQoLkeX6n5G/bjvt2nyFZF72+AEvX8333egaEnzjhdJr/Ayd10G25PD+jIlmCYzjXMbvu6rpJNn+kWV/0PEJx6xaRwOIktJwQhOa9Je4vM+eAITte5dRAplgnWBbp1ZEkl5C+iQEupfYHzozKXg2Wvu+hCpYqCFcqR6e654Emw0DxXQzK8S19jTCYru5ITjJahmv3VoyXs/7Sx9IAXbW9qlOyOwopt6e6aGq6k2/sfsAOcmM/XfrAHZ0WshH52epCZs1YLmtpzEklq4Zpr636EuibqSdfnzTKpH4NYRasLw9BnjmJQVPZZO0Cd3cNbCfdld/GaACt5mgjdt5kCvF0FSQ31Jl+ywmuJjLehsHaJyjW29Jp66xhecN0NxdXNPfh519XQqFNExCxbFuXF9T9EFitI2y/PC42AWr4NjY1IaX6gqkUbHOC2FUERWVnvAQdsfSH7LC+8yNw26ULRs4FYsk7BiWCRz6dz0INgbg4BMAPMKSGywEKBbx5IefG974Lo+54At4tqFsq0LmadRnulmYrlm/MGeYJWP8beV35YmhTdFUurdWnEjZt2kaEdpbbx4pkmsAf01U9o4YYffbRfCAJOdzLE4ghnH0/9b1s7PAUZqmLwnnJuk+lMSRdgn9oZpJO6L5X0ftfp/bkMWqjeR8ja5Vz5/1Z2TKVVl5IQNn70sy4qbw3NI0ghy1AJNW4oV0btfVdE8dNwtvhXmD8E+UoxW0HTrRYiA05Y6N94+EhtnBxOpImgdnI4sqEzNUQ6VttxqjllfIkHz1p83F4Md1uu/uPxvAhx6WANxDce6x8btXOZWGBbhqCuR8Dj1EXNLRxUR2p528zb2wVVpmrm0Xc0/vE+HhcX773ijcnrfrfFfbamPtlxTZWQiktYBs5GN8g4Z5ASk+Ysf5EZGRUtPbpxonlllntbE/ygYg1WDBZU3fPnbE0QPWyRIm86udS9FILV/rZtGf1y1wVtQIETRAOKcev2NOR5TiHeL7Z2TW9BF+Ue9WYqm4yDUEISIPK+DXlgJ894Vfz/BOQkQJRi0YGOZvehdfk5q6I0TOjPdzglITC//FTgPBtqbKMYWnatRLWq/5Iyb1jMni6aVI4Mh812NHAwBrZtNUm4lykFkYECMj1IisCB8rqydNB/+ZdfTUuObw++/QQWOVHK9hXcuLza1vBTFbmVWKO4P86oE9yzueVONvP/d8qbycpVsg44wHzcelrGc2tHB7wxGWzT0HHcHHIv5n+uGMJaesLUz8dkZeSciLvISIsXtsIAaPXtl+qu/NbW2Ss5ubsfeafNgfZt1T7wJJtN7BNCAyp8/YFeIpNmJZZOpO/sj0n3fx7L880jyKPaMhQCy6bIZUJopS/Vp2DIff/LS8sNhBBQ9NjqJomQl1QdN6bAleW0OdRJj512bs10fH80v5DTrMb3JVmqVjUlEwCWGCZ1ffyemx3EYNTt6cBbuXJjavxqjZrtgdWhXeN0MC+9fPiMPYRu9ySEzuqdnQR0YmBfQWvTbM+6/0K8hxUTR0kWuvguWNrR8IdlPzdGN0c1IqjQhXtFXxApISFOYt5T202/5qm4pSXU95M6If346cIk0pDJZSTowubtNgodckgFHgsLWnfekuYBJuvT6SonHByYV2khicxAz2qVmAD2B8puEfJi4aCU/nOwqxkpohn+bpgxqy/6v4g5MvVCOYAnXgWoLXOqnuob/vgEU0W2GAlh5x17QSj8oIk+0D4BFyPAQQMSoLb+iJHBmpBGBQTJ/b0sgiUSDONbp5tSr4CDH3ZYZPu543mcAs7j1nsgmuv5MsS3jmcej3f4BQFK8qCNsACteN7mgDSMsq/KyESugzVEe6z7E48uuoTN9k32p9KYs+ODrZqD2W4X56cyFu5ECOPYDYUJP68SsQJQY/bCN3oMh4FTR+i79CEshBSYA4FFRTkN78RH/tTGh6RkRiKE/421QtCmbVZ9bWcO43/1rqwOyUN9W4mi8ib51owubaTKl613vf+rRKJHXWu52q/45dVFnlUGy90L5dN+iI+U4Aaa5h2YjGPUS6DFFdariOQX2p/Jt/Pt3GH0BoIK+VZWwiPhsoffD6i84TS8jvUimSDcJy4qFYmQY5IbjMSiqUvv1F0vEsctNperORKbi9+r6dJLc2UeyL8VyxOUvIarKuFlX+UIH4cblhSoUGWMdktI8qpnCpU+BFcvNjFZssR7dss4hpvN3S6qvS3RCr7Umsb136FnoPNM3/bhdYzqVOC0jfsxa85pl+x8J+lCBHssHWNwOn+FgN/Kwbe60qoj0djQLOE+H4l4PutRa+PotJiKq4s/5h2827bsogEyxxU3D8jefp0YNaNGSN9uQjc1450hX4ifPR9DEDC9+jqGRdsS1CiiX8B9nGrEOaRrc96hgQMJD0VasGyQtDwAxlGDBOIE94YrrDhpkMBoHK9goKQ2nkiM/QirgXjCA07sQb8eNCOWr/Sao9LpzP1ophpNKSP741qcW7HOIQmK53j8jgQaRwEa0/zLR848nWKZZaIYCu1LC9xw5xdFCW/fT2aZRLEvBDA/kAJI6GBBrIHzKOHse9QAqZ0bDcqfT/JinOx7a/u5NDgDcJZuJNgAxyijuVPAaTDhRdlLiOSx/HsnRlgoKio5dTSISDjUxFlgP3KSLN00Iu7Ek4WUh0wnetal1ymsk91bdEiqu1rMocuaqpfTALosTOBbQZs8SUevKoOpiFNnozaJNa98Qb22XJXsUydc8FvU2JA48s0TutUep9V/HSCRmuVn3Z5VEtLVfzu3m8Gcy/rsFCFIHfGRHzw0iCrtj4uCrKmUpspTp11B9RYOL5nTO5B2PcV4ZKD6X9N5z3CNlKW+BCNk89uwqXySHdVEN+lQU2tH0FxQSnZwqTrSSu2x64rUbPADDegrHXUc2Icr9YDQgA8e3uSQF4QEApPj1utQd2l8lf1wfTGRUtSXRlHfOG/0nXgQSHszwAcG9A9ZCqirN/NF2a30eVKS3YZU8dAeNH2slLdfTkv+C9mMPC9PTYTwZ5m7o=">
            <a:extLst>
              <a:ext uri="{FF2B5EF4-FFF2-40B4-BE49-F238E27FC236}">
                <a16:creationId xmlns:a16="http://schemas.microsoft.com/office/drawing/2014/main" id="{B8AD99FA-80DA-4AD7-91E0-67028D017B1D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490875" y="3729440"/>
            <a:ext cx="8666803" cy="312856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FF147097-5C14-4349-A2E0-9B7102131FEE}"/>
              </a:ext>
            </a:extLst>
          </p:cNvPr>
          <p:cNvSpPr/>
          <p:nvPr/>
        </p:nvSpPr>
        <p:spPr>
          <a:xfrm>
            <a:off x="184089" y="3871231"/>
            <a:ext cx="2777705" cy="26848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C100DCBE-AEE8-497C-8947-9EA42F43F963}"/>
              </a:ext>
            </a:extLst>
          </p:cNvPr>
          <p:cNvSpPr txBox="1"/>
          <p:nvPr/>
        </p:nvSpPr>
        <p:spPr>
          <a:xfrm>
            <a:off x="97993" y="2520526"/>
            <a:ext cx="300402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Onde:</a:t>
            </a:r>
          </a:p>
          <a:p>
            <a:r>
              <a:rPr lang="pt-BR" sz="1000" b="1" dirty="0"/>
              <a:t>Ativo: </a:t>
            </a:r>
            <a:r>
              <a:rPr lang="pt-BR" sz="1000" dirty="0"/>
              <a:t>Cliente que realizou sua última compra há menos de 6 meses;</a:t>
            </a:r>
          </a:p>
          <a:p>
            <a:r>
              <a:rPr lang="pt-BR" sz="1000" b="1" dirty="0"/>
              <a:t>Inativo: </a:t>
            </a:r>
            <a:r>
              <a:rPr lang="pt-BR" sz="1000" dirty="0"/>
              <a:t>Cliente que está sem realizar novas compras há mais de 6 meses.</a:t>
            </a: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6A1A81A0-EF14-43FC-9A6C-02198EF588C0}"/>
              </a:ext>
            </a:extLst>
          </p:cNvPr>
          <p:cNvCxnSpPr>
            <a:cxnSpLocks/>
          </p:cNvCxnSpPr>
          <p:nvPr/>
        </p:nvCxnSpPr>
        <p:spPr>
          <a:xfrm>
            <a:off x="3293407" y="1344940"/>
            <a:ext cx="1" cy="522481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E97BCF9D-EB0C-40A8-BE42-B41A46894CD2}"/>
              </a:ext>
            </a:extLst>
          </p:cNvPr>
          <p:cNvCxnSpPr>
            <a:cxnSpLocks/>
          </p:cNvCxnSpPr>
          <p:nvPr/>
        </p:nvCxnSpPr>
        <p:spPr>
          <a:xfrm flipH="1">
            <a:off x="3882914" y="3888448"/>
            <a:ext cx="8201056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7B6812A7-89B5-474B-AAE6-E595118E4D0C}"/>
              </a:ext>
            </a:extLst>
          </p:cNvPr>
          <p:cNvCxnSpPr>
            <a:cxnSpLocks/>
          </p:cNvCxnSpPr>
          <p:nvPr/>
        </p:nvCxnSpPr>
        <p:spPr>
          <a:xfrm>
            <a:off x="805191" y="4026118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C152AB26-9C57-449E-953E-33A77600F9E1}"/>
              </a:ext>
            </a:extLst>
          </p:cNvPr>
          <p:cNvSpPr txBox="1"/>
          <p:nvPr/>
        </p:nvSpPr>
        <p:spPr>
          <a:xfrm>
            <a:off x="235847" y="3888100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0E1365CF-76D2-431D-B09E-9359AAE95501}"/>
              </a:ext>
            </a:extLst>
          </p:cNvPr>
          <p:cNvSpPr txBox="1"/>
          <p:nvPr/>
        </p:nvSpPr>
        <p:spPr>
          <a:xfrm>
            <a:off x="6341791" y="922248"/>
            <a:ext cx="2999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Clientes por Mês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5BD40C05-4065-424A-A787-227305E41A91}"/>
              </a:ext>
            </a:extLst>
          </p:cNvPr>
          <p:cNvSpPr txBox="1"/>
          <p:nvPr/>
        </p:nvSpPr>
        <p:spPr>
          <a:xfrm>
            <a:off x="6273906" y="3910595"/>
            <a:ext cx="2999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/>
              <a:t>Churn</a:t>
            </a:r>
            <a:r>
              <a:rPr lang="pt-BR" sz="1000" dirty="0"/>
              <a:t> por Mê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681446B-C4BC-4434-9891-893931ED580B}"/>
              </a:ext>
            </a:extLst>
          </p:cNvPr>
          <p:cNvSpPr txBox="1"/>
          <p:nvPr/>
        </p:nvSpPr>
        <p:spPr>
          <a:xfrm>
            <a:off x="-37497" y="946372"/>
            <a:ext cx="2999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Clientes por Status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21539A54-A955-4111-8D55-892A752CBEB4}"/>
              </a:ext>
            </a:extLst>
          </p:cNvPr>
          <p:cNvSpPr txBox="1"/>
          <p:nvPr/>
        </p:nvSpPr>
        <p:spPr>
          <a:xfrm>
            <a:off x="282143" y="4244742"/>
            <a:ext cx="251891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hama a atenção a baixa aquisição de novos clientes ao longo dos meses. No entanto, a empresa vem apresentando crescimento na receita pois o índice de </a:t>
            </a:r>
            <a:r>
              <a:rPr lang="pt-BR" sz="1200" dirty="0" err="1"/>
              <a:t>Churn</a:t>
            </a:r>
            <a:r>
              <a:rPr lang="pt-BR" sz="1200" dirty="0"/>
              <a:t> vem caindo, apresentando uma ótima melhora em comparação com o LY (</a:t>
            </a:r>
            <a:r>
              <a:rPr lang="pt-BR" sz="1200" dirty="0" err="1"/>
              <a:t>last</a:t>
            </a:r>
            <a:r>
              <a:rPr lang="pt-BR" sz="1200" dirty="0"/>
              <a:t> </a:t>
            </a:r>
            <a:r>
              <a:rPr lang="pt-BR" sz="1200" dirty="0" err="1"/>
              <a:t>year</a:t>
            </a:r>
            <a:r>
              <a:rPr lang="pt-BR" sz="1200" dirty="0"/>
              <a:t>).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F48795CA-AC34-4DE7-B212-5CE032FD878C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23423832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SEGMENTAÇÃO DE CLIENTES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Análise RFM/RFV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681446B-C4BC-4434-9891-893931ED580B}"/>
              </a:ext>
            </a:extLst>
          </p:cNvPr>
          <p:cNvSpPr txBox="1"/>
          <p:nvPr/>
        </p:nvSpPr>
        <p:spPr>
          <a:xfrm>
            <a:off x="519962" y="1075934"/>
            <a:ext cx="6392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presentatividade dos Grupos encontrados na Segmentação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EA32E0D3-E9AC-466C-A168-EF02D6C8B236}"/>
              </a:ext>
            </a:extLst>
          </p:cNvPr>
          <p:cNvSpPr/>
          <p:nvPr/>
        </p:nvSpPr>
        <p:spPr>
          <a:xfrm>
            <a:off x="9080740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1A312F2F-7F92-4BC1-9BFF-685E88308F48}"/>
              </a:ext>
            </a:extLst>
          </p:cNvPr>
          <p:cNvCxnSpPr>
            <a:cxnSpLocks/>
          </p:cNvCxnSpPr>
          <p:nvPr/>
        </p:nvCxnSpPr>
        <p:spPr>
          <a:xfrm>
            <a:off x="9701842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2AC52FB9-AFBF-451E-84CB-1FEAAD385699}"/>
              </a:ext>
            </a:extLst>
          </p:cNvPr>
          <p:cNvSpPr txBox="1"/>
          <p:nvPr/>
        </p:nvSpPr>
        <p:spPr>
          <a:xfrm>
            <a:off x="9132498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F267620F-1595-4207-BEF5-8A11ECFAA7C3}"/>
              </a:ext>
            </a:extLst>
          </p:cNvPr>
          <p:cNvSpPr txBox="1"/>
          <p:nvPr/>
        </p:nvSpPr>
        <p:spPr>
          <a:xfrm>
            <a:off x="9172755" y="1558506"/>
            <a:ext cx="251891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Apesar da baixa aquisição de novos clientes, o faturamento da empresa é alavancado pelos seus clientes ativos, sobretudo os que fazem parte do grupo “TOP DO TOP”, que possuem baixa </a:t>
            </a:r>
            <a:r>
              <a:rPr lang="pt-BR" sz="1200" dirty="0" err="1"/>
              <a:t>recência</a:t>
            </a:r>
            <a:r>
              <a:rPr lang="pt-BR" sz="1200" dirty="0"/>
              <a:t>, alta frequência e proporcionando uma receita média também alt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O grupo “Potenciais” possui grande chance de se tornar “Leais”, precisando melhorar sua frequência e, consequentemente, o faturamento médi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O grupo “Promissores” necessita de melhorias na </a:t>
            </a:r>
            <a:r>
              <a:rPr lang="pt-BR" sz="1200" dirty="0" err="1"/>
              <a:t>recência</a:t>
            </a:r>
            <a:r>
              <a:rPr lang="pt-BR" sz="1200" dirty="0"/>
              <a:t> e faturamento, e o “Precisam de Atenção” sobretudo na </a:t>
            </a:r>
            <a:r>
              <a:rPr lang="pt-BR" sz="1200" dirty="0" err="1"/>
              <a:t>recência</a:t>
            </a:r>
            <a:r>
              <a:rPr lang="pt-BR" sz="12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Já o grupo “Precisam ser Reativados” é formado por aqueles que possuem alta </a:t>
            </a:r>
            <a:r>
              <a:rPr lang="pt-BR" sz="1200" dirty="0" err="1"/>
              <a:t>recência</a:t>
            </a:r>
            <a:r>
              <a:rPr lang="pt-BR" sz="1200" dirty="0"/>
              <a:t>, baixa frequência e baixo faturamento.</a:t>
            </a:r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0D77B3F7-4899-4525-95C2-12FC2959CCAE}"/>
              </a:ext>
            </a:extLst>
          </p:cNvPr>
          <p:cNvCxnSpPr>
            <a:cxnSpLocks/>
          </p:cNvCxnSpPr>
          <p:nvPr/>
        </p:nvCxnSpPr>
        <p:spPr>
          <a:xfrm>
            <a:off x="7970807" y="1192593"/>
            <a:ext cx="1" cy="522481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0" name="Imagem 9">
            <a:extLst>
              <a:ext uri="{FF2B5EF4-FFF2-40B4-BE49-F238E27FC236}">
                <a16:creationId xmlns:a16="http://schemas.microsoft.com/office/drawing/2014/main" id="{7BD3E8DF-1311-47AB-AB81-E5A7533247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066" y="1452035"/>
            <a:ext cx="6473758" cy="2812130"/>
          </a:xfrm>
          <a:prstGeom prst="rect">
            <a:avLst/>
          </a:prstGeom>
        </p:spPr>
      </p:pic>
      <p:graphicFrame>
        <p:nvGraphicFramePr>
          <p:cNvPr id="23" name="Tabela 22">
            <a:extLst>
              <a:ext uri="{FF2B5EF4-FFF2-40B4-BE49-F238E27FC236}">
                <a16:creationId xmlns:a16="http://schemas.microsoft.com/office/drawing/2014/main" id="{984EA2C8-4327-46A1-8B4A-CC362D1A1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557134"/>
              </p:ext>
            </p:extLst>
          </p:nvPr>
        </p:nvGraphicFramePr>
        <p:xfrm>
          <a:off x="519962" y="4778271"/>
          <a:ext cx="6392392" cy="1569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7584">
                  <a:extLst>
                    <a:ext uri="{9D8B030D-6E8A-4147-A177-3AD203B41FA5}">
                      <a16:colId xmlns:a16="http://schemas.microsoft.com/office/drawing/2014/main" val="1299272840"/>
                    </a:ext>
                  </a:extLst>
                </a:gridCol>
                <a:gridCol w="1210374">
                  <a:extLst>
                    <a:ext uri="{9D8B030D-6E8A-4147-A177-3AD203B41FA5}">
                      <a16:colId xmlns:a16="http://schemas.microsoft.com/office/drawing/2014/main" val="2831928139"/>
                    </a:ext>
                  </a:extLst>
                </a:gridCol>
                <a:gridCol w="1163309">
                  <a:extLst>
                    <a:ext uri="{9D8B030D-6E8A-4147-A177-3AD203B41FA5}">
                      <a16:colId xmlns:a16="http://schemas.microsoft.com/office/drawing/2014/main" val="1496578207"/>
                    </a:ext>
                  </a:extLst>
                </a:gridCol>
                <a:gridCol w="1128649">
                  <a:extLst>
                    <a:ext uri="{9D8B030D-6E8A-4147-A177-3AD203B41FA5}">
                      <a16:colId xmlns:a16="http://schemas.microsoft.com/office/drawing/2014/main" val="1436704976"/>
                    </a:ext>
                  </a:extLst>
                </a:gridCol>
                <a:gridCol w="1082476">
                  <a:extLst>
                    <a:ext uri="{9D8B030D-6E8A-4147-A177-3AD203B41FA5}">
                      <a16:colId xmlns:a16="http://schemas.microsoft.com/office/drawing/2014/main" val="3409619979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rupo</a:t>
                      </a:r>
                    </a:p>
                  </a:txBody>
                  <a:tcPr marL="6350" marR="6350" marT="635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édia de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ência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dias)</a:t>
                      </a:r>
                    </a:p>
                  </a:txBody>
                  <a:tcPr marL="6350" marR="6350" marT="635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édia de Frequência (</a:t>
                      </a:r>
                      <a:r>
                        <a:rPr lang="pt-BR" sz="900" b="0" u="none" strike="noStrike" dirty="0" err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td</a:t>
                      </a:r>
                      <a:r>
                        <a:rPr lang="pt-BR" sz="900" b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de contratos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aturamento </a:t>
                      </a:r>
                    </a:p>
                    <a:p>
                      <a:pPr algn="ctr" fontAlgn="t"/>
                      <a:r>
                        <a:rPr lang="pt-BR" sz="900" b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édio (R$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º de Cliente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438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P DO TOP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6,1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,6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510,2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94293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P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0,7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,6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381,6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2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181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eai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3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,3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56,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7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32578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otenciai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7,8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,8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70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3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115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missore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1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,6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3,5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3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08473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ecisam de Atençã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9,3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,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45,5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2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565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ecisam ser Reativado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62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,2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8,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7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150524"/>
                  </a:ext>
                </a:extLst>
              </a:tr>
            </a:tbl>
          </a:graphicData>
        </a:graphic>
      </p:graphicFrame>
      <p:sp>
        <p:nvSpPr>
          <p:cNvPr id="35" name="CaixaDeTexto 34">
            <a:extLst>
              <a:ext uri="{FF2B5EF4-FFF2-40B4-BE49-F238E27FC236}">
                <a16:creationId xmlns:a16="http://schemas.microsoft.com/office/drawing/2014/main" id="{E17B057F-307E-43B1-A0CB-085479637BDD}"/>
              </a:ext>
            </a:extLst>
          </p:cNvPr>
          <p:cNvSpPr txBox="1"/>
          <p:nvPr/>
        </p:nvSpPr>
        <p:spPr>
          <a:xfrm>
            <a:off x="6334227" y="2581101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36%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B0915987-A04D-4E1A-8AB6-E20941BDC4A2}"/>
              </a:ext>
            </a:extLst>
          </p:cNvPr>
          <p:cNvSpPr txBox="1"/>
          <p:nvPr/>
        </p:nvSpPr>
        <p:spPr>
          <a:xfrm>
            <a:off x="6334227" y="3048454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2%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34013E4B-22D8-446F-A35B-BCED21171739}"/>
              </a:ext>
            </a:extLst>
          </p:cNvPr>
          <p:cNvSpPr txBox="1"/>
          <p:nvPr/>
        </p:nvSpPr>
        <p:spPr>
          <a:xfrm>
            <a:off x="6334227" y="3925940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2%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0911EC0B-046C-40C7-B91D-63CA7D62083D}"/>
              </a:ext>
            </a:extLst>
          </p:cNvPr>
          <p:cNvSpPr txBox="1"/>
          <p:nvPr/>
        </p:nvSpPr>
        <p:spPr>
          <a:xfrm>
            <a:off x="3890303" y="3925939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8%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DB79959F-2B46-46EE-9254-D423CAADE5C8}"/>
              </a:ext>
            </a:extLst>
          </p:cNvPr>
          <p:cNvSpPr txBox="1"/>
          <p:nvPr/>
        </p:nvSpPr>
        <p:spPr>
          <a:xfrm>
            <a:off x="2055764" y="3925938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0%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B551DFC-A53E-48C2-AC6F-C32263C46D2D}"/>
              </a:ext>
            </a:extLst>
          </p:cNvPr>
          <p:cNvSpPr txBox="1"/>
          <p:nvPr/>
        </p:nvSpPr>
        <p:spPr>
          <a:xfrm>
            <a:off x="2055764" y="3115101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3%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34FFC831-41DA-429F-9465-872DBCC7CE73}"/>
              </a:ext>
            </a:extLst>
          </p:cNvPr>
          <p:cNvSpPr txBox="1"/>
          <p:nvPr/>
        </p:nvSpPr>
        <p:spPr>
          <a:xfrm>
            <a:off x="2055764" y="1974332"/>
            <a:ext cx="526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9%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A965F99C-DF58-4FE2-8632-0C368AED2CC6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4177822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ÃO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948900"/>
            <a:ext cx="11582341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 empresa analisada vêm apresentando um bom crescimento e, acima de tudo, possui muitas oportunidades para maximizar o faturamento ainda mais, como aumentar o ticket médio dos consumidores; aumentar o número de novos clientes conquistados e melhorar a performance de alguns vendedores.</a:t>
            </a:r>
          </a:p>
        </p:txBody>
      </p:sp>
    </p:spTree>
    <p:extLst>
      <p:ext uri="{BB962C8B-B14F-4D97-AF65-F5344CB8AC3E}">
        <p14:creationId xmlns:p14="http://schemas.microsoft.com/office/powerpoint/2010/main" val="4746846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PRÓXIMOS PASSOS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948900"/>
            <a:ext cx="11582341" cy="2814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Investigar o motivo da baixa aquisição de novos clientes, se é pelo baixo investimento em propaganda ou promoção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Verificar o motivo da performance dos vendedores ser tão discrepante, se é pelo tipo de produto que cada um deles vende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Analisar a eficiência dos descontos dados nas compras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Criação de um plano de ação para recuperar aqueles clientes do grupo “Precisam ser Reativados”.</a:t>
            </a:r>
          </a:p>
        </p:txBody>
      </p:sp>
    </p:spTree>
    <p:extLst>
      <p:ext uri="{BB962C8B-B14F-4D97-AF65-F5344CB8AC3E}">
        <p14:creationId xmlns:p14="http://schemas.microsoft.com/office/powerpoint/2010/main" val="2578438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70CD7037-F98B-48C8-A4F6-60A0432CB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3">
            <a:extLst>
              <a:ext uri="{FF2B5EF4-FFF2-40B4-BE49-F238E27FC236}">
                <a16:creationId xmlns:a16="http://schemas.microsoft.com/office/drawing/2014/main" id="{65DACE93-691F-40EA-8E88-1B9FBAE9AE4E}"/>
              </a:ext>
            </a:extLst>
          </p:cNvPr>
          <p:cNvSpPr txBox="1">
            <a:spLocks/>
          </p:cNvSpPr>
          <p:nvPr/>
        </p:nvSpPr>
        <p:spPr>
          <a:xfrm>
            <a:off x="0" y="1517673"/>
            <a:ext cx="11835441" cy="21568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OBRIGADO!</a:t>
            </a:r>
          </a:p>
        </p:txBody>
      </p:sp>
      <p:sp>
        <p:nvSpPr>
          <p:cNvPr id="8" name="Subtítulo 4">
            <a:extLst>
              <a:ext uri="{FF2B5EF4-FFF2-40B4-BE49-F238E27FC236}">
                <a16:creationId xmlns:a16="http://schemas.microsoft.com/office/drawing/2014/main" id="{4E0B59BF-EEAC-4D3D-BD6F-BD6CB1EE7A32}"/>
              </a:ext>
            </a:extLst>
          </p:cNvPr>
          <p:cNvSpPr txBox="1">
            <a:spLocks/>
          </p:cNvSpPr>
          <p:nvPr/>
        </p:nvSpPr>
        <p:spPr bwMode="auto">
          <a:xfrm>
            <a:off x="592347" y="5676181"/>
            <a:ext cx="5233359" cy="908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 Matias Junior</a:t>
            </a:r>
          </a:p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nkedin.com/in/</a:t>
            </a:r>
            <a:r>
              <a:rPr lang="pt-BR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mjunior</a:t>
            </a:r>
            <a:endParaRPr lang="pt-BR" sz="1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8F1744E-DB5C-4E67-914A-5EC29E09313B}"/>
              </a:ext>
            </a:extLst>
          </p:cNvPr>
          <p:cNvSpPr/>
          <p:nvPr/>
        </p:nvSpPr>
        <p:spPr>
          <a:xfrm>
            <a:off x="-1130060" y="-793631"/>
            <a:ext cx="2260120" cy="220836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B394CA7-02D0-4492-AF98-F3A507CB46AD}"/>
              </a:ext>
            </a:extLst>
          </p:cNvPr>
          <p:cNvSpPr/>
          <p:nvPr/>
        </p:nvSpPr>
        <p:spPr>
          <a:xfrm>
            <a:off x="11473132" y="362308"/>
            <a:ext cx="718868" cy="51473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717EFAD-980F-4282-88A4-292D79C4A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8751" y="6107489"/>
            <a:ext cx="528781" cy="52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BCC0F284-4CFF-41D9-9662-A78DF50BC441}"/>
              </a:ext>
            </a:extLst>
          </p:cNvPr>
          <p:cNvCxnSpPr/>
          <p:nvPr/>
        </p:nvCxnSpPr>
        <p:spPr>
          <a:xfrm>
            <a:off x="517585" y="5735637"/>
            <a:ext cx="0" cy="12632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70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INTRODUÇÃO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Análise Exploratória de Dados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948900"/>
            <a:ext cx="11582341" cy="1891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Utilizando como fonte de dados o </a:t>
            </a:r>
            <a:r>
              <a:rPr lang="pt-BR" sz="2000" i="1" dirty="0" err="1"/>
              <a:t>dataset</a:t>
            </a:r>
            <a:r>
              <a:rPr lang="pt-BR" sz="2000" dirty="0"/>
              <a:t> transacional de vendas, a presente análise assume como desafio a investigação acerca dos principais indicadores comerciais da empresa em questão e o desenvolvimento de uma segmentação de clientes com o método RFM/RFV, entendendo o seu negócio e gerando insights para o desenvolvimento de planos de ação, a fim de maximizar os lucros da companhia.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FF20FD4-9C02-4833-8C49-06CB1BC67B9D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277781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684421" y="1100888"/>
            <a:ext cx="11582341" cy="502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/>
              <a:t>Volume e Receit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Perfil de Compr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Produto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Clientes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Conclus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DFDDD11-AA3D-43CE-AC89-5060DC5A53C2}"/>
              </a:ext>
            </a:extLst>
          </p:cNvPr>
          <p:cNvSpPr/>
          <p:nvPr/>
        </p:nvSpPr>
        <p:spPr>
          <a:xfrm>
            <a:off x="333554" y="1138680"/>
            <a:ext cx="115019" cy="720000"/>
          </a:xfrm>
          <a:prstGeom prst="rect">
            <a:avLst/>
          </a:prstGeom>
          <a:solidFill>
            <a:srgbClr val="CD357C"/>
          </a:solidFill>
          <a:ln>
            <a:solidFill>
              <a:srgbClr val="CD3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9C3E07D-5C65-40E2-981F-15B2D93B32AC}"/>
              </a:ext>
            </a:extLst>
          </p:cNvPr>
          <p:cNvSpPr/>
          <p:nvPr/>
        </p:nvSpPr>
        <p:spPr>
          <a:xfrm>
            <a:off x="333554" y="2230259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D448776-6C4B-4F59-8271-A567CC209E6F}"/>
              </a:ext>
            </a:extLst>
          </p:cNvPr>
          <p:cNvSpPr/>
          <p:nvPr/>
        </p:nvSpPr>
        <p:spPr>
          <a:xfrm>
            <a:off x="333554" y="332183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2D83625-CEEF-431F-B34A-C05B8B6C6CCD}"/>
              </a:ext>
            </a:extLst>
          </p:cNvPr>
          <p:cNvSpPr/>
          <p:nvPr/>
        </p:nvSpPr>
        <p:spPr>
          <a:xfrm>
            <a:off x="333553" y="441341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0CCE689-DE92-4608-B860-3CA2EB4CBCCC}"/>
              </a:ext>
            </a:extLst>
          </p:cNvPr>
          <p:cNvSpPr/>
          <p:nvPr/>
        </p:nvSpPr>
        <p:spPr>
          <a:xfrm>
            <a:off x="333552" y="5504997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7851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ângulo 29">
            <a:extLst>
              <a:ext uri="{FF2B5EF4-FFF2-40B4-BE49-F238E27FC236}">
                <a16:creationId xmlns:a16="http://schemas.microsoft.com/office/drawing/2014/main" id="{15F25149-7E6A-4A35-9B5E-717E33D8DC6B}"/>
              </a:ext>
            </a:extLst>
          </p:cNvPr>
          <p:cNvSpPr/>
          <p:nvPr/>
        </p:nvSpPr>
        <p:spPr>
          <a:xfrm>
            <a:off x="9080740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Retângulo 4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A8dKUTOdp4DZxZ3TIYuZ4D2nFzXUknbVDZh/FAzIp+9X3+z9SfaFgY0ALbXcE9jbKP6z++m4MlqQln1YYwTQZ6v9on+q+pD5KQRC455gIVpLdrhDH118HzOusFV69HKRus74h84UmlkHdOFUoWZA+zCCk+IfVjEaXdmRMJjLOVWet92NfVfbGS3e5Wf5IYxW/TiZ+fh+Eg6a3Ix7J25y2l1TDd+gPsOOqyqLa3Q2vJ9bon0snRq/x5b1xeBVi5eTtLLbq1vKWr4ML3GLtJ5nLLX4GLIkhXVMR3POneM8ycdcacPeU8X9vHNLO0pf0oSgQHL4r/TWATtOdSIDcJ/WaavGPV4J6C7Q3nQjPOnyCh1ozC5driogUSD+7ptDCLL3FBI0h5AtRhzlrZXBzIY0ziQYjhHqCTHO7qQ7b7BG6IFT1044mAfbzSCWAINvKSEh8zUO+Y+tG2GI1b9TlhR3w7T2OYpNx35YXH12nBqo+pXeFryUPYeisQjYE6yrEp5nuRzJwXMQ3MlpZChlVT0esrUFUtwqZd3A99/jb3LGjbXYo9XMzQWrWNHZY4C8V0wuCrjjoNqOlCy8Mfb/MyXEuDnUcUx+Weq4SGWNOzVMGiUUVD2+8l6NUuMCmEgiIeTJ1psS0tD8HwpaEQOdQ5NiV336dj+QJp3HVkichE0A4Kve2lpW55g9U53DzgGpVsbQVeHC24+jENimq20BgVUR6M/koiKiOa63Bhrxx7GTuG7JmBa9o7j2pfwh5x/OGEgu949O8wxOu25AeCasRyTINupL1Cn2oUGdtQpkkcyvz2128oIkMyribZMrrC5gw08Azj5A2a0XFEpKnLvBRAKyxPyn+9veKurjWOuSyHryl69jvn/NwPUtHz2Re4Q+aV8TmmlWHDXtdZUZC7QME/cJ/+EFE41KUbRhDteFMt6CqHHgO7z+XvLBro+7+8wQ2+6PbusVvmzYE5+aNoJ7M8fNWs7fLtWMkQ8PAbik27eKGXV3BfQk48ByshQEScQ5R9WKWy4ZMZW8gyMRXI+WaJh2jnW6PT3rsAa8QHwOZ8IrrAyQQwTOEBVoOW9j7QHR2I6ilgJ5JbY8sP0WUMb2w91WH8VfuBfx35iFNUUXbcLOUEuQJh5G7BAeyjw7YeR5NufaqTby6kMqCSTfuaJOmjKlI3Ff6oQOc2GUqR9nia+qTgG/fAo0d4kLpW80FOW/E9HcmrisKsX1yOqbqHIIzQwcTAZsuxFUrHjS0ebIrjsF9CNnD2zqXGfF3KAdSzs4GUv6QF2+7maLMqQ7YAU2hADmln6X4IN4B4XS6GGrTN0mFfGp77V/qkGy3pb5Qkq6vUL6P1qz3y9+wFrucxAEDEd2XO7Yy7JQHRTEmXVo18WsFe7hmiiQqEXyulvUfQNY0F4jPNo3ChFr7TVnyz3wUqH5sFi8DkEQRddHLUWm7wrvjhfnM6luO/VQOhEcX42jrR76SbB3hwtH/OY2rd/dhggQb+nVFO8Fqf7bWPnRXJLLxEVC+vSTZP1E/i/Ry0t94jlakY0ebRQo7qdITvgaSiwhJmGQMDyJYPxBteNLD7TI5hkD1Wj/H1sTZNUlVhAtgvjd5WmHkkBIxgc7aiUChfXu5DNikpTUjsP8DKC/MXjKyvSFmlC/4qFujBVVrLVh5l4ggiXKFj+wvATgc5g6uaRoFb1ltuZ0PBs60xuNgquBe5pYeVV9sgeOVeeoYYmHgs1CbLEYvpSzIVFDKw0gteS40sga7AxYbc8PFANuPRTRkrAYP/Lt6T3ooAGZcel4PNaX6+K1j8wl3WxebY6SqRC5vciZ7h+oku5HkGpgu1SZylFGS0ZIbDDqj8oFboa1XHlrcgNT+jF4zu+Dnk9YLjMd4OP7d/A91tIca8lYGrXcfak5fQlybGM1mCprX2PC30VulYliSo+DaXzBrfbHFS08E1MlVxa55rqr7vawVrFoQWzfqUqiQvPTGztNQpg1kpNcWdQDVpctHkt4irMcz7Zjw5aUoXU301zQd1HoSrY4XPNMHBV7fjornmuDU6W+Bf8Qm7y/olRqah9CIkH14MqWtaVNtGCoUKpFCZSaHvBKwQPm6MTzKFMGyqfpAVwRIgCjs7fQpuPbhQoa4BI3XnfzuYW27fFmhGPTMQKH87Ik6Y16Msbt4c28eRma8fBG/fi3outmNUpt28AUD7AXHiT35TvBvnCOUYFYZES3qV0pVizJweSM7ReKXT+SfSFqS0PnMHuF/gJyr/6yi3fJm7hr9XwxBqVJiWqBSqpkSc9rIc9qKgxjvaMoaTQ8ydkPQYB5qg2QncXNsqqb0PuRDMLxdwrPm3j7butL0G1NAbqu+XuAoim+tFg55HYdlRxrVwxFh9ggupg8CJDMtl+IAYAa8kJ+eUW8itbM0zRpPefc6e72zYhAd80Tq33JZdTi69dUloHuiFLPpgJlklDRZ+00GtkKrlwudHwaAnRkcb91ydCl4BuFVunj52OtzmI05uXsE+2mSBxsi5bf9Mn45enejoNibj9gi9QDZNiD9OoBjdFeGvsGJcxuSHCh/0DX59FnvGTZbSO/tCu379JLpfD6G4zvSxsMkldmUMci4kgYofags0jneY1z8wNLC4cSOszOwdEuFz4q9m0kDWhhE8IF3IkB2Y5fFJ6V+Us2eWDE2Fl+doi002ZnprgPw3rPMqmcGiFQx51I2fIOaP/EzaLs2/lvgiABOYxUOAlaR1gN/TIyHFbEnhHNOOsM3FGYw28L8Do1k30bOqkBk0ZOZ/3+WksFs1zI/E3r1YGF17qS4nTR9EN3WQnSxpNBLPh8fl8v8FUxH5YNzQH2H8jqw+tiEaE9onSrEEo8rn9JONgNphafjr5tEVZPIGQmvx8FiVYSoqHzIaC9Q0Zy2P26tEpuS4FfnLvIBnzkGGmiMJvpgLOB4g9UYF48cVX+aXj8/EeKp43wKoyO3h+PUlUq5H1s9IlmwWjm9XBbOXtimV2rvApWAdzg/hkvgxoJ331rlJ84AAC+gwdDbHAsSe4tdMfN0BNnTVrnftlm0pP68inlmeT1wAfwlbTfkP/2OhE4l749GgBUL3mjQAMX41y/7A40i0o94l0316IleHlH7umTC6mC3G6otrfZwtrxS7ZVkPkL0ZNIVIiGPv6M3YTTV2IuErpkjYBntUdj+33qYBtrAyyfM4JwQWixqnhFVhY75uqGncVIv2fMttmMyGwxUB9NTTXcHTNnBG9yyR3I3dnDxJTqR2cQb/DJ7+4M5eAlOnNR3RSa1F46qIimV6RV1/E4WW2sisw8DcjmsLuF0/ppfhwmVwpK6sY0Syn9VPbd8/cEwwR2oDxTd2jAF5zokoxQGwb+E1LpDoJAah1HbpsDezYrUNUi/C+cQtKjmLtJt9oEtgY9lIXsEiQTqxVd0CpVySOf1dyW6RdDHfHilPsT9VBZ+8q+km/ODPRWpiLnTB4Rz/4vCZ+vxyiSwQr58RfgfNAHTOkt9180ua3ic7UKAdN3VPqav7ZyrgSrcTmy99t24X9mVZqJy2uO/4LYebKQmZwgWjaC9JF7E9tUyLXeLqlMbbpE54+8/CUgy2BFh08DDnerpylwWMptI3lRfrsSJFUTwwZAqV18RQewGlHXRE4a7r2mAHYWMyZSrcVM1Gx8HgZlxAmos+C9CSlvRxwAfZk4FtPJf0LgHal6S0ibD1zRqICa4i2TQsL8hacIkMGgAPPX2TWnyout98SSGu+wJcpnECtAjSUqnd7c3upQwP87JvUd3B//eDES1Q/hnGc+TJaI1SlMfBcc4q0dFx0zw2F9arcc07tWa/XSNSKmqM6sZG3bFOysxNW45uSuOOj/y+OIcbh+JYHs6hPYdnK8xUTgaWPvbhkgeQj28FpNvRbx76Py//miF/NOTCAlXS8VcvOHHACrRK9CSnxZMZTuMUUmMUhGnv11efT/erRrUyPMfeBa+9LP33mUrom67UMmn+h3yNMUWYVJ59yMcYxJ4zEjCaqcWryaZz/hr7RPi3s30t5dYCgbaa2e1mV7cVMSyKTfgDo5FVk0cdKBEil0ooxev18jcFmXO9d7cVd+Z9t4ZNqxE8tp7E7fzUynml9xFPwBvXBuo0jytjAVJOjXh/xk2B9DbJN/IGfyEN6a3UDCjT0v58HGIREoAm160fThSbHqO93KyA0JfM/ruZrjCBsJdYf8iskMqTztKV7a3Rokb/1pcFdp8V+h0vKO0wIVk+YZ3VdlkOrRkmwLnXfS2OT7SUK4tRfaYo5uYDkZpYc3kPanR32m8ejgKrBD6CyaOGiU7Kc3oQ1Z5lIOAXJrAiPEGdlyALXDT+EanTkX7Ao9Kv1vooXCqukT6I+Eaykzwga+nxTP6Kx2VuRyzWwK0F1eOexnHhSrT9l2MDWndaBLAO2hnJcIdJCY+0uhyD2s/eEu5PkYLpVxVMfBUo0zCtHDNq4PfqFPo7AJNXd8PS5ytGiZGGkedk9XpX5d32VYaHeOFU5vucOYRxqKXHbbhonvwqtDJZp8iY6zxVaF0iPwCMG0GnQIupppHl7VfuzEWBxeuGuRsUW+G98JI67VRlDo3G4a9sxE0mvx3GQwnMqd9bI1yopKJbLnk0eRjjnBsV+eSg0F+tMQw396oBm6GsX2tY7+WMvr0JSdonDj5GNvCjUjCR8y4p/wEIx9gJ9dfsdcWCuOayO907+05AyqAB+M94uk2gfvvxrdFwnyxMMzvM73rQTvfFMqRNuFahfv9rnje1ti0Sg+OKi+IHEgVbKvv7f/kPSxT6VgslLw+t9wXsNl5y8maFnhNvgnuTkyT4oGaf6UMNan0a6Zomwg+gV94RU0WM35sHw5gNg5X4ZmX1Uoryl04UKpdK4saL7evz0pGtcN4G9YEbaGBJzpAyajYBcNq6psr9rSjhvGtI4nuRmxD2p9rxlwEs6WMO3M6H90xIf3pDWZq8CKa5Rso+hwxlXpeXxjqnt1rw+JoFNRZa09YKAcfRFN+nhN1vJlTFcpc4SFD/3xqaQv3X8W+b+Cs3lA+tdbLBFrrqKHr7P6Ym5d7Fun57y7T4r/LAY/txpoiL40nvdibVUv1sTO/7ZXLAW868RnYvNAhoAcs3dP2m6W4IDI0Sr9WgHvGgP0PyQzRSkX9pNnwVuamVhiEA0FF7m8ulT/Jl/ejckk5xuVnWvajUU0aBBxcQarJwGu1PcBnKk1lplEgC2Eyqw+9u5bAQA8tdETkQQSrEFa4hO2iNNh2AFb1OtOI2XuulWSIftvQ5yQp3XTUPMbBe6h+JoUHQPpqs4r/05nWW0SwLw+N4YkT77moNnIm80A8DI0u+ySbtTRBFRLGaQVAadqQuspl9lWAtfrCKzac+4eps1BGRfIf4cCJkbilAUW3Z6OgMMPmxjSO0qlz3w8tOv4vNz9oRghE99+cE0nnQrgDkm/ipCw+hTWGlT/QIKP68Fg0pcqVVwO8QkFp1T0a2ievFVD89m+37ImvBWElnx5VCkm9/mtzul49SETbTXnJ0izZE7xPltj1hlB7olALp2j8t+tIR6II77TQJE7YyhR7f3LTg4Gyh7RNOKXZU5/aaT/9Q/QTg9vSIDk7gnB3VPOhv9YTIhFJejLN5lRthC1oh6Tm/wTa7vJzXxstA5WsFPOjDi7uwPc1WqV4y0Nkx2ZlWFWWw+xMA5ytZJwQ+iRwNgtEKKsBO0KIYGMkdqjJHlwciaE/dKMxgGmjX5sEOb6aQ5oXV4conDxMHe4a0tG9qc7Hi+VO7OS7qgkcxkBLyw3Owy5I4qmqvPaoMpXfE2+W2wA/Jhp0/BIXQkjdDbKdRHAvp4MBQCCrZ4oMaVzxRlVkU9eCS+C4TS6mL244ZzJxiv96+0yXiNHkaaVfG6e7YQfD3vCjt4UYgmuGfRxPbPan5Dp0bDXuCZdRbvtK5fVnElR+S4Uwszz9xzyOYek0n/tfPfQxV3qctY1LzSEisVBTCdUOaMs10NTePbYKcAczeaS0oy2Oc5OEYjpeJfnMYzQ5OV2Gpv7R0TSQZYLgjUg6bII6AqX4LEaXaJR1BVLn/YGq6AydW3itUjEOKLV+XxLq/m8wKYeHPUIduzLfHb94cuzpoCzEcJZbSGRUgO21LpVVxFRBbyGQ4YpdJnoDe1G53qulKj3uGvE/SDqc/yZsTRI9YGjqdzeM0/ipQqax1Nb+aDE4In8nvhiyJwUH4wXwzWd37q26JN5JyWdcFrXO1ysByLFe4ukQqYmpdddZ/XwYdvLdzFPi7RDIqXiTI5Mm+dADugoUOHQLr54URD1HnjRp0evmQ9zAwX5oTDn1TbBqUp977j5lyPRyQ6T9f+IUDDm1/JbjA1q4yfTTcHgtU7jIM2GkAgmT42BzNUbKTPiN9e2jFnGt354q7z1dFtBHJnrjzHpqIflQYyyrmUSO0RwZDvLbo3AufuU0VuKW/yZEFTNAUBj/nizemRzZev9csXsZ6dsnKShMNETE7FdCx8mQvjDcgHA9STbBb1deRL9Xy2kDaonr/LMSnYGALs5VHt7MuWE3ERIo2HIXB+M//q3VmhgasM0dxl7WQTzaeAGdKCZ91ZxtqHaPH8eUkJZiprzSyWDDxdYFz5+sOtAoWOvZvr9MXP4drHT5nssJFrwlGlwc7PXQS8h51KlDNShnW8LR2c6vjb+qs7L3VVFQ3H9Y2TbjrZ3PJdmD5uTjjoAYGYjxHNLrc64YnhphsMYx5kq1IAKn1ghH3ivRDLg32eHtyRvzKNvMmbGXCvctMlLp8rcNOMZurE6Qen8fjHJ/+gkH+wcGGhKq2gGUoFljGQhKi6hWaUs30+ODV9xVJW0wuIsn9Xn55wEDESKjgIgDhkhGu8n5PmrFSPkU+gEH6pkL2UPhbqtZeHSbbLdLNV/I/Mt5Y6SQh4BSP8D7YqfYir8tqWmTpTFACdv6Q4UjlH0xs1Se11KSmodmBW8CPevJsYqEbk7qP24p+MEHRMKdRxc6D1XcwhVwhQ5M6pIZ9cBruY/tW7BF1JnZzJTqBgXAnw5SE1C7sPZ9kWh+xSsaXn2kZ71nBnETV5Aopx1fepMRH4ykbr04OEqKH5emPrBEaKVlksla4tCa7eMSHjyrAUCXNjTwz1QPloFR/9KMBhX0K7fp0P313nZ/p/DjnclFQa7hPZrYOgwgeS4YAsqPd72pqudiX9vuSJiruhfU/6Pzv8aQwE139W3I+clzV8IRE6ZQrvxqSlIzm/sX7+dmMb3Zs5WorhT8wG3K1nqNSGym8px279Ofj2UginI5beY1a8+ondUjlJ7TmooE1s9e2KEcPMtMkgg9rDrbw7sJ6swl2f9br5CAidPePSrcCn3tvLak+tzuwq4H5KJiGq7kbZ9fbony6dkGg9kcr88uB2SwGeYHGBDcv3xsn0E3NC1tX2X6uR6vSrhxlO08EMSIGHHTkgTqakcgLXx37OivLZTV8C2xONei+Jzz/fkkTmu/voVrLRfhVXgYqYsBZNK2MQOaEzmPueNpWAJ9ZFb7yAHjbq7Scmm5VibMszMq05oRrC1218pv6FCtfxJGTii9L0e5H0EN8Hug9yJ1wqI9cz+Y3FJgULLE5M/ZpCuGzoDwITG2I+OqE8B6JTRF3arxt8BrDJC4OVPWSoGnMACKyjZmQUMBLPdA3+LttOVI5sfvc+WBR1yb1KpEJ6gqSlEOm7sECbVBMgPBGJXVfSbmhT2DDsR6N78QbGRI3/IMKY6eF+pX4PvDKEs/53BlnEOWT4JGB3IQuentFbC+xEneHjRCovcYLZjLIwLrYerNjF5buYSHIccxksJvBFVE2zDpEUN7cvw/GpiSWRvJBExwv8D7k6ftS1t+wnbDOnWSEb02RvPTU4Ta0NETLqprO2QlmqjhYTDz9Aq+FBhsPTFqJEm0bSsZiQo2NVe5g+a3zm34mg97DJcCHct6vJCWP0UqH3KX357wNtpQQ+OsG9uv0/fptXw/GtLUEFpCVa896TG6dU7veOzhtdrQyJdqQgU3qK/c1Cbsg0da1BoeP9y5Q3pKv7EzzoWMG7fpUMP0iAWDfFsO6OhpzpwBdojC1/fMIDqnyO1RUbheIzGcfD1OlfBNmjj9zyByJwvFMaokO/JIh1UgSmNeBs5IUEgGY4MM33G5DxBJOZ/XSXWV+Ig4qtC0MSc/HiqeCD9WtWNTJHj2QzKnaR1q9c+lmsMTHVrAd38Mml5kDDxxHo7lwmuMk9Y6emrfRkHo/v/uxR8T3zh4efvCA5y//0Hoy9BDUQt34aFCNlsbRTt8zl1xAkSUZemVujafomBUWyngmDuJ3WgkVbIRbgo9p6wmG+8bUNgk98lPuy2+7e83k4JWhUbZ/V8RcSKEUhAn0OeIsUOcH6CtuLKJa+jdoi9FM/7W2fK3L6kHzq+8+rW8p6XactesZF0xkKSWkR+LK6T9tgbJNlkW/XaikmGvsZMcGCbg0cVjSGkJcO6z41zFGWU5Q9lCgWmSezbsOqvROP0Y6jjvSOrk1mZeYXGQJvctb6YAsxpnUhKlWGy4cgj4BYhMhqwUqV5O1deIHNHjKv0aD/S9MLHOKK6G18vVvsnJst3ryTvCBPBxQGS4EXfBHRrnCNSFKV9jBWkHhyu6f0L2FS4/afSYIB0ZrxTS/z7mwclXLz3HZ4bcWzq4XMzSUEuIv13AVWT842/wen1SZ27spxeQzvUrBVAJRfMvb+AG4Ez6sE01eFI3Yw4dbFW7rk1FbvpHoZ0hDWph0AJ6kN4+4eOIO5i4icxl9EBEhpzmGpkVvOwJZxBGqCM5svU8Hv/rOuGYb8rXuNHulZGk6bC0Bbnid+M9FNcCnZGpNsZELADxV0J2N93I1u9EAvX8MVS6uepUAGnXY92moF5P+sNER8Yu9dyv2We+hS1k/vwC6zcye0TNMbb/254GoRslUA1xL1p0gIR4Ks4mUFH1TYJDBSlDpC/mtP2dxF9FsmXo6NO/KUR8j8WJEStGkw583Fy10nLucirgKh0TvZQloc+w+Wd6MWIFtpUDgiDAhYkxOwQxDJiripaTqoY0f2xX4BcKbAnIUdARxiyCdd7ZV+lZ5dHXeLBoAy5vCH5XlKnxgfbQlnhts88LYv5lUUREMxDiK4x3Wp1pgcdu6mkG1Dnd3WA/qdT07aQE4twaatiM3POV2g0pVavV8zp914LPj1Kt9YUez+VtrY+P768Ww/8qyKFBMGJ5Mj3KeaM0iKvhQALDHaGRs/B4sdEbpPOiqzgkXlD5VKQaLip/GI/vCm0dDz2Denwa7RVWREsXVFgZl21CcIGsB/Ccp4T9hUfG60QlpZQWk8LN7ZkJsxboQ0eAMzqUMrD+foFye0aDPFaFB6PgsBtBYwK0frXo2vvymkBEHVVhkOPWeZxhV09bSuJoDNuXS8JI4Pe0qHcOdgKr+Z1C67STOnJ0hpb+rZM41xJuMzQ1WRTXxhPdZGMVW6UTqJP+oUcv/tMcrtpGtKh9dH2nQdmpTtfvgGQiPGHEdwPGOOnq71t/Ze7rJ2fBr3EdcMzMjT87Z9MFhoPo04kRtjxVQGP5feFKNmOIOLeIeBfsy8xsaT4wA+rXd9PIUDbnLH7gBO7bDznYKxbSSM5aqA5Wf5NOBVf/uN3qrOdM4fNOL2azkOHAAuVzyHDUlPOu1UW51Iq1yOUfIuNlDY1UMUMn9/44nl3LuSspQEw7jr1+uCPRDAhc/bV3VKL6iisOkJcBPW7n6vgqc1Ne9xH7axjxGgzg2Y7nmtl9XKGMVQhP9oGJShK8F8kWkGKSHJBTjRHRuH9O9GIgMyrlkdDWaPv7tRfTbGBHCS3us5I6xYfAK5DuV+Ip/ISZqscSxGL2alPCYUAprcZDs2yShma2Z/rj/Fm/l2nsiWVJ18IjrjdHaCqoHdJkI+r+BzOKMEz5Q8oGeG3Sv3tb+umaSLLCkXU8s/iUg42VY0PngrVxZlLBewvwkG63tvNN3SJMVKB06HcfoA5aXTrJJsBJ3iMe4ukJyQhoWmySsa97D2twH5A4MouAJ8vKzV7rLKJx/bkyJJ5G4JdZtBAyxdZqFIdaUeUcx6C9qFdNipoiH1hdydfZiPIIEvklfrNTJ3W4xTBlgx+odVtEnAfhTIXT4fv5lTFV04XGDsODD3rXIFR/gOomCPBllD2RnZtUHn+1IFjxRIyfy0UYyRYfNOhAxRpiRW/D4gumB56q2a6pvst3ahRz6bbj0SW9Icuo9e/eqLl6HDv993Yk1EQvx6LfyqDdv+qQidf5WyPBfy5UH2cyKiCh8qedCW2oH+2oAvju0N5mWPuQmlnbftFHvZpe82hegBFninB6sei9i1VUAXNLsbtAYbp7cqGmBMrlE4GgHtswKx83bRibNDnOvGJW5h/zkGRkaAlbF0xLvjFvIU7/nvaQ5Qh3X/h9zSVxAZaJMVVgC7ej2C6WxWifEFiA15F+ZOA0vhxVJMzPLC0939q1tOlZYHFqPEAf/fZl/j4FM7wLhkfaFh3EiQHWy6fO8GLty6KBF6yuspcoJiQlS4xb3kKf1iPW7vR68Qb2SKLaIav9mBA/zFXCQ+/0vV//XVtxednyuPybn5S9jX3bIENnW4ZRQWs4QyveTP2h3+DYtUaLw/TCVp/76Q0QxK5eSuH6tmtDUeOxOevXpQ9ZdPwk8h507ySVPY+yGrfHjNjXXcpVqWOx2q3GybjW1nA0W/LDu9NGDFZBJ2yoT6Lz02SVyw5cmIaYUdh4ghJbSZ1j048UVIRbhs47n0e6i2fAIsQHFUo1k17sd0ou9cHbwORpqsW5gegJ8Yv4X8FUCiFWAWxsvBZDZVc3ZNsEnc5TSF7ADIi9twkHAiPFi+qnkMs3TK0tOY1wYZq3cB2yv93KN4rKANfImecR5oxbCGhaTEu30AgYzopVgS0EkXDPBI4huyf+IPR7Rbo0Q4+698oq89tzmh3tsHdIYc1V4joo8TB+5AvWUTmkY6sCGOndh6D0q3Zgucv2h4cidR7Fm2wUJvSZtUhEc5kXE4+RHlr9hFdDPk8aNc3YGIkBPVOyGWXtwbe3QNEfSngf7cLbwe02J8PpqJmEOrUho8gXdC3sVQ9Y08vdTeFqH1CCVoh9RteaE7IgcG4BELjLhu0z/P6be1LDRor3wnmYUeD/NaSnx3dI6rYWxYR6hwi+fWTXR+dhGbTcaCHTxZVIZ1cYBbjDUgF/UO6yu4Ng+QUaQalEOrNRGqHhhgznHvejFgsHgVgt4QQVJACpdKh++um+0M+eV9ZO0rQ2o7tQFDF6IzVurozsKgOPeIhmrR/fkHbbfC/qAtDG28RMG4YPchDpIr3WegLpE6pjwAub0NGsRpV5GJwPgSk0gd6QOX7CiEvwBYkGj9rLLd/dAb9clLhuL5mGqg3UofwBU7kw0ddlrcw4WFIOswC8nWk2eTc1/qLRJZVdepJOUdahlq/Ug2K+CXgNIcMDY+ZVbvHGA5KDDmy9KQcB2lsbAlnQqFZCJAP/4SMJW2gj6zyuMfqDWZonHHBPMBNmmqoStLAb7B81N+pOdfGuXuLKDxnOyhmTjBfZdNUsHoYYl4xOX6b5hLw6SD/LvVXR7ONVGRidn01CbYkNlaDhyhqQvY+B/e1svkmfnvFRAkzQJlX2DsgKkm6WjYm6MUzf5kilFGi+ro7sOhH2/87afT6o89U/AgX54aXrxygorOJneG9zyfI+91hovHMKtiRc2cgCFo4wi2lzcYNn2arF6Vfajs86Vu5KhrawUhMg6VNqLpU8SF86/8QeU/j7P86jQBhe8fJFrjeTeZvvSzVuREgAL9bDQryzNjFmUBzA1qfrW/bD18rpYLfIZgWLKU4aVkWc27yHxMOKIAkQYOSLLOBH1MDQr3IKfmNiTdNn2gJ0GslY0AoyNZSDBccVImlg6PmwjY/5pTre9VPekKZwmSjK0hnSJlPghqSZ+sxOnsbKma5oUiW7ZLXBF0E0QcujlXl9fKUlKvmqnuy0T/QJLdbpa5autGwyKwjwwNi+5OqC+iNtsxwwKmjfy7b8IvepHO3F8Wcf0rN2DK6gMqQ20H8rkK+xDX9c4gTGe0BQJNyDLQ+aBgN21KuRlUFc/5H+4FzIIW/Rxa1roJfcgDpVvWMWdT4Sw0soSMEI1VadMoZKGLyU61uPbcAHFJDkT3hmp4b7j4bBt7tSH2BZpMvqAuFg0SQxJj//LU7PXIv2uB1t25PIJGr+RC8+n+K6kC+mMsy9WIW+bvpHeFqCh0rTGlLZu+i7oQhuCXieH9g4meGYwZXeogO9qcJ0hLH5uIkMCHGdYgOM+lwPGgfaBFabDpbSAL8EG6R+TOd3UJ4Hwa21yqGZyRwbTAvBTNGANUhGsNkBL8+LrRx70mIFBxjj8g2H8jx2kWeA9ek8wiz39Mv8YQWdGZnSFZ+1qMAlRYNr36J4f3ju/KUTGyPpdayUkMVbdGOfAQIMuYbGH5AsCsEEbQGUfXm6lWzeGajvtZO25KUIs7Qje85duDuDWTetPuXhZLbysgd13B9F3aChVsuJkVjGAJyHE1W2HBGzt7Hpktlw80cquDwnQs9GpvO1hbphfoBM+6QmJ6F7Usgp0ldTMq3XPEiR7QL20RHx1EFoChp9rug/t8QqtAwYc/RfmrAc0XMEz9zpcPSq9Lo+D0c7HT/Fr4K8PlHP6+/IpuYfGQY/Q7zCqF33t1IY99XbIqB/gIv4mO2c2eGAAPTmvVcagnISOgWt3RUnBHqYih1af0B9BIhxY6PDy6TMPOlUTaKHsPtvzB1477bsS/4r+0LMKlDRSRu3rsYzWBxd5vqeGsLG9PPkglh5Q/Ay/Dsa1Cfl5Y1Ll1Z5dkZ8FWFFiSgSe3ITjGRzmP8PPbMnru0pSwLGdCK5Okg23HT7vbyNxV9wvbRmOt99nmSq7zLzYwb4iyfV12u4TAx0Jkzm8FfQr/X2Tu9dszWHM+ReUNG2g8AdsISttdF4pTEyUoFHAVwTpZPLlsN7EJ6vhQCVVO+yUu+oO1H3gBogrV8PnKEeAAL7GVU+POiOCo4kAKwMLhMG7gCM2/K+RZ28o6uqTApnIE8ItfrjyIst8VSZdBnkhlXA5zpPaqjw8D77/cFMakF2U7qOGCLf48lxC74x3HdGH4/JcFOFwmLlEasNOuUhZZNuUbCYJK+AAaWL13vAcr0/UsMF0waYBzGFM+CPEUg8eXzl55OXSpg4UsWa7PrZVsB9PV89RCVccs1iIdBzZ4+r58Zt0S2UqmdFhXdGKbIbuiYDxuudRPv3vhT+7oJeBZPw3aVPaewne3jHWsn0LXpWJDVrxLIhfTKvC0Ij6c4q0XNScmtgqvyOeMz4ByR0zcaUR1PzIJwwiSaZaImdhOOqGK96mYl4vLtosVNm2yujd3CkqApFF01c6eZVPISPJAyZuwzgE791CTR492AN3WGGdDrDQUf4oLTb9AuKpY1dZtg0FQcreeuVnjPXKYPl2ot8YMNPsKQcd+ZOVE0heM5oaSLCuicjtuw/dstTKZENvn8bglJ2vIkFF1KnUxYJWcnjULnGKn9UHipBbVezp6ARVN4xqD+EB6tkWtwLEhaQGBH3HXNR9Y+eOShn7FMTZ2FZjgMk/CuW6mKVBr7HR7eLUiKZ9QzthcA4f3OxvHmcW7ZJWnFd4u8GlTNA1BImMrOjk6ooE1aYBcCUzyDyU/SnadQl3Z8Z2fi69M8KMNKO67sAaomnhbvaiDmbEbhRjPJFtI1JIbCesDSowwiZIjJMXF2GbQ9Ke0+s+ykwBc83p8avOGygdIdEdvh76xk0ekcsRvSzws0w4YGVOqxwkf5gMnxLNeQzIgNrSwgU9LPHbRnWjBbPN/RKnLa/s1gOHbg4awezem6QUNjpFCp3XCc0itAeCh3i3uA2aAXlIid4h49O7IZN+jX51VFPEDrW0AAEXsWr/03uiF1GVEhHkvLoOQJLb7Aipcz3cPOta3qAl1z6v7EoP+bx9qfkobjK/vjgyhaoO7bGPYo/qS1lXLmS7tdzl/0LIsiaXLGO6Y8Wf5yWMXGVWN9MKybWzPPLPHzp18/7b61TATOvyxYfnd5NVfG9DOVw43lO3gX4p65R/DUpU3jOXWqy9YnLiQMYbEtPZF2cTeWX1bLXoee7mJ5c5FNJFSMFMDgZhBWSE2y1uW2cl1n/qx7t5iWu3tK4M59pT29QWBq2OKztDIpCxIMeXfnUUmGi6/IwSYx0uwE9xmMpYS668qHeysNdsCYglCw9Qv9j53gpisOVZaqm2+CdqeNM1EB/Zr1x9G7DsaNNmJhKiUFzN9IAe6yiiKxNr/Qaf5ELe7YJmqEFueW6FsIob8OV2By16CeZfC5ydtfuXvzDU9lcur91avRNpXe5o8NXs6LEw3AlVtjrPFBYVVIAMgSEv2f54su+5Bvplb1Xe6k/Lhgbap6peF0mlp0XZb5p7nxwC2wLZZAQgR0m4HClxXCpwiPl0oNoPbcIS5wcuU/cXC8+R67+pjHaPQG3dkARJI2nfOWTcYk19yCwKDP8+3ofsXyqier5CaFPymPYm3rTIZxFqJsFijfvpaeWM4dgHrRHUVeA8BLNRsL783eL8o6R+zDqmL8PqZ0n0AW9kStM8mKffJl8HnkJVyLs1JJlCxBef7MKrXa7t+rLbbpLTauZQryDHyUESJQAf0kUwkFKR3cOhNb0N16dz/SCUZn7anXq7JspcG2eVS9IcBRJG/8lNWFIQBn1X+dk1TjjWjYBGP47t0/KkTpCwceJpPhf8/tFq721jL21LGeJNI8a2RQKgiHlgBB2qCG3IwHRtG486eu36hiCSFml33EvbWYLVtNj78BMISCyXMtjfgj2WloWIEFp1ogJGSisK5aUX8V+yOLSGXfIMpODDEFn0n1zQ87Th0KyDDnu28aguVwXWNtuGCBCdZoEW1xHSlpftysBc/otQNNdOdfubPVFyR+TrSWrX0OuF6SQucEDxgR4S4RgNfSAuU6SEmZddnUozsqtZX5CA3cjX6N9I9AvHsNK8RHOlCRa2e53M10zSP6VJVz91VGdh2UCkT6J4WCVrcJyh73c/I/nlL6MbFx+Vq4F3s8yNxJH81k+owbC2C4v1eeR30Qpz2mXRmNJiz97rymvaVbpTfDQBP5/pOYyeVrbTiTdQXFIZUuojBG5Y20B7t4pmy7n2MESydfg6ANFaPTHlMl4BxJOJApW1ir/o2pnZiStV7yPZp8k7pI34GpRT2S0lppFFT/A/0pHmUeoesOdyzYpuMI9UaoyGhErNoJ75I7qrKj98QoEEjSHF/zhLuBHXtU4ntqNpI0QQped++tjbjA/KazhVMilXQrb+o8zjD652IYby5T37V2ksE9kMl1ujAZJYmPIoCY51/rrZGIz8wYwRjUzn+brYTEBcLNF5ERUT8o5OO9vbg3beU0U2hzIb+zEp5WUG9MNKnzRM625Z76ArgA+ciHFGkvs4hvPrkk4M+9wtQcHIOEAfIr+b/83bQZZwCE2w12FDwo54j3pga1SL7dA+dZTQPvSSepQWR4G2dyWv0H7WXeBPmDrjujgZJM/jkbgyEAxRpD5Ssd6+ash7uIcNdsAoa/Ls2IMoLkQLO2oH1zgYmmRwwVD+DD3bhkXFD0lgaxofkXolutvO5AZgI4HULcqjEW/X30M1cB1CH1/6Wq/Ht5rLWXoEc4GJaD672ESEQeJI8J2BLtqBK1F+k9cTaAOixF3pbrD2H/pEYNV10cjPbh+grv7uGb9QHReDmYpX9m3bri10y0Gn2nQxuPHEkb9tGZGB2QWk+CDu6ve5qA5/y6UFmHmd39W5uwf+cc/leI+wBLi1j6hH0ouRlkqXqYVS2PxklQGF4G6rIUd2pvQ80pwEq+24mSTMGQYwwWxZ4Q63XpTtY8SIGK+sBL5XmL/o5ZJ45dey0bUemHaSPscLRkeGGrH08kobBil40XZ1d/upTSlmkZKY1OZe09fbXCXsLkoQoKi9bTSLt8WWTZ+R1lsG8EwQ4Lrf8KmFy7X0VBcvD4E3l++W7d3kfu3aw5SqDGa6tLeUiTTey5SA8iKCmvH2Z1D55EYceuqel+zME+HDNDLo/ETt21sPr+TqMvKLUGjbPsXyxQyHjqe5dNVhH+RcgZ0hiAW6FG/olQyes0eqmArVFjidSaZnqTd0N05P0qJH4PIrJ7ofmhGSPd1aj99URztvkDJ9IMg9Iko1XXpBHLjgVKIcHDs9i6VkVCgSEu9syi9lymEjB2nlMZyxiYk92hE/cEs9oqjL5I21O3EIIDKDjtY3kJXLAzIsu+xmh4yNODHjgK8xT4GR5VDHNP4wtjKDgBnumGKgBL3kFu0ulNo39ywIWWug44vsydb+GPNdPoF8A/5C6hDN//sM/WXV3Ac9ddhwf1IWguQ4/SXvNE0JjL0uL1zGb7BkvXiS+Adj5kKKmgA4t7Crf2DYBJ36IkcU5PWrmx8iUThSw+xIdHYfi+PG0cvSkNDeqhn/saxn+AgIwIdPciyEtRHZ7Sl2DcGgRY+o24pojDdEA8p4x7fYRIXU3dXzNf5DaTC9Rzyryxjb3adk6ds1X8fAPaUsjkMCtiTxeGJBi4BaECCaHLvJM9WDsDERy9vHBpiJTVbuktkCWLHccv53KE/LXbrR087HGrdky95qxNs7bsCJjizqIravycwypr9KtPq+gsKF7QXzY81drq/kufoKYfAY0K6oWBNoG3GZFHkmuuwc6uRL29xrCtrVNEH47OTVjBxIKkmHxIQMI3eKIYzfGjeHBxyfU2qvAxfRCH2zsK9EnGSWYwOGModBfSMrmx86r+3oaTk/7SdHy4RuqatOgV4zq/G2FAwQLnhMFuBDYK9birA6bwbPAQzUgSm2swuruOZeKJnSxhfszmlR1vfCLLFYGqfOpBlkSKnxUQGAxtUlqxlnYYntz/WgbaNPg2/SJ+LUbSbXqzsqC0qL4StfEU1OA1v1XA0BoMkBsKJ+0VtHnEUM8e3QbQZv7i1SJ2YvkAp6pTufPeMIoQvzXtUFJSEpnTPPl7k1xTdah0S+9LeVD7drlg2U/h9jWfpizSkV0R76fBUbitMg/huAE2/MCncl6wpdd8tdo9l3bLK28/Mgp4Lm7C96HvcwLB8o4rkrC7yesGHQcypPibFo4v++090CleaayGWSxSvNSg4mB7E/Hz4+tt0154boTpGUWLgrPWJxiq6oBDAEXh8G9uHYCUWaXW0VNqUXmUuqvQwgyZcmGx5yRiCxz3cy+DfauiGmbeQMvNwQoIQ9R6ImMaJhNHZb5AuDM+2PQL5/GJIqKDQlDc2srtEL20A2mo9dIByuwfwipBoyW8um2YlWp+uRmngN2ywZzIyyzjvg/1b5pnnsEDbyf2rn25wOKxSvpcJ1SWdUWevv+QzohbPEJ1NZZ0YSPkJ0Qw4uRVTf0nHEfwIAEPaelADh0Jsirqe+/0Q2IW0GpIUopCGlIY0FOqA5a1IwV33hurcg3d0KdD9W8o3IOiTsxtQmyyQ2Naawec35gqTQ6GUERVui9YtAOweghpEOGwDlOkY1qXIX+G0Be7mxsfD9KwPNgHHtyNKeE8DLBDFSo+XbeA8Cv8OVQn2mdlLzavJe6SMHAx6i9tjtJwURD/Em5yqCA2dZ1TqiuBQY647B5uVAl5+qjHPuBvPYqf6tJoZi4zoYKLHaRzAUn0XmRYx+EEDkvr+o+5AoHeRYsgsMurbKPp5rZKnzJCKkbVXjkpAIRXKbcZFIUQxeaSs3TqVE97YTk6VpATcV+/H6IDN3Vn5kIZFYEjI+65oLVugX7HY9ciTf+uD0v7JQfjLrDAI9PAawetLeFHtaoatizoJ6UpfI1NEGjt7yRMtFs2bv6W8cR9MpD+8z+l9PBcg6TT6nIvgPw3Rj4qJ/gFEvlXpkVo+Ff/jBbt+oOldLz8QOXrJIdlaX8LCKi5h/mi3ztmux9JReKSbwXWt3R/nbgsY23i7eSZGAFCQJKT+ox6DdGMI40vdLLxgoZt4+rG2+wqKN9wZgT2TLaSz5fzoCsrKRNwqPCY1fUJpBDp0Kq4oO25pkpppl01xn3g/BjKJEeN1oNYYgFkTDAeNmMVt7YXRYgbDA8e4Wt1kXveqF5Eiv6tkIOhzb7Vw0dTDryitSlxzfO/8JsINYbX0KohIprEjvNic3uhTbpuvxLawJSoO1he8CC41OO6HQABpojlFFiIMttSgkDaP00AsWIY88YJ3jsGxXD7oIf5ow6FQS8KltKTL/U7rkSBmX7XDg1gYf6xD9l0i08PDwGwmYs2PwhR1iszPe298KxIUoY6MjpjPR8dpjHo0Vxvo4zX9mUei+96WF4XUprk+wP8rgw1p5V20G2P6QZQx8I25WwetUEZ4hcjehaX0W9uEU+TVqp6cQCk9OATMiV8eKpYOj+xZaTvFFTjpSfqAXiaf/LJsY47IdaANtsQqlCs7IATHKCWDVHcA809q/PCyg2jtloLTvCc65Qi1ggG63Xe4eWWd7uuixIlZixB7QLLtf34aK1mWQbL+0a9ZHqfuFWp6BoB8GXt77zssyuHd9Wcnho1qwVTzrT0kO38QhPneqv2eDeFy53FdgR2Tl4Qf/kZF74Y4RoDow2T/UnlfZdjeYqrtcSSeC+rfKqmU9JBrvwanlOVtnpWNUs9b69f+Ixr9hrHXOLfiNvE1SQooXOastDxH1aMgKPtg2X7lRMX6K28EY3PbkvsN7ryTTGzPAsjXEdAsjqRqV96rIrVvt1FzfrCBlFSQ66M7WFsIr9kRs5UKpdBy5VjX6Mx2s3SB24tS7Ne7jKPDJXlgkurMZ7hrcHeny4bpKp6B+97uYWaNk8MbB4oMs/fkYwEioZY5UmamMkWXfHPOF7RlKfghzKJYJTuJmPzgUPmmUbHhAbiN86rZq3Tvp4OYclok1yCiaLTw/yl0f3PyWlsaz1SVgwyIcEveHtz01GIRTEiVW1AQi9eZTdlgoqiXTDCQ8VFmZ+eMNSLClatL4CxcwgyAkFsDwG1lWvg67LcYZj5cmmnhTFKxO1uTw4JQkuYPn6CBWjSDL9pnEkk4TA9e22IZ4mVr3P2iXi+UW4qBcqXdXrL9lpA9LEBN5uukFkX2DDt658Qw+I2JAFs91p6QZPBRIbKrwYPvU67IBJO5FZmuU+C90QVZh+adITKPg2OYHeYf0hWjxxbd73YnQ3Yw9r/jr44Ql1pYmkYgw6pNKjnXjohWeolefe83nDuQ7uaVIyzSjTHsRUm9B0B2gNlXjfmxp6T1R95T1hjy48eaKPdGHmKSZAa3VPv1gF2DhovUdXa/iqeR+RmA6KsT3tEQhEAX+01lz1ji9SH/6YSY4fejdkA6nEX2x9QkYtFh8u9i58eF9+EnlTBz1MjdiXLUozcsR+hY9QHJfkY3+1hAMmUBwLoD2vfXXiwV9MYgkt4C1e77OL6hG8evCqIcmZ0lHYjK9KANzpbc87IjsmbSS+sR39/k7w5jd6duiEaSIlqE+A68eXWzA6gIJvIIa+5w0ksW2X1IXO3u5ZyWtjrmEF+wN/qEeLGl0pAYJBI0Aw4O6fia6rD9Yvoua1wQXvyTFCNbUoR/ZVazGugmEQBTV4S94ysf75BEULK0VhSeqNP8Cfvn6emFkMdn/FzRrYFRLxJRe+3xytYj0ZmctSbd1g1hBRKTTCp194aztGb8EHw+dRylrY0/JtKdpi1Qu2d8qMeYWtQ2CsXsaRuCzPRBCZ/9+DdA8+Fq4FH1/Za7jd0Af/0tOTfg/rCzzPzXq3z11jh9JufflH+VDyZA3F5TnrF4GsReIVZw52Q37qRaPpdKMkfKBYt5uG+miz45ufRIdThZNPdQ8t8HOXz7qipV9l1D6GYJh5TldUnhHfCU8jSLb7VYSZ5HGMoYIo8OyrJzNc6+kw/ZSj7pwNQ1lyOCKMoNSTr6pu4HvZPOE4wmJAmzXlojBwVXCNiqyYkRUDb0A54411cJEjod55kvVkLcuhvaZI8QjZSh0IFjlIYYLMPRwV0sCfTXuFZRF6ZuTEyC8RLKT9zcVRP9NDUV8apk1ME2bWnKMjlps6Za2SWRbMtaBvgbkUWvL++OaXQ1ks0s3vY6hwkQEIH81Hvicf1ZKB66X47AsAwqbeIJ5nu5ovt3/hGcyplIwIP5bxK2x/yT9WIaTqQOlm79ixe5D24FWugxqOA0q/rZSgfjiQLGj6M2eOSsQ3WwzIPQqxxA/6uNZC8st6Qn0rYzuhQbCL0nPlR7MJxN5B84jKvfdgdmvQW1WQPlEP6UkDqXIPTqcuu6IGiwK+r8m3uq/SlpIjWMIjiF7mwDhA951+FhxfOfxR99LYi60IxrSlrNuq9wgPaJmeToysQkTt4r0lETu7MNscy18iQES/n3rQZKhjC4l0gB6L1ng54SvK+MIpoDRg6KpVuCACadI9nai99/NOp6ozj34HWmHLu2pL0pRZ/8TNk/lcTn9+q4JWikPg4GWY9FHNCtNqdTxiUl+1dSHfE4wIXWvl/aBm9XEmyIfZyzRIexQvvw92pm8HEGZIWc4OsuwNpkt/wILXszjPNBS0GidAVaouVVz0Bp0EOYrnh25PCJMF1yFKVTC/lNO3UjbJ/KDspOE8Elu0Xw05s5Gb5FA3LjO8gca5or6Wly4t9EOXWgJFyUwPS7OA/Ky0TMY7hAAmQo755owO11mIq+0IsIyzRvd097WPUlQB/1F4Ig4lU0/yLODQsjVj3GR7bGaXBVss7bkBtBuPEhWnxWcbzheZFH41kpi8vhclq0mauIUArTWBAI+TbSOj9/ymJQBtvF/GRVOLK3UYYdFhuKqzBt1xiMds8fQ33Ybzdj2QpvGMyjdcK8jhq9id7FhtBZIzBuknl1CIkj0c7p+ikkCALKHwTbLdCyU27XMxtzeCt3EW3z5uJPneDKAp5ZkN9x+i6m1dg82W8LODytCP85mYtEcdy8KyyFiI0xImanX3VVXMh3QuzOqfmhcqSzbhr8wImF7TAUKkmY9NmQJ2sGfJzUIT0TVs93ih/nFcrcSlr1vmPfKarHv+79mRmFhzswIA/Jk5W9E6fBjP119ypdDIHx1c0tMSoq2o3x+6NPF3z0cTerHbv65ONY7kJu90GZLKSTKMXISNawy2korSAiAc4ZnTEzEBA17ZhRJ5y64UnnpVeHdRSKYODnxx+13p7cvYDKMfFGo0WBaIufevoSpc5htxvG2PPT0PpOVq+HIIImaZcv+98BDhOxa25l+SMo4Z3zDAnpenXkQGP0aNtMDWO+dKIdwdqqg+Msv59IniJMYgaxTqtBMVuAA6boVxBXDqsRw/4yE7IsgHsfZZAWM0P57eDvTwE9ImGJsd9EVhPhVfFCpDpXY0yo0AxjSyexZ6Lqsf8DcTwzXI86KQJbCVf6HsYt6G1fyBzj2tmLMH0/4eIkvuINLQj765YTz7o2bp8UcKljatp3NDP59jbjJV+BF5AmWuq8tDg+yJeRHUjXXLLoZsGt6WAk0L3k92uCzWAIs2rSrquqb24ZJBauXZzhMvc04TqP2+Rj8b2h09njM+bnepooFKfAsK/EGDAh1GpRTry7VqIbCpOZF4G/5zZrN7OiyooxLT1RYV3sAWlPgLmdqey3yIkXJfTCoUwBALxRtelQC7eHjwxpVM8lF/4XzhMxGpieBF09F9WOBdfVMxYJD3YuEUNfhAyfhCnn9rHBs+88k67hVl/rJ8cQNaUH1oIj+on7FVIvlSGBL5fO5nCT1EjH3AKUJhUuRlaiRKyFaonEvDqUs+SfOI6b506tnUChtAbFnfql3Vqv/g7vV0PDZMmVQyfY7S6xFHVGnNIQ1/HkQvN9KTHr4Jt487Ku8VELTolE2FhvRW4dVSYmTr+WP/KvltijW0ZWdNqqFLN8Y2nUCZpR4zvYTytFRcz7b58S6R7bj7jCD8Xzr8rn2xSHR/v6SYHlPuyBXUw+bhPXHl17KRISuMjf4xU2sslMBoJsjB6P4nhTXhLLnUBtBP0PFOm4tR+smGDlfKKxzMMeCBTQReSXNLRLFehSOGVuWgvY3qnESXiJNSe6F0MmSC2aUqzz6wgv/uukLcQBB0nLX0lBJ0wn1UkHj1Nn7K5prVhN19ziGM1LpNDTzuvXohgAU/hxozVlscfL+Q0EobtHI/qiTb5BFF/oqkLe5S2Nw/ajXtBnpIPWzjCS3W5qqLGCciKL58vSlQqpJyka9FRb1pHhJUXu0jXgDIfaiMPCJrr8hNs/j/EXCp/Bn0jhgISOwTIAjCgo02zMxpxZHWbxw6dBt0182wbO6nPuT2FBSy062WW/m2rAnUnrBRzIyfeYsyiDXTwoyV8oO0EgScHHEzTynjoNQcKyzueYorkGZW9Ct2qFurDrPl1WSkeijzLoURtpN7cKJj5A1Oal/wk49nbCNyFCPHdP6sBZAEy900lZbvwgWeLVV9Bd1AcQwIPJsGFq6brqEwQmeHNV1QDh2wfJDhb0PTg6LD28cnh80oyWA6QZLMraoKim0CCSEjP2kbRnDrAojAc3DhWxwqOMGcL5Rck79ob5zd62Uq2ve0yJZLgxoex/3bUksmrlAfsYUI6d8BaW6sMiRBKYj1S4vLGOx3SEp29Gsf0AT2R8cUDBlDjJRp+1qfB+6kOmQPe3aoixnC2F5DiFRhL6W2kdCRzzRhJKdt5/R+A7dxxQNipfaiezwnPh4K7o3/NPaZXW0nv3Vz+sEDKEKEi2802QyAelCp6PrcTLrkDO3K/9PWT9HafJEd0l8CHk9DOJsS4x0cZsJdGN+YgXrZKtMjwq3HkWUaqBD4HEfThpBX3XDUrATHz1mVvuv+lb5HXh/vKRYLiFm8zzAgXOSx2W9YIA7SiuuSh5TL9t+XtdXCe1TABzY5Ts3NlORpzpYqwOU01LohAhBdRF2FE4j8JT2I55jN2RnYF3DJpHoH1GEmyDMjd6I3N5cEVB1OcYycFTLKAoWGHWxyzJ1ljJ7TX7VX7ki//NADWKoK0D5zd+8EElNu9T9rnDyUEtsxU//bwYAxNO3szO+C+5W3wywtY1MJ9JJh+5n+atYifmLL5Js185jlkqSdvD3uDB1o/n6a2LIZcL/0M5y/P19JpWMUdSVp6qSgWttsx6OQHlkh3QskylybikATW/lW4o8RAwz/aqa7LuKpcJyY+6zJ0dDbi0yhIUPC7H8StAdZIEXDVBRC3yIUaNkLSmsDj26Dqiy55XtyMi2ef8pZi/VohS6bLWl/jOz5JgGYR2kR2pzBaDab2QvAzjzQ9rUIiJzlhHqI5x5DnnuxPbVZ8JlkAjrWoDYgvy5vDdO93km4sbajnjaAkMpN1aGd+V4gEUD0v+KvdeEdlIGXRJG460+SrJOYZ2Z1m6j4knZg7gKtTZaiihKjSYo0pu73SfJiV1R63fkERFYMRRIH/XKwrM7uYGqdLjRpJneG53mWsP0uNaRAqVWJVVLInkgaqdngFs5ZUeZTXMrShfGnOHts4m5KbpJQN5IQfAWb9vnukomiB6u6qeneBWhhow0MBBqiMkxgW+ubOHdeo0u43gVM517cPI+6XdpFflnBuvU7LtSyCJKiXdCQ0wMe+15xHQfa428s69Y7rJhqzwOWmTXsqYcdBt4idJExuiM2mSg3pwjG3M60MpL/rCKWazvV8YFahmTPPUfADeTwmD9+jEsb5xihAcbfXIo6KsFfNxqpeY6towk/VdqyT9wC3HTyD0YM6NBVrYAn16AIQvMEWAKkZ82ZN4T7Q/HrGV9fqd8Y+JA26/7nVPRd7CNGLjtDaAh1531dD9736/Q9yLbHT9oHVl1VyJ39AjBW1uwwFgMohBhutEHK5iYXCHWnkS4BNoJ9wtfM0+hg7BkmE7gme9uGUb1n2fjD3fraKkgchTPtW44yNqp81CiBQcLhOYN0nfZg+Dq5Sf/g6B5zSCtEOnMsZcoM16yYqo+oAh5+vVb9Cak52pbuT97VB5QLUEmVSG425jFphnXv1dN0GmCE4rZFejRYufeotZq/8ndmUajuBzcNRt+WgjitfkMfRptGHxr4ynzCy2GuIaEF6qX5FtqXi72jHiJSa96TysDvosvkYljwnW6Om9rwbb4qxKhqpm/amLnfelJ7zGvhcWiLBc5AVuRBszlDrV8N0Hi7us9SOU1c7n7mObhmP44P1lc84xHgBRaSaN/lbM9gwPdPB3ajJVxOA1P1BBsGxnmWmfypKqTrDqbrMmtgqXylROVNYFp8Fhs8qxjJ/eHZpgq3+ccYsmmKqpTkJJXPzfF5v2awK4dVJNcub9msiIuD5JSz/ol+bHZCykTiQuc2/izwIziXw9Gl/rxfApebR22FhslKm5jyVRzvIc05QE5GDV9fsuZzDteJC9mXZHyACOW5qOsWeSwegunGan/FEaxLv7CVdjBgGdwDDfmnmsz4gIICIRDvwiQFADKrURiZHDdgqTBIKSZqMQJ66mIhsxlHOmYGV9MqWu0zgVHSFn5jdUkwyg1qn5JUUEcxonwOQt1tr58k2n9ib9UhknLnIxWl13j2LmzMw5otJHSTtE0uIHtdCXmo0vkkV7Kx3p/DIFQ71p39gQsWVIGJOQcqU/emJstv+YBHz80LCygqKBCeHtmih+M04lP6ny0RrJVzVctdtyDTC0hJZGFGKRCA8+Wks1MiFpyHJcBhqls9VUGBzk64VgXTW5Xd2C2RS1SKhFp1GqGRtQhx5y/wkmZN+bB09oSJ3zVbPoeFjR5yjFURmBFH3ZEaFlIsl/w4mo/B953jNyj3BasU1pEjuYOt99nwQ7v02dGM2UXhbwVj4Uu2CVwi8c/gWOYvyXUy/WnDolmm7Ndvn9xd5MrO5BWnctr/4HnoYCBUBaRIRNtHNx6IJ0j9lVpV4a7Im2YueGGzbZCCPtNzk7VnlcRKK9rBDoHsRYc5f0Ut/RqmlqxCj9i9TASVES73L38vITlCeV7edJ3HtB5VcEyIUr4JxMIzajY2T59DtHDwTwZ5iHnWBbQpLBVdCJe3tYNYH+nIJELzTapzs0DZhQuwPlr1q23s7YrWVRI1SjM7uq1kPHNbmpRTYotYTdAGjopPT7lB2fgv869W/tXHPmPcgs2NGY/aMpKICxd95wvF47uesCJ4NE0JH62yqNU95Z2hpnfoYDItMknOHoL127/A8Lu36L+Rzw+fiE08P0glJSsap3OmQk15LgAgiY7gO7k2fEnA+Y7rgHyWJXrHya1nRhGDW0Uca00K2JIV0/Dx6bjMvHVwCtkR75EewiMZ0XUoD3s80B1I4RHW8JNjn5oB9IGhwFAtXYwgkKcERaIPSVWwBGl9PQIttVAOE2V6YL83fa+DtPmB/+N+XNfMByBMmJKGNmV2MoBA7IifzO2IDaPNFCF77KlTOBQ45O7KMEUJ+YHVIP7mt+AIZjDy9H4h6fa6ysPC15ca8t2iXhapGIQktJ2fSlyfZxiJsHxP1kpyM9eNhjnL2e1Hk1fyeSSUB/1qbB4tiXuHGHz+ZpUBZ8PToMWZoh6xU3CDyOlpacvO8rsasLYw15VkEpdmgbYJI9bum0VHrIA/LjOT0/2oj0HBqizpOPyj6k2IUzF5nKqZaQRa53qb5MWux+xuzSh8M+hBUKvYj48uyXXGaMCxXGQQv8+bTW1JGtopBm7pRawmPYBhBCFrtiUCScznr6glBSEzGvmWyEyL+aIDh4hUqlmTiOda32tazeSumLqxhstq1vMXqUUbefXHwIdwbxP/QQKkd2WWqJnZGIOOkppd/4FMRSHSDle4zsdCYrTJVjX/04kMENsFyPVsG2X1P8q6CZEBf/d+iL83NhV357dAnY+d7AGRZ3nCj8QqtcEkZFZzCPHCi2i6L5NhM4XWpWf04n2wCgKyw8Edz3IZQyPoidRuVD0GWIY4o4fJXx/T5gDuNCUfzfNXXK6b+C7Q77JE+jIqeQJ3kubi0Dyo7M5SN6Y9jwP2SaDxNO/97oIXprLXDehPtPjp0iANkoBuQvXZPRY09tF8iB7S28eKiImeW1Yi10htEfnklu8emGh6YtxF10ZJo7XlM68tMadu57LHxn3qw4T5BSo0YLSdpLwlVtOq1trCiZxIndi+ppCybUsHXmG1RRG/GXAl12vSuNUd0+RpJV3vCm6fOEPGEK6tfPV+UEHk5v1hu0AgaYf6npr/fwYU37V6k9tzKvPHRPj0UKXYrxmDs2G5QQ85EGOb+u+QWt+5Nmj5ITpNLWeeOqmbWi5DThIOrJOXtV95asXWMqabXZ5ms56M8PSpF8PbjY3b6/PYLLnnwDBRIdjxzE8PtkMG/u0nqG6A7Kk8a7IQf8LItFn6K3QkiXrU/jj9AU3scyxsqYQAYlCogzu+XigkksFp2PRmdx3sWAaaEqfjKe5tXqeBOptqIJkmM5XDVDUqgklt1wxw1EO7+DeLHxB/Fe39o0AGc+zTbo6q+B8D09WbDDh9tizNSP5DUXe7jK0xtbWPLpV/m/2x5tPEEpro25etwA7UOkSoYOt3qqCyNZ4Wi2+3pID2DYXmThFkRgfOHKw9RDxozOvDq6/WvONipm9//aTfdq6hHQNQ+P5Svqdg1Is+8/q+vk90sXUTaUPslE6QsQ5SK/5p0mYpG9HMGfikjGg0gsOKKxKTSM/ty16IkSvAUNZVPL80UAO8ctSW+fSQKMfGogVfoCdBiZOqB2BK1bf8js0le+5BmT4ONQxoD6O5lJapT1rDYjkr9tyzE8aQZP7eQXUDrAUrbXBFT/zi6yZlV6ddZYI0ZFJvEeVq1ixOj+3X1MiRpYX5L1V53Cabe0Eeben8B4dndu/CfF6k8F0B9yDmBb3/wQI2IwtKVNMYCq7J8G7VPvh31x39ePWq6LpHAAUPe6dKtuMi9azWQB5pbazTQ/MsXa01aTA3tUFDGwdeQODvZ5g7UOV8Zj7XWaqTIxkaIhg2lTR0guxrE66siSkwsas1aWdSmF8cPxVWTXUFnDuErSXqiCsNaf7mIccnZztXTyAAIdvIxfvjcXH5J8Egw9BuGAlqKx2T14JSdU9duclLFLBM46IWn6xNQt3vaekPwTnALsojTfWuyFAMsA0lbiuLJCR6Edzu935v6a29ww/UUtiThK+8cYi2RSPQYGe1T4lQrXiLTqJS5cHnN0CSvrIzV2b13gvEZunHgbEc37pEd1pDiTw7r308hYwysxzQV1MYyHtUNXdhPd7KkozsTiNWyQSbQ6+cXL6+mzsJY8quP2Tl7Me/isuGCIBmpzU+DdylBGeNcBjYznN8u3WWnV2yhdn/BPExu1qGYsNqNitUBjtK7A8wAOKwJ3CiH9XlaVr6LGDRD8n3OcZ0XN2kcy3zJQDwnNp0wxr0XMbfZK0JQcmpoHCVqfp0yrrD6OUDbax37R3fKjRRVgttmdMGjH454TJqF/XrNO25E5e2Yi1vmYAmMcVzzXeFcSJy/Q3IRksuYr5v44IR4VWkKxifMKwR8c4CNINMzb2WfRcUK1aQoGLU86nL7DSbMzMmA33WlF1Vqk5MyMpewwZDTd/dCxcPEV/NbI2NJ3xJDSo0JNufKYNRJs+F+XqVSr0Y4SE3weshb8Lznjh6Qnr6zzVvW0yiqFF3ui8Q4jKG5UEBgLa0koQtpDYbNQIRS+wKxiVECgiVIHTATPWFXXQ5yFjQE+T4QjiVljx1HE+84PW4OfDHTBVFS3aA8LF54xneqR2Zrd/05qOsfubsRFR03F/PVUlkiwSMM3UiMV3nPJkz1e61OIEkAgtjQGFH17gyH20/TkHvR77t9qNT/j9SluMyXBhn6SFtsCijaOhl2/9OX/wxyoxroD2sbXP0Iv4xTip1KOTW0yrlPBF2Wb8ffo9Zb8TQpPnRvK1KHDh+RuzW4NbjOeYegf6q4GpFK1bmBwSyS7hRu5RCUNesFGsXwKz4c6+ryqyB1NLjZRX8dPe3UCJ/12WyzdwrdEgW5K5scQnRpfCEq0HRTbZxhw60/ZMSfPnWb4lzEuakWBOO6c5bXKeWlIRUWHZgXKHyLh+iGPGHP6zRES/yhFsJMIQI3SpJrBxzvyY8a0DnmhP31kzNpbqAPQ5Jw2l2RWbGzepb0a9qHVy04ajbeAVdNqiyS14VW3XGQQmEmms2aOW0rqjeEXbwI850EQZvG3QoHnY8Ea2F6q4Zv6XlCgGrsLM71RalS9WEUFHTewZsK6ePdOUE56E3MA3tgU3FNacpBhTVL1uy9zqa8Aq/LsUTe7F6bdDW/Ya8AfrKYP20e4V7VwzTh0ZhvVtF9FbYbqRCbL86Zxu9nirDegFxxO8ZtxojDZYjLRfwm50xHVXoVpubsryBPD+5qdbLfFSQ731CLKwIxqihKBmEiJbAq95kZd/U4KVR5v6/r4Y+3YXTufYvxPobU9ssYBa1e2Z6L31TAiQMRr//iNH2K3aG74p3ye4sMBnKBu54gr0QvMOfsgQCB+ujYJndfWzN0ZGMhswtfebne2MP9JqPRt3XeQJ8S/qUfSael8v7mIszdHgduM4L24pteAjj0kiZt220qKh/hH5Z+23PrlKHr+4/SzZnTUNKN4uqgUYqvdyg6pzaQ/b3nxNEOIJdhgaftuotTmDIHY0sNbsCoRbQBHBOCn01JLgViuKzgXNbgpZJzbMldA1ADrT02XMcmSg4YVnd0A2xcMncB7six44Zs/jpDvE1vISS1sBvPyI3YEWzIwB1X2Q1L8uj7IDFfVMIzOX8N1rWkl5Kr7xBWebmC37YFqyPl3ULKvAdL7zYqCAGmeJ79NFr5niGlZsislFDqlOjQo/Uebt1O3MMoIB8bJTKd/V4fV8kd5mxxCIwRO/0yF9h36nW+0S6UcuWbAmvdYuQa10vXQIwHQoHuY1zdHN8/EWZsjm7iGpuc8wNCkzrhqsJ7gXBpwz6EqeOAPx/E6NZ6b7ZwMiWcUvd/uItaPTJpirrzLBk5fXTH/HzYkbcnOqWiVxzAtVBdT+SBGgx6ZIg4h45YhHjoWLD5GN858yxCP1xeTyUTRskHB9aWhWmiAz1WZHDkEeFHrQnvAbRmuUIEOLf7DUEzxI677nZEdtINVAo3VtCwuR990BLYrXIzw36+NCM1nmazilsXAn+41u5aeCr6fZFIwSOub/8pOXtycJ9gRdB8s0hRytqjMNPqRcAwUXz03r+9pH3fTdpmo2G++gYiVcrVMnzr4RUN7f9tANDDyn8KMVlfpp7UJ+dgbVOTqq82p6DJAzFXw8x53ESE3SFg8t2dm7eZK4mTPoIBqCfmfoekaF7Vs72W3mqDyZAp6yGVJ/gKuqzsgX9KvY0OUJi2/pmPnBlA5sdhH1mG/FpOQNw+ki9A5Kch0MAda6Pf3DgKQTN+E8nBXfTGjVuSzg+/4rHzTe4T/dDa6YCZOUTwa+XVXONFXGJLugLFN8l0y+oHYGgnm/mmCm2zte3ZB3FAagdvKwmG5L5sl+m7YNhi/fvqzmyztTEroZN+usZwPA/QiN9On7xD+WejIUCauprPCM3ag2KbZP5AiJLheYm317413e0N7rGtQ1qshM4B37SsVFbS17rIEu2wnHwIVT+cKh2wgdfL+ioTZ1klMRJnPpB6DCS5RaMeik0Vvxv8K2k5YeJqA8mJWzf31ZafjZefyRouxgLVEhrq1tg08O5afn9l32lqhSv2FmUqs6/eTSz7fgrYqyig4bgVUI7UhC1frfHEtK54DsSapYLf3nVSHEMbZaw/wxoGusfSWvOs3LBo96O1wRCjoPJUFJFA8OBi0lks8InCBj1DqltmbaCbtTnjMekbmSACFLjoiuDtdv76zFjFmj6o6Vxt4nb1/2+Vac3ydULDPheb8eEdEdpyRh1dpu4iIgEiXUTB7JrdKeSQGqxGeCSD6BtNGJH31py0tfGHEpq8UYVZa7hOOLagZfcgtbWkJh70+vvmuQB9gpAczKsuYgw+VYiKErmAL7jowSaF5LTiWi9NJ41QFk4E/xdCj1nCk//I12iIaUSZ80hLQTN62iAdnumN8cUUzxQiL0hJFvLAYWs8rU5fyxOq7vKq81FDs7p/29oKy8CIRUeT0BbeiyEpWf4q3KKgzApNEfsUqv3jDUljmADQ4PnTKeErYvMiQYUyTVFZbCJGvM1bCnmh4TPJn518MavApTlOUOqCP0v/+22CHE2KuGPctsX5gT6m16Oq3UHXmLTU3CjmXelMB5fdNee8vh0Cu13zeCRoNmsKsATv6OP+3pKhK1of2A0pvgSP8044KcWHCinl3Y+uwxjdsuiyxJOITNOqAguA3FNMLvYStx1V82udIaUZuRw7t/iejgKcLTo3aht9/QUk6UR9GEJ8vw6KiN1OSx5BTOnWu5ice8vG5BnjiJBhoi4RDjYj7vnC23HPy9NYmI7Py9o8McMOTVhA8dH1DFBGHRZG+n8w8+c7e2lvTafmHW7jnt/qMCm9bdpV/Fy2E/weoJpiUrtD0L5awwYdgIIIj20Ubsxo7G9gkx7rtc23hUGQrE0PXW52KmCdzyzeOW4sXDGIxG4Qj/0Z0G219BG9lhWX6KLqWq3pyY7PZHwwKV68Md5iO6XPlBY2OYb+uqu1mZkr6OpJr3f36cqha0I3jlVvPk+8kmI1V/HzVbCTTo16hCVlLLxwygPUJMYqJC3LtuIDYV+BpTLpW6mtdJ9SjLtUgRjVqXrzViwT1HZ99pHl5Dk58+jySM+7LNQsKJwTqiNl8xG9pPbRh+zp1PUQk1k4xNySEHk8XwhQ3wDWDgFFA9Q9MU2NJkHBN9buuLgcuNVQ2mDmt1IDAEBGs7j0srtgFD1Z7cLTKeNWk8Ob95OAGe17It2V00RFv2cZ9hKZSN3jDZ3R6wTgUPOM3LklNEU5n9056MFIqiqAfK7l61nG76XSSgLADiXmDpY97esiwONrrDjDnERDDKCcBUA7gYQoszWABWb2wax4iNyjQFEKuyf9yUOEVtTlW42BASecG4zNafzjJvQmHU8esEkfmsXiC7eycoaSNUe41fyziRlQTI2vZ70b8jFRHVdnHvSe8+cFAxlWs/uRGMZiZyL5Xz4eFyhpaAXSGPZgU31tbW2VMY4Vcvy2+xPLkVTSuTy5XBwhe7YzEGq8vV7SduGtTbQkWcGxsv9f9PjaNLB0pcHMqokn7NbQIBAx/qYwWIdnUEY547u+rxMDJfI5Sct5ZZG6IGv+DaImIA26GVbILsqsOldJvaDItDQFxmufKuMKKc+0kw8VcINrKePmjlt6r88AV+KULpR0CnHEOjYygjAGJjhb/gORQBFM2YeeFFmtmG2AfuZ9zP0AvG28a84wQQ8XpB22j/U2QKgiGvI1CoZBrtCGSH9uYs9Jh7InUESB+DWVSNkgUA31xoNFYcORx9DJ3rIXYCfaUAchQRP+NndxZeb3tPSCHgoK9aT/lWhV6nymZR+FlooSo+TurNpDzVqfklssRgRDnhvxiH2pb0lFbS5DWbQIKh6lKUDPQTRA7GZ/Lpj/e3dhH+D74c8+T+2UurX6UB5QnxyVOAIz7v1aNttC4Nd0s031Fz+pWAsL7raJNnZ9VhzBkO4eKibqza2JoysrCPoS/YZgDhuCdpfZE7AGJo54/La2iXBHGwPuq6adruQ5T3BjkWc78PRFPFdHW/i6ZBHS7IeGzF9AqOMrLptcokhejUNaZNGSULpEqq/FTHLnHuJjFAQuUxh0Xgn8vZJ/5ppUv7z+E1j0eogTLHn0OubUVPipCpK2foFIGNnoRcyiJh0u6TavH8HVTVLEkrfFylWfSG7n19zIWFVPd3MrqdNWKpjSCApgFrnTPL/blAIhWLfQeAkFwhUaCmAkh90locO88hQT+7sNFKd036MIDKWTvtCfAzU/1fqUYuebQbaZEaaLVkiQ57ol6zXtHYRnUqU5fReoUM5rgoQ1aT66/a1hDXItNhof6vRslOHC97Oyc6IaPKOZWyJERRfqij/lo2N9HtqRDwxPoD4BwUkydHOAqPMGMpUmkWtuR7cvTQu3FWFreasqe7vYj3gmrlMxwd5aqKmaT23rPJl+9aTgpbay96KZTJpe7MkPxLvbiXQg8fErKEoHcizbEemrH6g7etQ4t6syzbOtQDW+wopoyw12YrPKPCpVaU+A2kXZXbbXQ8R75sqWigurzRWt2jzGvzqQCFtUd9r6DhdLUAzErG0JJCzOURguk+UHsgAaFGPoKF6QAmnTg8FAqusXAsX1zdkUoQNi0PQRdGhm+OiBWtEMrCdWNCF497rPOqdt7xFMNcuEzweLdfzROZEsEgs2n4ndQtzQUxl/egUNmYNGrxyHhyrcflJu8wvQbccU7hJiY2oR/O2xWBGkyx95IKzU4lnRb/8MnxYdR0k5oC6hssG2RcFbMT3C/xwB5vwu79X7aNyYFbJRvshxGG0HKIT6j2JzCkrBi5dLenjSerfvozbmDoSCI2yIqJmavvio2v9p6u5rvgTOlWbhDFgKx+J7p6AG/251m7MO7KQX8TbZKTocTzyyYLdOP1p1sYtaLQ25ESUOwEdZJqfwp1ybxRzbD8/V/UwsCwQLIM2bPllRzj1ELS6shU2wFY6+5Gr3K8vmCenETLEkPxijjl0tq+ES+lm0eLI7T2pBRg7RM344b9A0OGqYtyZNHYcwbdy+3GVKYMO8OtWymyrTfYVagttY6ekzDDozr+p3B9kZw8jpeb5jkHdKd9cqwMOh9sTp3viYCry8v/164uuqSCuQGRqbHb+odkEGuPRTxrRMhLhzfx1ICZv7S+8mERBBgx4jBO2h0cOg3YrfShWyOELHdkcG8rtHsIl7co8iXUFY5hl/uH5I/ymDuG3RcHPubUQsVx9K/0krQUUmOjdPClAl7IrhwaX041vKxuCDQUBYZBcyYr6KXPYvlKXh02HwFij3QHjXCMbsKp1qLa3+CblKNdC+sJ/3xES8HYKeis2CL4oU6/M5AjAROz8DKUvIOY1dktkTQe1ZkU12npNV0PXYFziR8ytK0ruzIENiNwREFTUXaAEFjWUO9TZjtLS7VS9Qy/SNQSNG1ccxsT9KRZYuzjjT/Mcp0MHbn1AaN3PnhH9z1PFvUntcWFg8z9YlvMDWmgbdfTM+LazQGUt6bYzGWKuZWjqWeAbTQxjlAqXBvG2DoIa5vDoB1GrrOenrCMNMJkoRtqAz4fyqla4iRVxWE77By85ehln3l9xYT3iSbD3rZUIpKbt2sG7WI1Koq0csfltGe3lH2bzpIFKbzc0yudNh7y7eSJr06bLhnT2NsVnf/lOkdPrS4VWdZ9RkYaMSvqBiC39omJvAgmfZrN63CZ9GMWHnbwFekOcA4vK79EE8hZAjTlPh7/X4FR1cp/R4x7vOykRXgfLWkcm6U7UNzEMkuEUdJqaCtHK+wWdI6sLjJN4FrOMM/eFqewXqFkEaCVdNV9nA60YiraqL7jtXPIdZ8XLYxZxiP5zLt+Hoh8HMOSke7tfXmxxK50vWxRrXNlM4Pik05iZti1ZNp3wu3UI5EF1dDL/zidRDdx5z6pKjeQS8J3b9KS45+IDg1Cp02odtx11vn2TgeRdIKVokn9gRaiavvMI08W/cDH/VjWnZmhk5nK0HJBfeJ0XCpQjFTSkgotvwqC8gxk4XJrA/q/kPLqHogeGrpjIS84ck0nsy6ub1hjwksend7F5135tFR//q/KFTuvdIi2s317n5u8jLK42v6+QQRdwMGq1nQ+ZXb33FLgf6scu0Xq+sUqnPLvdn1rrRB3OBgKG9xCdaw6Qiisp0zgaGkkYCzKEx2nsjlNhEEbdJOWsN7pSLFgRrv8KuxXPjrqnTWzQOzKXFfbNtIvqbz4U/LXM1QeqT7iHWLjufk2iSyazgV2yPHU8jG71kYwBNzIsQ/uoiEQa3a/HnRcX8TePNGZJAVIFzF30Q9BEkRiLSbUoOMHQQuUlN3A1WRMRlA7a6S4t9GlGgyhYpiFv90sc9Ie9KevUy/2r1xUdM4OpglK9zxcUYGFQq5OT3lLc9yoCZJsoX6qrHopdGlpRwfI+T8tzAy9OCYjoQP0Orsmm0ESlbdO+qTjhQLKCwWF3eQc+GZ8Fg3fvUoomFae/9Lxdql8mUO6MiKFVx5NShwJ5vqY4O4xlsb4Xowc2JDiUKEiozFsn4oomu+TmT3pRXY5Ygzl71K306vWHnAzERVFwmQRmAbGH429eCS9jj+TdJytCh8HD/e7zA8HfaYMYc91a+IcS9kdtg5hLwxI3H3eEjl07dGLin9hF7uQAhJwUlbluTtm5f/dTvdUg44Dlt6guYe/zKCMDKUrn+fjsT9iun0lZAQ38G+BeFz4LAphe2yo44d5JB7xuX9Os977j29okOlxYguU57uj2MlZZqkV5zwhsN3LPa3RhnIRAvK3sSfjukez5ZlsrZvqcYIWT3fduEcL8zFp4jR+JpYBDl5mE5uXky0U+Xp7B1eT9PNFaV5OW3JHjK8zV8jhGNEgx0ZPtdrxN/hDWE8YQK5TZ4vT+q8c9VfiYiv3i63Uzz3z4mATOSydQ6LxlBasegksM7H6FNItfLDx5+fV71DdebMQkDDgJNyUuXArgrVgBbq7DxaEybc4CkWcOeWulqiq7Jc/PX42dXXNnQSc8w8AN89CEMYdgYwNVeCgr58TYswvWUW72X4vXbwOGxRWc/tjHjl2DYZuK+v/qdg1hn0SuBdDrDlWAkxDfhecp7xSsrjV1kEag0yGgvGwdJ+abzrtkInn6w6nUbxKymMh4UWpBrhD2KbLwtNVwoXMibfAKLYQtv15sV/cxal2NjiDa1m/6WhkI5+vL4keKkZSxrLtfrZrjv8pA1NBa5ec2GiWYKmg2HMs36cUPxnqdLGJ3HYYkLnxLR+Z32tXN3jqyik5vxOHpJJmC7cCVpo+fhrSJ1E4EujHOUmu03TqS7mw7tMVjMtQNwa1SeHfpjOFTGhiAhWy/HBwo29quXV/87Ix1dz7d+eBvEjgtq29JuPRL9baS0MnXaWuydOc/ulDzqg9606kBiC99LJ4Khwn/XI0ibQayDd5f+iaarkiY+kNSym9ssX1/OQx8CXT1SlOFHxTpkR/SAn910MNzvc71oCbFkw1+UZh5fN1ni4Xw+rVQ2i3B5Dnea08CLjtNZTzIEMm3K9eW+j2/fG2M5uxtgrMqco08mcjtu2iCDs4c1oytiSlBjcC/6a9jLjStcPmlj/izGWUe8ceff52pqLOBQ2k613dwIG1oZmr4gTtGhLEfhg4I+iPW/5Ok/DTZPb/XbL/Sk6WC7CdUSFhgv8JD72CKQ6gh16LDpdTu6pzM0jkpLcFK2bz8d/z/z49zWaHC2nzDOy5HVU5JFQ3/JYnFU96TVVQuqqiBgd4OEqdiSGcq43uoNuMyw6ESEQvI9npOtnBRIFk2r7m4185iBbZxYZg28dyJqHnVcHSkgcSmdfvLL1KJ7i46csD/SluoY3KwKaMxrYrA/KbnxHBMHbrAjWB4NLQEgmUldV6+aO/IAyCoBkUlYsaDLJOZjldHUYqKF/BvvXXKN9rG+nZAuLMjqh3a2NVxfVxSklfNAAOg2NwKHrgtkCosX7hkrQcw4ZFzh++x3zv2dRil/50bGEah1lY9t7T1DFVsTh2qpr+JQF5U1BR56vyjhrFP6q1j71q+wm5UqPLn2sRZ8KuXaiUVJ/6JKXldgPKHFIVV8r9a0iboNh3Z1vOtSLb5lInB/QezXJcJ0x7g53r/kRm2+sd2EQ5lubWcphJxx2yjZml/gH6EVFc71OoD1B0DET3uTByvIoyUwz9sNOTjF8Vyu5kHTS+ZaztPkp7yLBIYVeC2U20Fe9i0LcgN4SNr5tz/vrN4sRzF6Y5SGr1v5c0mKfVYL3ZnbBoRrwjExm+QKFPaEzCw54P6U09BTtbWxwnodO7mvdPSzSwEWSkxvKU0Ob5E9QsYlsJuYxojuPfQoab/6yYziOUo/6nIMR0QtRCsBJfcFPgrpOnw5g8+VdpVJuS0F4lYWJGt0gxl4PsKZwlGotEbDvgIz3+WIEcbn8SsO2sOUDboG5Cl8d3U6jQDq1QPHf7ZrFp+I++wbiimGUEsBHFfrhEzth9/csalFXZzAJfaItvklfXKpmUBk22/DlzymDrraWo8QMRErabWkrNS5kK296fKMtkuTmyVbUbtvh6I6WWDNoGQwLHt8Z/S9klpc8hTXvD31vGpSgI6b/LZLblGa3c87cJubt57myvWPqYODxiTgJtGsjlZXua8fOhnozubpJ3IiJ4Wd4KvCLfziMNZvXoyEGOy6Wte1JvDdgKBjWnrnq7U1466seUpD3hfPMSXoTZR092D9cMBEaplQnfM5B+AzZji22ZWgpr4QIIoM0qqut73Otfwaewo7DBK+Ymn7iECU5Mxtvj7lOH0Ys3MK7nxGvG8P6cWYl9wWnGMfLwB2nas3Jw7S+8Di5a7ZWSv2dyilmYkzfV1uz7ihtVtzreZWiBTeOCUsWS1/DWSmAPVkxeWQx6DmCG+5G8BSGCLJafBf1yWCEweLx4/rqK7FxdtuAVvKvfdgiN+cB4kAsMU9vv9lOg9Ov739cIAZQ+tKKBd63/V98HbrrOkzPEOyoaSTy48UXpBbs9a6vi6tvvvC+ILkyXSa+DU1wuHMv6cMbnQt5Db1i5Wh0ubqdMNSdvWmvdm82VZFZAXdmrXX+sShzSzH3E6Vj/yIXFqBhVEVmfMENguCKH4ib9DLAOkLeIxI99dEYUd+BCUqQ5Y6j/w2CVZMEld86I30eb3OLaMOgGAQ4s5lRs4gTv1S+YVwNx07pP8SZrau7V5NVa4curRs6GI2qG1yTreinlpd0paKqzsdHb2Qa7ZfcwIs/OQgSK5/NAbLqpiaYLZx1Xfajrw+MnBSyEPNzADQd3M978wsRfUTiUdKI+IXp3GtM7Jn8AaezCC6dsLhiLdMQjingU7UX60xpfHHTB1PjMuP94WMBIWTZKzD+B2cmLeuUY7YTEQmr9APtVrtmmWdOmkNQFU/r/gfV9RmvdsMh8GMreN74n0L5vXHbDnmOHa1Ygpkvdden2QMqwSBxSQu06djMH6GvU9yBLmW//NY8o+U5Tuzqx0jqI3T4SgS7wmaDtY4gXuKhs07P9xfR9KA0qmbOAnMQzJgbbMAeY95UH7F9bhM9OROy1P08q1DcoWepxawA2wx+YY56rriKOI+/7ZZRgmejIkZBtgFwgCA4io0NfiJJriZFofM4D8j/FURcUWifUxcADNWhDALRP0UhwYZlTE2IUAus1w5rdl5T2h5/bG4L/LAKBIOUMQEe9vhE/ATzI1jhGii3ubV8WwKgzepOwaS3LiZt2rsA3+oUJDSu90zUDmRHfXvOULXTRbAqrrALxxmgsFsoe8SezM4GU1+A8BoHGvQMmD7Kjw+eMB7S32Ynufy9a8xvLkbyaUBaSavZwHl0QuCbkkBkVGXr2IbXs4E3Woi0CuCXUdjluPbADpN/l6Dx2eyGPnX/dVuydVptKF+M/FGceQ6aHXwxS7TLq5b7g/DSs0woGbM15J7GMNzItWvxWG+KwOvEyrIErEVOBvwN+QXVU3884gvLoYeYjutjJt210jrVU+1DlcLH/aa7peE1mP2/KMqlD4do/+cftJDJZW0OoLgtV5LsCmaTEuLih3jFGPjQealeWbuP+Mu4DeoOo/0Rvh4hx1cjQU8pcOalglbyAjfCbfINLHrsNiod1sFbq7G3Fa3UpISOk898M81zbAbmHrsrzzLlj9u0r1Cr/l45eo6U4IDcyEwlAWYzAObVgDTfZPvRxDZzbOi8DENkCXHedoeTRtxXWbaNL2zXH/1jE4+TE0mMmYf6n2b42NdLT7/IwjkdPNRfHJjK6ZMjSvyXs5Wc8/UpFigDdNPpFS6jW2yRBy9JEJu7IL8ozBaoZ+S4FxA+ZA9uULTzwud21/4FRxv4e0GA2zE77yv6fuc1OErUBW20puQxVgNizHHw+fy2RCG/vOlnmg7vnwFwpQXeuBWk57ZSXJuJ92ki53oaa5cFBRd3RPuhWHYJ8Oz//oKSOJHHjO8EMab8eqHsbFbc2Vps5YCA/i+1oqlHRlMdH+O6qKbYypb5plVImONwnqwnT6PW4copf4B+5uWMPCzvLEbjTvTSzGlXXzpHnuuQOWXlCmGMcTv5Etqm6+qq/pDXNtT9RQ5Frx7zmCfr4t+19U3V7ha5ee4XiFLDE22qtVCP24SfUFn2H8WoGl2abl1H/l5zd66IXpFXq6gynyaeqQpznPd794HX+m3MH7vLq+LlW/9wzytC/D9xydyPf6jv5Aj+0HIU6NSwkxlqsjQKQlGC/xhPUE5uKsG7wjTLMb2Qj3kt5xm9TGB58bqPBh7NLxUZ6l1P5EaEVuLA3WKRqIlRNgFUsLA0bGp+dVIaph137Ex/akna45kOO75IPM4z5rlDJpTOimPeB/b4pcqXV4XaZURC4UU8tthtH1M/YsjGF77zCfqf5wQv/2JJ3BBh3/S5qSxFR97eoLxb3d8IzrYTiIqKE/bk8PTsO6aVbqnRLGp9hGi1CCzuRkM7glCE6N5arbTrT82S64ImjwqqXXlPgeRUCk8mjfOklqN1AJcHlYmZXxr+yenK/3XjGZjVVBRd+rJJ+2GcnCQCSde4t7VY/6bhtE+837Sdnb2HdjHMzIzseokeZbFc5Id+Kw0L3XbO5SYHiLFngiyk4ei7HQoyaNU8o53kbZlf37TUCBksjhTAo62v1QeY8dJ9wMPA0p+VVOax3WcU3VyNFrbGxF/ffmvjRj/IyYQnc7wcpfGRiig909AllTaNuLiNTOq5kCxiyFE+u2j8Qynhv/3EoO4ZCNZyUnXAQmfJjiPHY79rsLUNHPLNkP4fRSVEVncgfnoENi947WqH4brbWajYyEiiRfl+142xgLgkmL7aRuUgCrBgf/Ggfrylf74DB+7Fm0SiuAvja6rioRYo1HR6mQmHe00Xx34lBLzb+EW+6ZebuEzabs/pE5G4frzghit1kaUqHy1yIYMj+iA0Ggei7kQjEBbtL6G5nz1DMO6j538TmlCC6S4sIhOAIwK0UspTxUo0ahsNg0Zyb71bwaIIu3yhKjhLN0TEXkuE/e4oZB03C3CRaOE3lwC0RO6Hh1fUziOBAoW+XlJWLX9vFDNFxleEIS7AaQWwB1yLjvrG3v4NILgHeW9tlOzbdCvzT28ajt2x/yiZMIDKE/y/qli5j3Y7C4R6UVGs2c0VnWSClyJOuqBMKhYdcIDbRmrI22fLJAzQQpU3X+7EaYMTDFVp20DTyvlBV2hqbO1TOMJk1MSTA9scIST0YKPN68BZnnfaBzYgvJwlICOQ0tUc7njZTfq3tpse7X9YOo8Q8gCRZv+zej0+vg76Q1bxH7yfBvbZauf3NddWHRvnjQiEflKouD9+x0YTR0GBmYO24nAv2iLCmAoPvAhxk9H7ddR28B8+6zi+zm1pCD8iMeAZDCMfXh8Otg52JwwsrICl7pKveIAP726xkKXvxTuY8C60NmGGA9N5e3IDsKEstdSFlzCVPGz4CC4cA3+GgxLZXRFaNCD3X9uWqUiWqSEgSHH4x7KQMjNarvrIA1OTEOWFr7DAu6POGt+Du9FffE2oBCJutAYLndN0ukatsBscwMp0zKPZaSl0M5EtvlPUwHVqpLwyH2jrrXgjfGdnpVzdh1A/bz9n9Qz3jFa8IuUAXj7MI9dHMu38uwHFmryGWgsm2bZOxO78hhVy/zesH1591GoHDi09z9mhndgGfNMOvlexHJ5Dtkcpq9t2B9+ZkdrUCLv6LAGxlULDZodeYjVB8u1/9gtJ2WXQFUpt/cRbAHMU4oENE3R4wG+DVkJ9yEg6Hkc58Aqt/XzkcbqETqc86ziTJ9HqD4AXIp9DJbVOA5i5Ad6vv8b3ixzKXbA8oljrEKJ9KAa6MVx57F8uOS1PU1XGtpFJM/n/Tsp9bv4aUFxVxvvE7uTW1oPY+RsdFR6Erv5RjCjrf3kWL4czFmW3JBWWbTFGprHjJzQ1mozarzDOnv46dYTI/VQiU8fX4rt26H37qpJjN46MBLxERjD5MpuZC5Gga4C7kiJoKKKeboIZe+4QPgORPTqk92/1G91B8unF+abSR6gDRjB3DncFB57Xpxr/2Sbgj3XabhyD0AqXTLxrkhIBLVNxcS+38T3IJJScoIi/DG5Ap0n1KoAhlxA2VtWg+fLnnMO3HDpx6SGKEunlhOr88joQ+5B2/CYeR9VZTVVhDrHCRT4QSuRx1igFBTorVPUeTGEjdFVrdS7wOgguZ1qmytvb+XlLwNeZCQO93EOhpf2HlB7PiBqqbMLZ5fLxNMlM3l6WCy8YuDNCL+DYHWez0JMDdi7IavuU/dk8PtxZHLRvUKqr9ih1xIC83AhRNa9fRQBugcnK3l7d6kxynr+CTxBWt1QAv0gV5t1XZOxKVuOIz4PtzANkUU6a9NxsFwnKSbiJXRN8SodhjotWvtClBtsp3NcNgXtUQQM80BIhlI9uKMT33YUov0MorCqAVHcJjJOhDB+t2jeIDlI/fcTgtDQOAbvFSBQ8oX8UCi2HaD2cm1BiM2FadUNKne9Z2Xw6kBNJgYYiuvNaFcC/Ht525TEJqv2CrTXn13RP+Xwi4Cx6nI4k/5dJ6mVjBb6hHbJM9zgjw6le2XB0UtM/8x7otBXwzCk3CLMI6M8BXBapyXTYmme7mvFUQNAB3CcxoZO8ZWJD0ALG0+iEikSH8r+ufPPCyogS37Pat1e6YxKwUwySvPoLO9NVrb0oDKUzepanX5+e0b/GbfCWqZFqkHB1+ElvJi3uiubLJcbiFhq9fzG6eDi2QW8m8ObCAoIfygvLwTxY5JBtJNeOWyi1f9NehtNryOHk6hmyBLjcOWLL+1tR3alKE5a82wF5qf10bHcrxHBvBd+rIWEjrtftFNQ/G05t05YLoFUd3DMQ5dBAMCCELgOJkMvoZBgIhT2t5W1X/3PzDAkfJBglfdDNz0ZvE8pkmOriThZ+CnW/BpYtjMgIYQ7/fzqmbIDslLE2M/Nz471IvELbekyVXigMHhwGlr5YOxQJftj+rWcR0qtDjq01SbK/usLt9zcqhxCb4EmsY/Fxzj+2H9G8xpIeewgiS7lknnLSaSbw4ToXp4oaB29TeLAgqmLndo5mtPdbtHCsIYFu1tiDl8Xl0bckXEwZxipjtI0GFRWT5lnvMQ2BmwQI6lK2gEA8T1VSjUG3CTKCuBFiuazVsd0u+bf25YQXXTL6ZRHYrMk+eLEaE/2CL1GasB1I0iW39X5Nm6ME3Q9fhHW0Cup67noHoZDzoR5+yKASazEY7wcmUU/Wpa1CJAos7HWTEUx8tGXV9Jy+9pftOlZwGTrEi4Nb2mWmENLTVGN8xU6SbP7jtlx5WgnOFyYZms1qn2eeOrJwXg3dM2xxN1WZlzJIlBkDe0aygJaHEACfCm2Nxl45+kUEb0OC/1SB13dApXDJir/QvqmC9LeTCqplJqRrH+sEaOM85Ae6H1BPY4u5ZFtc+4Pn9kyaq61m/HWlpaVD5KYZf8VM7eFX2LywaQlIT7ApS3iQp37+h3ZkDZ9IlOhvyq7BvvaLb5pU/EbgeR+HOEAwAv6dxu1Yrisv2m6bP/AEKXmCBnmaQwW+f0/cuSwDmy2+G2Odmn/mZ6bD2EvSeeiGjo7PWkILDUDjSg2GbNsMOyYLjm1svbpbb0kT+E4A7Z43qC2rapvtl8Xi/pqhg7e65aIKUvAAE+giLweg5h5lI7JBB5x267xW27vIQ/PbXjvwGcmFOqvhVDBzGzinjoiIoQ8UkkFNi+qGAVwYPWuccHIs7LNm76x+gjyYLK6OGW1VH/e+a9NvmzUQgl/YjW0mcmTXYRcZWo00/WcKDeqVuwYj4s2R/NbV6Gw4FxNTTacLnoepUNlgHx9MCBck8Peu32MG5HUsmYdJT7VyYdDsD+K4xoMmUurPVzueK88RZd60AkqI8jjR0WnQK4FT37YapXq3jevdpXtEWvIwd+nW6PXLfjzpxwNqN/3+n+JtPi0eDY82NtwPhps/CR5bhRaHsR7nNbSGYXEuutZNwnTsalmADgBpMzyplBPRggMrD2kjL+71x8uYmdVHUMA58/VIz8F9oW+tqcEgMH9Laxjzf7kjmxFw2qciG1lntg96MH8mQ1nZhu1sKVoSSrd9DNFJbV3JPC6JqYPlF/jMFm7QZS73thmqjwKeBhZOUw2FSIi5h8z1W9broNMUdmVbrP9NPmGMNOBuW1HSmz6RxGyfMKDAvGFNbfV9mcO9UiVM4rPq4u7PsccWr6sGbFoKIgbOQ+Evfh35jcwaFwtrjdnDzdNIeDH/hkKNDfvBqdzyJaWlHjdil3cbHAx1Oe2kSYlOFxTav4JMhsaL3+292lGQVcylg4XsbU8xSnIV6VhF9nmtEW6QJgSAg6rwhOXGCzdD0sBgPzpbnVK9ECvG+yqzzksaYMxToNftOm4RyyBr74bKvOtO6BlqdMRo6jOutSAQiRWZxrgBiCKw4533tQFTwnFaPnDOSiR1E/1Y6dst9RyNYPTy1AubKs73+iabTMJRvp1/7UhHzR+GGL7p88BeAC6k0AaJS1KgoeU60pMXo/QWev7y+qNRN9bJWiXm2OYrzJWfUVSLChHwhoGTZHuPYVmoEUZLAVbDHeICvmgU7u2qSsp2LUcClQa9vkhPd0bOldI6YEmbKBpeRwXQsYpPhob7qxIzCy0mCu1IWTn/C8ECaDjP/1OIckA+JFbu6jUJNCUgG7uAIkte2CJQUnDR0b5rLKEOrmXGrXU8aPIW69fdugw3hrxrxzAfAmJJmz9vo2FTEuMgtczlhUfyUdHVRSHmEy3XGunceV6KR5aOgXvV8MNhGIqi3n/PFITaui7HliZhD9BRDPNKYeF2yFqnwqrspHzevRqHsO9rpdzoALwTrhvvmDW7nzqU01rf9QKMrDGXhJ592rT3olRSZn/tIArAk+ybxFUaULG3usep+uUc0Oo42Y1iS+HNoBjrJpg5ayVNq/079ZOFvTPEYrzfVQ+bvhlBS5rsU4t5dI/MVOTSeM+dv6jScVyGHZzB/Mtfq69z0Mm67J68HGBzRnrJ6+LLCiYS6n7V+V52TPYc10WgaSSDlzwkFsz+8m930OivY2xxr0RibVXvbMYXARrGGyOhOMoVz+09ovUYb+P3yNYLp7Z7YgHh697hrf+yIzq8LKhJg==">
            <a:extLst>
              <a:ext uri="{FF2B5EF4-FFF2-40B4-BE49-F238E27FC236}">
                <a16:creationId xmlns:a16="http://schemas.microsoft.com/office/drawing/2014/main" id="{74F29026-BCB4-4EFC-9F2D-B41D98806B2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493329" y="3965716"/>
            <a:ext cx="4917915" cy="2318395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Retângulo 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qUyXkkI4XFFFjYk6Ens+AAmEYJW99J2Rk4SeN4MDZH0uX5ONwYnTK+6znZZt4531u3drFQJnAq75G5IX5dbhI0vTH+7xXjKNXnfvePIbQ0a5JyBt6uZ1UuBYz5FlnJUmZpvgNzNRN3mBEFYv8vPgUP5SUeplFu6qkS6ARz1zoWqbRvcVwKDMuUd5O0bCfrYNDDz+6aYgPlFAwyIYw/qc4u/Ef/XMmiwYaBUnXuo001lq6+eynCswBYM9dSXA0GnqF0TrOW4XaT9sepg3LhFvY8/qB4oLMsH5vJdvxP0+1VRhlIPLBirMVwsYHJgE6HbbVf8OsLj5gbgrJHIrcCaOn5Y9gvKH1iCODefCzgcUdC3+lAUr2wPKOfylI0eilmusHcddk6uGLEKeeFbvjngLA6WpMix2nnw5U9sA2tSYf173fJIkRSvNcWBpGntZsmBgpU76jbQ6llHd5i9nRScJRe7/k0r6NRsmZx+IW4SbSxBb4qZSodW67IAuhpdYYLGqloC3HpVkyq1FOg5UvVSNEOwB5/pamV2XOQPyunem3FNlBvTgOe/uZhoRQNOsCvyJYTbvxgdE3jrU3g3T2Aq/xkKfDcrwB3N7ChWRvH3X8Ekwdq87BvSossQzGVU1auhF1uhgXhqYC8q/tfDwulYjft0ZJj/1bDKWnEBwmznJpOOCq3ZKOjytK6abiTGTaWX0QWOChmeSQyo082fKcZMBAaswwcd/hQXUIpXZ6i7xzsIBCje4JHTgj7S3lfS9CdUqExmvVV9xgzLw5Zq/qkKmYedRiopSGXLYaz0y3aRcyfi+mLsiVKwSi/sl0SQJWlguN1xM8I9F4qDrkFKuv/vCgf0dZF8RCv89E9QjPkEwO70rqV7pG3ItA3P1TYHwFjOIpFqXsFhhfta1RRfoCSlGAzsU3Kyo5E7XDExoLzT6si39TiGHxcyO8Uhs9+1CT4HwEChZE7TUGwccqxr+1a37XsemZjdzJJA9TBkG12bcfCA7ZsrSApsGoWhFIgBM76rdDML8drhOcy3HGTE2fVCbFADUSuzbku6Ye0rBcMoPEHjYwQaBPj/yZanLXpubFc2RbsgIaFpjiFhiqH5esmySWuIpA2S9QBYETXI13Rl0+cev8RPnOFDBdVJqbQk1WWsMSaMeifihG9+AyR6SPRNFcjIBhdvMCeeFRRBS+bX977zSbCsWgGY+4zCnVnDaG81gi7wVYOJ/j7rs3fvwv1WYI8Ju0zpeCJ7TEPUa95H2ZrarKD9ClCq+3thRBbFwtL4TccAceElz+nEML3MhrC6tiQ9kNLFR0UPH64O52r5fIHBWM8HCHz7vA5c6GHBckCSyJFKlEDM3YSsK2IY61K5XoFyJRg5h4s1sX7sD3c1DyaH4Hjg4X5OgwPIM6qomQXv7vUgdOcxF3SzdxmovJfsxtW5r9S4B3NYtTJZA8fJt9OfiwLgJ96PBfSNoMMSyL7gB5G7pFrFRImPLdMjb1s5BeBdfjK8XbiDVHxsEJbz+5yZ9c9cRShHS/xSHQpEwEIwEjOBGyt3Be84S2H8adp2GmjgW4Wy5p/f7mL0vpGgMrvKIYPhe3yVZ7S9Qr+FZekq284GloJHCkwuMViwwwe8g8MGbGSZy2xEp7ZUjzHXlll/PcmJI7cV3c4tl5tqosptI2hOPmtJs2Ax/OvgpZ5qmElkPp0KxActxHSAa8xQplwAE6PhB1BrQ2yHhVOrwz4XP7u9sLhJoikLEu8yxr8csElZEp6t2R2c2tlk414bywj0Ya4Smz4f6n7/i+UcGoBUZCQxbfYfBCBkJqYEdp/zSyuwDxpLzuliyHnS595hHahrE1FjBqY6a5GK1V/73rybgUZvHtiQ8laD1qyPM3qmlvbi9/HXsYDYG6oAHyRH4i9/qhc9+Ce3lGZnhSyB5rvKdgSOy/nldvKFQJHb34yiVFfaZ4UipfHZnlbRPNnu2Tiw57iCxTteNBQRUGjHE3f0zxNKWtCJgBrWaKPaIkKbu23Lgyr/GGUhPkt9mBI/ownOVwNjOwLdZg5wmhgWvlbi/mGk80099pLRpnjwgvyKYC+2LGkqS2ufQuLJ1wLIbVt4FUJ9CKObI976Blrv7asmwtim5TNef/k+eB8Oh1uUyo+GxUkWEUKTQ4TNcYvoMmzy2x8Yc5ctxDhDOC7azol8bSxySI7Raivlts7I5G1VWulukkKBAszBOeznwFufomBGGcrpS8Ig0xROzHrmWeneFkmIz9coEwAC+tc8kPdTXbigtD8DZHUDwm/u6kMV/OsNeXf98otnCi+RUhCRkMhJWWefkiWZTbvU0moLG2SZIvFooaJ3lAXcTCceYEA3SHSd6RP27j+L+HINgf5U4Vpj0LWFupCWK27V0lOd2C4b7DblXQOTOXTjTKQ2SPwyLzgmBvTQfy+XkooTCVjNm3lSYSblq7xy+Q99YDvLiv0UYij4JHk8VLsf6kjtPQufBEa7+GvvWZEdwuh8TeWspH+psoS76lDSKZNvMHqjDAPT5Xk/qzvcs1TcVodfrK/Km/tnrfSktZEVroDxnR1/xPp4NGBAK5vhCqphwd/HZW4uOKarJGejC0E1G2F8P+YSUx2/Gs09zZTBzSp0q1RFg7daA8vNN+6Vn9OMue86W6bGXx6hGiQHODMMhAKDGUeJhXVsHV7N8rRe9sqXKIk3gzo1D2c15b8PnzmJfIfg12z2HCoQCET34WqD4/0H2CkCEVKY22Ikja9451G/9vj6LqRJYxRyzi+Z9X6k6/e01FhhSpSWPGKVTfSnakWS9ip+V0m6RmWp6fXq5o9CGcyGx7wtoYb3ka9IpYvSilj42kDnT6dGwMCCOT79Zgaad0vUFlrVM4GFzJIiTfkfw+wpCazKQHoJQY6dql84Q8jGUwxVwVigDkZWXnF36P3vs6DRp9Z5bqMbwSnNylnUwQHmHThtCezWFNqWZ0s+90tCa02gDWGfioHsHwEdlkl0wLdYgI9Bb27PjY9lSqRa6mgJmMHm3pv5S5qJlj/f93Ejb36Hwmxu+FcJqNmQBfROp7RXpbNhFb1R8vxt4Oj0uTuuZlusYpJX7oiRMm49Ze+7bKBojXYZF6nymcNBOqDdMA/3vRS5EWKI4nbSgw0Z3J13uF9ccbS+USlfrb4N/b4aD8B6RSLcONvK8MSg2T6gajoioJnUAzD+CuxY53x6gA1BJ23756VGTsqVW3H+woM1EI4CH/tXNH05z1TlGHqeWnHC42Q2b20NzEndXgnDFHzvj4wxgeEpIlMwz05oEw2nF3gdF01n3vHRY+VmD+QZ4jKiINjeGeqLA7rEcQdFujcuMKXghdyW2qf41ByuttHuWSl45oW0OMGk2VNCJDG9J2IXIBu/dsS7D/5VhI1gOLNKFWZRwfwEklD4kRSAREUq9XHjnKpn2E4L65LgNdmKIUBJrYCDIq/PNqv0wU3a1cZk72kW8LfRYRz7e85gmBjTUEARd8ubsKIGgHhZn/pLrkGJHjarXUAqNhbjETZp1tCI1sf8EiVZbCjeIImbu4aG6pqfd29TcYMd+l0wim3NiRHrEZFa73u9t/6SWZz7e4v5i8c8XBrIUtF/VGEXD8SdWATiCqvvGinOMD2VqvG6raFqV4b0BNk89/Tm1RL6usWxbD3ewx3avJ4wVhLJq0x/5apX7Lp7QUBcb92mS1Qj7Uz+P8kxriGgM0ZcyItRLLSlFZ8ruyIqCjNngFRxXOiaUo1mtNV/t5SwtvZLUG2Px7L9EO9eaOW8OjHsUrL4AXn4EF40m2xe4wN8/2HQriT8O4qt6t5GalcfqFZ7iCnKQxMtqKQACViHpJnMnjXPtv7lSnB1QvAzE/U/xPbMtNRxCsLl3EbXxtfbmsxVn+xFR987Vdm0usT9gPrORAGwocfd67X7FmixkjLhaGaQYYbMTFVNnShOdh5nVWX94aX4lvOsPL5BOQPRTrffzUI5R4xd+VK29CRwcOqMX2Jo1cNCLGLNOYBqfKZaldwgs8xwB4kKtOF/5dJS9qSyQuXeeq4KaBl793m9dKVxxgGvkXVGw7yKwH7zPrKaANI3kZ9Wo9kJjt+2NLGqNZOfY+aGb8CxM5IOYfAjrnG7Qek7KM3OYpEdOh92+9ycPI2RWHqxTmZWBJITEjjcu2I2XDhqW8xtTD9LXMUxuv/IhJxRA+Tu1RtObVZmnp2EtCGmbLJf2/zmor0bGFSjOV8CqAjlVzo+b78j0BGCZENglrM7BzU9hIp9I4PV8YeZZgdZ46PgCy6yupGuTVD/msUzeLqPNZJJZrq+eZDQgDhsMIkN/+KGCUoYIMAaFz9bXhKDU2HhuTY8FrGvAQ76Qmc5Hqixy859g4s6q0WhIVwLceEH3NAsUj2u1mrQEhmKu93GCGZtrToFWkwL7wFjO5b7ShozaT6R+gFvkUy042/qUS/v2W48YQHuFNgPlFrTQ8rPxoUuwuKbGsaD+TrXZcXhrapNfq3mO3RGC2TPKgweBHJa06rW0QsKdOeWUQGsYnW4zx27mNz3nujeE8DO5xpIzzCQZNHe35wUp9aRWHh2cs51rjA3A6V/m0G4NrIead+WSOHK9If+ukJoZcSbz3JcRmAQbjJZ5BJkfDKEc09tZRh2BJgu0yw1QL2GEhlfN8Jkr0tGhMQ94KqcJJYOjtt6AnygIuCywgd++mQ23v++i5+nOtTGW8lHsbw6vrfQmt59bFA9O7dV3h42NwHhStl8p7GHjQl9iWN8gzpfnIoXKBhtEQs2By22oaV6g/NbzSVb+vd1J3ZKWWwWk3LP+Y3kDChiLrorQ81XnmyUrFHu5Y7DN2Euv8eIp6SAm/DLR8oUu481CKxTziYVoFuuFf/XiVyJZN3+S8zKxo2g3dMaMfHBgCeRL85UOXQxvNLBxxuirp0w6jUAQLV0v65XyMKfGF8i8YnkMI0CzpJqAJcuwaNhDiPeD84dH97RbQoLVh5TD4dPJuhxPgqYWJvJDUPD2sO1FnEO2TVrUa3DxIIAOaFmb6lrjFbcyZM0Zfr+WvoMCKt0NhdgrzP1mEvfdBIUplCRUw7B6qXjncvnPEf87959e0zn+0/PeQV1cqAzXGWEW+K250ZH34LprPEzyn1J2hMyC0gnfL7sth0tIr1G5np2H8lRzDDFbLBSygr/l/+r7gnleiuJUtkDqAWKOEw+6cF8C0nCFs82NofSsb6en8G7RF5YdtsYMJXS0Yvyong8LNQeEbLHKzQU5WOzOuZMCIvMPGMKDdN/BqxTcSQdhN1d/f8lysj7XARLARS1zSBoyuipwdrR1/YY7GW2tvQ4sWQfiNcZWuxrj2sH1ihm+V38LLkU28/y1fzPpVxiOW7h0REii9x3OhrEkTbzSQrfsPpgt0JA1aXLYlyZ5wmzMaBKpx953U+GS4DIyHVG4wXf/y+MxhN+fVJERUymxYcZESoRX7/YfreU7/cVfvwmC15fRXIE8H7jOJndd7hMfmHHHLFHFMTA4ynyzgf7K0UofWBfCaZwyFUeS3l4PNImkbHxej24qPbbRDZRGx22xFtIxHKdp15688Crf1y4S2a1Mo8UFiRdqf43DZgcuP62baVht7mW5gUmU8Y8mUk6+no27uGBesjmk8kcsgk/Xp1IHxWN5eKUQBjxa3NEeXReWz9YvSD0X0Hkkcm0zDghzJ3Zfjy0o572HfD4N9TJTSW2cBdLKnsvbWTW8hnAWh9vDsfTD+8sTbZCXG2NRTbvWRHcwhPjaAj8yHuXTysrqvhuAV7xYaxVD+kaTLeF+IrYAbydki06SrwuM1n3fsM1KSGks7iJxfngBXcnPIrCTPiYyxynrp1NRh2vTaElYiHA0SkDmUjIKTagKll91TqYcph2fUW5gmDfr6h4BjDQtYlGvBDxu8pcgREmcPevuoJTy1iabs/hwZ9RKS5tTqKdtWMrxhyKCa2I41Ab30BlqzKE20DGDzt/KkCMtKXJhsWDJjQQwVU68gjVjXE6jzjBy33SZ0NkKj0tJ4kXGgiRMPCgWFB/ytQkuHV+87u1nKIY2znS/pU/mzuD19gq7PSJLkWWDh2UGVAAXNPJn9tsCFg/g9pL1mL8y4k7aY/bthRjogZSCXSpPluMRnaLm+PLawTxUSYUjUk6N+Y+wvtRM4nUziWSZZw5E80/yNMAGOcVC31tj9IpI9GiYAGeiCS6qJPqbheonoRQ18bH7JDA395m8KJlUozcX+qgaSrVXFKCETApAfa1wy00IcGsjg40JRIREWA6fBWiAAHDj7vZWcUsGAhNaXVwL20xIgK0WZwncxmd+6z6Q9HAnymh5okjT92Ma4VIkBeHuvMLIDbCKuI4dModkQp+Cbfc3/1/Z66ToPhQ4jXpMJruXyxLOM9eQ+IK+ZWg/mfCUV85QeYV/s9WuTXn5GaICAWDhAahfwy7xY7vIg2pY8jQNFRL+7G9d09OhVuRer7FkmrAGLTT6QnMGiGR7XZvGkC5WD2VDsOTQJMmY8P/nyEteN3c1JxrWzkMxAhnb01r4z2nb4BLB4siRNZsyMMqzpg5dkZuLuMDaLVHkRCQ6vUyb+jmzZXkf34R0IHaD/0oedhrLB/0aC2KKFrVoq9aSmLg/ZiLueTrO50b0sdo+iaF05y9oWRBIO9trwWS4ixF8CmSc2Dm3Q3YO382QHT+4U/DMWw9QUrRYxHi8QwTHJNoIHo4VImWyiwur2BdspntUNBM9AVHGkxGugDhzURr+P4XH8e6SH3zPiAkRzA5x+xEKDensX3Petd3jo9f1jTJJwtaNJOVkKEF88Ac3lEMgfA53sWp8ZcF4CubtVPB3LTO/cV65+ccuIsX+d0NLmXJyRIi35L4r0vyCRwG9m3yuHxPLn0UWpW1baS0NQ+r/C8eQTdc7ca2Bz88/snmUo2+nS2Tt83CFi1Zxu0x2VP5O3eTUm7oENgcCIUpIuEnc/36SujMe8RuSBzvDF7kEaPG2gyOMao/5h61pgt1Xlh30WTspbu3lFoMy0dJ2XY+LxvHfRUHSJ00P16HIb2koRJrzv8MIAd6hoO9unmD7KMBhl2t5zbvetZVSTBAXknjYbyzxQ27hRDJIDithw9UfuMSMOBfX9S6jo8YDxmUhEdauhtoPY8iaKxKWZ/g+pHHNavMziA7E6SXlTVxVML8r273FInL7Hv2fvef5akjQ04NKO05gZpTfBEVoQTJAU0LAqLEWvsQFQkUrgmkcwtInRFf2EtOHbgXdUT3qLomt7kH87f6Ib3UxQ2D7Hz6gf7VR0M1pzr+jazOYJDbkmtUiDKSviIaBtiwl8m0Kx8IBCJbDV6puu5VvjQYQCdr3iWi9ZBAviNtm/zjmd6tjyxS+LzgCjPDOvRfe4i1NIv6c00II58gvuWgsKqW5037LZyY30nMNfxhKCwT0KHBAOOVajLd/WkEYfNAq9kFRzc3DwoNpgkXfSVVtvrf5wHbBxBtrLiW/82MW8PtX+F4hXSW+C9zvL0GeD2PyyLJghKjh6drll62kni8CEM2CaLbuq21xhNT7cVqBdZPr/qz1Q4aOi+5Knu1RbHVHW7h3ReenzK3N6BF4qtmIKEIDERWfVIM5jTY0gsZnr46kfWcPsYy8iWFAxi+Qaq6UeFkR4ADnRMurZsDjeNRGA2TuWONCILZ81N+SqOa6R8sZjZy2f6h1NtciLgjXvU9Zg35J6XRD3aNuysdK1h358sUJDopKtyJqfzyiG5u+t8VKWmZP0kJ+qNaMhbpMdntG9DUwb7nMt35MhXnu0najLH2fcXD+NHJsPPEZjzcz90ZuZlhpcdSEjOisA/JbHfnD8K/gPULfE+9KrR0kyEjEfYyE0yHiLLpywT6QhkqJMCp26h7G84diEZ4aCbGMo6+/Gp3oWIuYyFDwMMEkKEkgBJFwCJp+vzXgCztfzP/wX43I5w/I+B262f4B3wsaGYRzCZk2BGdz8b/GW8Tajjg3aiwFqAoPIbEc99V0CfwnipLEcPxV4MGFDa0FgvQbW59U/rV5pT0ibl/wEuQ3etUHC2riX/Y7Ekq5VmkmufEwTDCNIUhGvXa8gzjr1FYBFBZygEpN5JfPx9XRbpPMORPAOAO6lRMInDHOuaKSvd0B4BjT2Q2nzipzqjYes80RDqQReTmZt2x6ZDaHMEqdkFNJWRYm0G4gwGwEUaHxidHfK2rao3p1MbQEnTdpwKUb19g4B5Q8QUmt86uiyCZ9ltRm5J1DLBqHdlVf/YQfQFGAuvSuV3Vzi8EIHNBHumv3ubIRrnDb8vyP9jMDyHStKfljV1AzTDGchClthQPJfzIE/M/eEfvIhz/lgNIgwxlDbaDfNm7EqVYqr1NWgWOnhXMr0LELKwzwZ97cdlfernI3pj87MvTGu5mbk3uuFbrglUMQTmANLSWI8GTqd+RD1lVlOB/rXV0J4qJeNPixhMPlgCZ/LYiiAr0Fm4YynmC/bHGmVYNV7sUnf0mIO2mzBV1sGj8o4cHWxeZlVlPCR5UXUsG3jrsP/moDLvrQxoVzJUey1CWlhe4KTcn/75SmlSQj7hCoLSfwTOeCPeGveUZxLV0m+6rL6d6RqFKXljoVA71knWFDRLp6ShNrs0NLh4GmiFE4tsI8WOghXZp6DX4B0oZKWNrwOvketGsETTR42tUi/VxflTD47TdYQhrwn9IUIJ0LBiPIwSMT6hlZHw+7u7gzqkeTeF6XK2kKcR5AdceTmcPZjuXg/ylrUx3QIf/bTXEgv/+xoB+KbsmRn6x7OV6wq1P3CKy6Br9dQp3xsVNPK4pb1M2MhKHXvgrnBHunFEhoxAA+5qHY4gCwO3oN0lwXH8UmwrVYj7UmqlDkS4Z2/QSfmamu8wM32iOvEU5cci0gWsa/5KzmbTvj5V296PTUCvUdEm2lESfd5YwN173y3eeSmiDfhTL7WS/8ZhGKRRuf+kyfLScbaK8+tAyg0HkyS4gB+ux3gdkAQVqT0A8I7wJdbgNQ2T6izpw9emkOi9+/2AnkT++2D1AR3/TgdHSh9fKShidaLtizFaosV1YM1e38SlJEd5AixC5BxgOcI28ExvjqpP5e4vysPolUdRXJWnzk2AQ9osu5m3BLzQ5WB9ar3U5Alt3Bl8BORtNIkvEo+RruQuVlvOmx5wtyTgkKiPwPrF9kmbHmPty7SN7AZ96PqeWEG3Nsorw8QrX1GvzwgmJvaJxWoc+8BTnQOBz+w8nKt4QBPwPnmpbxm1AKbg2/pWMf1iQLf4/jQdBi/zxyCrSygRq5gHJvS98iw3q8bpUcyCzPBlmQ6jJtNdExxq75wecqZ6V96ZjFCLKSkS5ZPQKc29voWsuqJkE3DL/d6CNDd30TDwJseCylGxIYVRrNiy3eo9xkqL+YJ+My2mUWd1R4YnSAeRW6woMiByrzSsr8oSrRNMbtzj3Dor+Ce5XZeO21nKezRRRPU2Azhhz/SWiSdQtdPsSOcZ+zfY+j+I//sclRPaP84CTXm5BGjeusIfRZp+TUNnsLs1NLDnIDQD0R32sM4pfByzwKTewZ97PIoKCXuiDkVFvxLMtPvEPKlrBu5BW8DA66E1Sn+LozyfM5rFooMTrncPM7K9YHkvMOOVcCB0tYIH25EJP8eQCMR3rqouGQYyO6QZSpn3jA1o08knXfMTKHwUy7blFloRpssKcDnBlCWwf5daFBfYKiSf+hOA/sCcAES+5ff+FiiOcxGDsT5nkBB6vTPidtcbhX9Ya4pu5xSX9w1N+gGyxmfcG9kveyKqb4A0rQWAhg+2b1+JZF3Co85oIfZIXNgm3CJdpZRSx0qOi8xKnSg0K0LxNLlYccwKxAnJt3awmpmO5V0yUoDuykLK4dZBnt8HIazAGw2M7aq87gDx5BylNvFb1yM7yZlWKWe440NBIIi5IACPeAPKwKeFLJqSM8h7uMTw4fwtm4R/aQ8CBxcga8y3b/urwgl8JEzKJRuwR79uqajxqlwI2gnYJ+Qkp1lcv/SRiHECq2HnqvDUnCOlPJCZ1YRXHqI0D3D9HltNhdhj2UElZsJow8B9/W6K7ndSQQFO5PBArGYM7fM1JNnrgsrUNKhYCw0y6TAjaTcQSWBuzs4Anf7Gfoo45Ewb9PgeilugpxcfezhxZfXjv2RqdemdB+WsH0zxDUsFm4hWf+ZyPOqUBpwmoDuEzSku1RbvRQvnyj1l/5hT6Ib2SAoWX6wmL7rntWgFlQM2GFIxWM0BeJF3RUa7IFnErSxyA8bAEc6D1LpTyPrj5wn6pN55arpkJdTgChmpGnb7TlFHBjOetxCJEPoysF6yAJ20MiZ7AdjUY7WIjCJhldnsDXjltx74U5qtCQhyriGYiphs7ugqvuR94wTLBOadoogBuClbgDeUoGG5F7wFlIz4gqnaDsj2n4SIX/aprWRTq2LekGhc+W9xuDBirw0AEUAOy5IZHg1wllZ8z2XBNbfowkdCUXiOkkDzc1aSk3tTum8ZmI7RL9g6Z6oEepFaUtklo+Q5rYssF9GsNhZTXjN05BjGypWfgetsig0mlsJncYlYu4RRFYMU8a/5PgkV+uxWMgMMb5DHwg1nhxjGOqc/ORQXZC3lAyrimiXT2hKB/bifenuPZ/rMhd66IUtoZ726D2Ikqq7m6MMc5pTkhmQC3H6Cd3sRmzUGQC+JB13j3XshKEmtxW24T4adnBMZKSwbxbtk7M62lb/fvLIrAq/T5lnVnhv+/ncllCeXcq3uxAqBVkydtVljwF9RCVeIg5rjSYCfPlZnBuMgUFQIsX2jZLb7Ixw3ZtlFJZWRp4fVZ+HuVww1vbCyiO9mUQ8xf/EFb7MoBFx+7Sl8lLG0QqDI0tJVHwbC8Yru72GFvml3gXlj0OU6Ja65QyvQH/SuLLQ7rnLefLYn3orhybr7gq2Fht76JgzEgHnFNv7+RAEVlt5+gSRazI17HNANyoKZrvAObtQBY82qnWYgkOLNc+B2u9NEdLzVnFByLrYTVf+TikXxC0u0AhDjxXtYn+1gb7YIDh52tpVXrzqKB2xRTzL88SWHWH+PJy4K4SHSqFlhCyasnB0Xxw6t1+tLUY2z2ci2stsfgxCYT4FyINU8BVbwqRz6SDQk66oFX1l2gl8JM8xYHgDJecaudj31SkijneFlXRXzBOReWGQ8FoFJ04JTXTGAxFRG6eqFExf1e0N0GSAkzizd7GSK5b/ieFHrmJ3L7nC+7hYqzIXJfDQGiYhKTOTYHxxI6dt3I7C4rOHYcdnBq0FfTnmb/X0HaN3dn6O9CJKI/GtKPpoQ28B7T7++u8Uc0CuU3dNmGuuk11CIyA5JLi5Pv2bH4KuUbf/fPcKoalv9/lYHryMuVk+pR1ZQ22ctnCuM8Os5H6XRQ5Ujf7pyHmG7VMPQRxh83GkNMSM30mJpXK1WSjaERgZkad1xpb8wIZJ+1xLRNesjNXr0zoHH3vBt3jKxJndqAf1nTOxRPXTd8z4kqoAE9FNHNsMROSmiiahMC81DIyeeo1aG77fPEC2he4gcBmEpHzLpmPfwYVBtwMAYJn89/KEnkVFCIl+B9iTqtGsPdrkb3FYIhEWYanYcWRD3svasl+H0JYJif3PN5Jkc8KfnB9Nu1DkZBeDzcLmAmINemLGRNMBOOrV3PzT0fkkMg2xg218t71QiIq6K4Obaqv9o79itEDudu1e8wGW/5qVsBUqTWK3aE/Iu6vAZBK3P3k8CJIuGBHDW6t/mex0ZRp76ldCYxZSRje53l6cpBLvX0SNE6pKy3fUhjb9ubvSy8olT9scCLvU/xx+DNEX+aSdpRTOCpjA/LTtpw6JOl5RDf+fygx0Lg/bvRMobl6OgpRKL/G+NXwtyMWq6Ckt9K4p3LStrmXMHBNmOro6LC7MCuIY8yQJkBu7Y/2yiAQvPmJE4hC7yAlFacnZoNDhurould6jUaf/1Ye+F83fB2VA3gFhrOYn60sN+Jhu+3gblQP/bhqDO5BeT1tMERCh6xwyeJy7fWo8m4ZyQBXZBvHsFj5wKooHi1uQ6ZD36EsL4UfVoSbJPKE53U4D4gVXmg7urok6fTkK5yiYGIQxEGf7/dfgECzRKMINqlN90BqOwjNhAzElsPo29x/4zjefaJnNWwoZt/6Gt/3QmYB+HO3Xkmv5IIQf/tizl07IECtahR2Ch/icT50DDmyLYnaRCH7HaVeXl5UYK2ShW5cRnKUGTRCIMALPiN9KBWAB2mQV5OEe/3l+pVXstkZ95MWdnttByJIc3QCA5NuCfvZX5EYuUohVVN6s62jF35I8NEhscMVc7LSyw9nuh5Eq+vUUI2ToaoK4ASqn3E+/UPFg4z/VJlMzKjOEffIRJs30GEffzgqhKLDZcAGxDx8e6H9VcGVs8dXN/XNv9o6XWYLIgJMVao9hDH3EDcOBFTEAhifzktVLjpSJXFG07vw1LZWOGE+ZVODtFe9RV6pR/3OFf5B9SOtnmajm1gJvMwbwuMBRqC7EARo/aw2ggOCDRwTpT4o3NEQ5jpPYwzb+F2o5LBSZKeU+hTJXgxAT9PnWfekDIg9D/pKd5GVrZ5Ji/OkKDz6iFik/pr2nUIcvmWF25qXuMuazKRhmz6OS6Nm/USNhydtlj+LVqqtGxMdQVXaITrmiB/GCACe6hwrujDWwpnCiweLTY6PI6K9h1t/n0DIrhVM+spifCkMJup8fZdpteMH98czrC/9Zm+JjdYoT2EkOv770LLkvZPSNWE4Y0iW3EFUAtWY186kz6AqFVSELNokYe7kMN2uQkd46K26qj//EZkGSxV5I/E0SXPJN+84p/XGUU1Jsy+ipaxl5lGX4wzBF6AwzMFfx09yHGcOlDmNJ/YvZ/2q6uvTV07qhKhssBKRVZdgqSgbAgr+wIAYV65g10fhlE0YRBfK7vNYsd+rvzrY46auVPjQw1ieCxr20Qpg/PkwfYCPREnum50wlGjOlM55Omr9VDFevpbBV/+DFu4tpNeEIf0TxZaDKUwC3CeGIB042tTc8r+VjQUg//9Rz5mvBne1+ij7z6LJdlG6bMIfZWtP3g62kw23AudfoPEa2ZwoJFp6g/7ukj7MKNOQEsjT4VREwhwxRip19Xa38OHam2GaihgkC5pGK3UmT96wNIja/xyNmgMnLSuLlyxhp8MfJw8TnnayFz2xzYxexnXmCMF7O7AQpmO3gCxqvpIvRh0pg6+LxkNTZ/Yel4JRWXb2DYNmV+59Je3V/UbW7ZKZD/ea6gpYuF7SeAtUhb7B/D2i3CDVfFKf5k68zO7yDD477uqw0j/IbYQxFJ7Q1HPYsN/7zV66KDWYbgcRxdTboGpQTEhUhPIMNsYEiXKj8pVoRNPxfaeMPd8pVqKgCxeiagAipRw6bnDteU7+4DP5F+MTr61zGvCJTtWQt17CaizS826e5BE/7PcZnb5vDYYXrs5L95+CMSM6RUXfteWexugjr0uwTJBV1WUcl0k+jqjjNDrdtnXd0AaotsKB4Im/R3QIK3nDGK1uW8jAB90JAnU/4LkG+WqhYrG6EU7liFZ0yEn4IDbw/m4x46hkczhrWo5mo+fpf3NCOopJ5IO2elV8+nqnF81R40iiEvZXXt0H3URKO3QZspFhRnFgO5tH5n+UlCLiooJIxEnGdE3tmrzwLqaQaLk5EYESsYTdcf3byYLp+pQioHS6rMZWLq7Ec4YmMmZVIDMJ3RsLxNwFPfRT3uMpf2b7auhCovCH3w8A8bOcShdGpSeOAh5cUevfVpyw4bNHwP/8AGuCTwuN/qgkCmN7GShkNmvYsx8+L9+BI/0XKp2qWMLUYIhMOrvivOgT6EIEj//uFuPbTPLnJTk9ipmjOWOvQxmgC2NsnHirzm7MojnlV+PqCfpF4F8b12tboCTOKWqGX9rq9ueEWBRyUMjtHyOgMHSgeDrgYP7cBq5EAz/NPd54Fam5xbnbpYDwyIhUfUTB7etLFFPke8jM0hgyzv14/0kMopoXS1V580cKFKwrHLpD+y5UNsvE9n9Z3ArqWnJMm0danuGyCaizCV/5F4lyF4HJ/ffYw/SZVQAORfCugRGA7IEqaGiqopoqVBzppmdmpLZkKA7Ak7V5vEEAsH/5OnM95R1E3+ow+iLchF6nZ8ks4IaF2FovlkiVMKU73OKovFbzxq35Sr0I6IH2xy+tUCKoiebLehNXigPvNOfQBPZB810Dm8rZtGRNj3D7u6cjWmPHrTLqpo/7oH2wU3/9mg9A/ruL0SpBzxmLLsH9ZsQeL9AEorBlMCP44UHCv3HQVsRORdkKYYEq+AHIvhPFVGQhYnh9xksGBEsx5MtVmzWcUikCrZhmR64T4Ycuc1DV7478LGX34t3elnzTMUZ7XNkOe8ujGtPpiAlW5L11DfSgT7qnZpi+ECC6NqBMO2ccbdiIQlBdKOFyWh8i7kEABQ4S505mmG/FtenstRWIYdWL4RgZQtrcL/iHlXSdu/s89n9HMgzzLIT5tAsBoDotf2Yz24xvK4tlaGajM+HSOPG+PzueZqskyQcmkV4nVYiH7o0jp/SsBj6DzXbQJ4Px/dwCIHZ31V5BxZC9UtCkmOK3IaG37htPXHp6mb2NXu8NvsunTTJf9XiWMmvvpzjW3PDFo11CfVrK/UE/B2noUrMQXHB954mMTRR8QkYBnl3UVFYfaEbTXiK51f1DzrZYjivLLa/MtLu+nqZtLXAdboD4Rq2aH81SGLtejg7ufihN2o1oU0GhzGdh1wyTyttge+YZO+Wp9EaRCak3U33TPMKa3ZY1hsLa9EBPbZmi8krYdnaXbHCfYrxuILJgo1lxbILXaCVc0KbOXX4Uo5a0Dw2OJG80i4JKXXq/x21c/hzoQK4vgc6xMU6emcbTgoSEcOqJqmD8NIQXIbNF5EEVPcXIJVzqIUK3CUxsw+u+4xlvoDpp7gVn+tIOAdHn35tizal8a2+pgZH0PbHxCX1MdH/G6vQ1HlJT5nf8hoRCTe8nNI2x1LBOKssTnHSaXnCDO73VFEV1u4VpZe7s87DQQ6RCDnmyBHVUpTlvJMFusXfxJBufKjeIBVVgLqu5X/hSfYdUIkO2sssKIL17rrwYGv/IOIf4eccDP51k3h1FCqX1cglPT6m1pNcpFUJqYd0bV3pN+Wc32SCKMK2ychfmAAalIGvVuIhAd6n5yM0HPenFESImTUJE7w245KEcqe+MqgGCbqkZUPcJW2jz98ePvJazc8dDHNTYcTBHCJPyAoE4+rJZCNmQ4pphON+GbwDct5WwRmh0mvAX5nGjonnHzQYqewCc2Z5NECE+uUr89FsTDonhwo6WZfLH4t+39fXOwY0JO2bV3r93nlUJ5mKXfWL7TDy2hib/Rfv/rcl9GnSx+vn6tLeqW8+MpYRtsz9u40bhgwAdqBYprNShWpjLs38lAwpnQKJoeOq3+YS3e/De6A6Pl4fjz8CXFziyN8mqtxyUF4h7OfLtR2rirEBAaq6IKUj8gy0QmzvUbSv40lPrISA5mbNKJghPhh8sIop+AJ48MCn402gtyPH9r3M74HynfaEcJmwuCazUAAXZbeI/ZKGLrYfuVGusIRy/aL8Mx8udrXxiqompUcno8J7RUv7FNezTcN7mDsZnE3k7T9Ol3Uvjfk3YISnp2aZsxPCYH8E/gp2K8sflJowNqMXeSResyiLmctMzd8Jry+NscIYvUnDH/ThNawPp3zo1VAj4Rsahud4ykBcjuNI+hdfWnW7jCQhTQ3IPlmd2BkGYDc0lOLyqi/pYOqBPVhD1b8tBHUYmi5VC8wf0ZHzZmte+XAdR37twUJOTwhDzMA1fQYi2iKCjfyzQLCkz67d+zoxTux5d9s6XQ5ITkXQHWqq0zUEGeQw2rkCOUn7GlY5X7z6C7Jzz+Wxu+vd9DYwTOjhZh4g6r1tCLQDOrLklYfvIpXPfwg8laLGl/IidAn8+L6K+z708fMEjPXbc1GdPDsiMFAx0TLvxWQdNEHFPVOaMkXu9f/rEPgo7YTOiPCq6JENnWqVQiyFvexdao4fA7MAXj0pEGJwChcOnd4b+v4abL89vO/+MJK00MV/3Fq5SIMpsyOijUPUB8UNPwyfINXUx3OESgI2xcdo/cQ+mWfQyREHAO1OVD6D74qtIJI15YCtrp//W2lF2sA8HFcDBuzTT2fNYfnzcF7hCaa9Q2NPfMEmcP41TwJ4pFnDbBHTp+fnBFq1uRhE34PPnh405nWmfZe1jP+aW7JE2FoXCgBicMI4zZQRMSW2Nrn9Dp87Xxg0hqu20NXh7KSoHO6c8vZVEdhlaQjbdZy0gd5nTa5xXO68JN9qRBCiO8OOrZtTrv9HkkQaIFw/daK+ksktL+dKxsszk1ZOIrPUBDoJZez00GLvuASGciY6noRq6a/aVXSKfP2szCy+5M3PwbSaj2eabjp6pYes3CSP3HeYvrxtb9IgCp//NIy2BbGtmHlS4JkOrp5KKkssDOdZUuBaiYDzcVCubUFD1l+5BUZDyZwq0L4sLw/zrhhzpO4ehzMOAwbH8OPuu42dSKmSxqWNs955j3ENkEmrD0gC+HgJykgnxzei297LZZyA/0vgnfJpvJDvfkJE2Lc17VBm6V+0b2yiEoZCa93sT/2AaFa01fMSBBnKO3FiUtweRcng1jCp2GNsND4zqFXRdMIVEFn2JOpACfUAg9gGown2y8t1sYLrr9QZE4QhrkXw/jW1S/S0rvpBTSsUrLgnoePpx+37CEiPDWiUZjo/anJlivUtB4RVajuFSWLWxiAw3q3spsin3y16CCo0gCkdEcF3Yh+GfmDKMwcLrQP2Ts36Qr7kxPFlqOs6cFBFt4o+iWbcn9MVQ7LArLfnzPONWGO5jCp3J2r/7YExr/0S3xQGteGL5JL2q8amgXxO4rsSK9VLqE+HrJMIf8Oz7ttKYG2dv/lCkQDVMD0w3YMP7jEixgtwXWULDAjPybC4v9/l+imoCl8CNZoAKJjJccYg9yhPyr1Nck/hK4SjqVwJ+ms5a7LPihiIxYGMrpN/SKo47sw/JD2nwKBWqp+ffs89RWPWYoT2NdRCXO8/RHmjgRZgedRpZ4+yuRk/r5RRRXMdkBy5Itwwl9uCRGC8+dDEF1hdDnhZXXrEioTKtox2v/EfV0wDiWr1HYdWHZNhlIUqmJFpr9ZM+vKpEBVc5DnPjSIV4qtFkXdw28LwmTOvE+zwXVC7WrEtel1NiNivtr0HBSq8OP4b3Keudi3rOCl0Dw/D3/ix6INZnud6Q6wsacgRcg1eLhqdoXOZrLDvye68RCY9Dyth7AUG5nhuusm9KZ50DaSUb+F4/LGLEMfRxjpxII+BO4UfqAnmscSDnSWqca1toRoEMVEWLQQ005ktNcMrE2r+IoFaAcrcXOwq4S9psoyEgT3KpDmeEz9Mbibzij3fzwyuG+iQ3AyXj8Ofvkl+a4HdgGoGIi1ktCCwBpTNd02T8wGij/LnV6v0+2Diu5RkQlMEg3uexUvhr1Fyrshzn4X6FJlVS7ImGhU3eY6fxKm5PQHMuP7XbgsS1SKSH+cxf/vTawtrmIXBtfYIBlvL3W14ZnslpZVc44f6zd6zrR42IuK21orhBJJdwahOZRia9uZdTYvaoI7gZrRpSSph+Qpk2IuTYEwYYzinPa6qo0qzvZBNilI/w0SAJO76Q/rGfiirR00xpbFfILFB3Pw6nn3amCRa9roMsXolmAQ0yvog5b2ZLEXFtYSdBBE8I44I1YlzYzV7FZ6s2cBfc59YQxY9jr6o77hzLJSBe9JMXSKOmDIYK9iC5qXeiAW1BV3BNA5XEi5Vi1EEwbCxpgj+ZpI1dTpo+W/Q+IMMyG61zPXO3zMzvpRshcIFaLJkkTH1usw0UqghrPz0s10bErC4li/l1goUDH20FGJlUJWqt2c6myKPxgz6gpO4ujZRm1eHkTavYiE9K9geCX+VJCUu0SR2O5zOhQx5v46N/xq5mA99OclA/yxe6Pjl/eTTHv7VDZPZrYhODatVr/yxONJ80GrKv2NyjVP6l7TrkNv6PfsTWKAJohJ0E3nAebiEiCKLCnviyvKlaH44zCl3OGJOyxV3B+InJ1cy/AJejrp8T6XcEWE35pku0yIs/jGj5Gr2Tc4ki+y/+o2j4khkQpGXzkpajvv1XpoM3NWr7VFQ1MZD2c672bdDzWxQaQKfJn4qG1fI2/2ba6zAir2/9vdQ/RGkCv3HviJVjE+zAJWWQ1RI96oQESsIU9OEPKW4VWcoCr/G7QXZH2fVuidILywD2d6JQUWpyG2HjeYnKhxR4dx3bFFpIFV7l9uV2izwGclR+Q3R01bAOraj0weInCqVG1joQOs3V7rY2Eo5K9IVeyy4TpXAU5udndeu981mJ+mD/OEiISI6u3EZD4uDlJyPztvqdnjFxAJ2iBaxdKA42/bLeBDMAMGft2COHPvllrHcBTECfKyBU3RLxNbjALTnPw921j1EWoYaXMeU9zNJQezGFT8suyV9Mt4AgZAL3gbNJOAL/nXW1OSoZA1YJ5KgGAwrk2+yKIn0jxpxzAUuDejcH3xsHBbBlIj2kUbwUOFVc4O5IBDKVEbEAy9wptJ+UPd3VuJqoVvW64xGApJuqCdlZyNHdD1ohangGhETnRDY+pgtFe4KI+d8O0zvBdjN5LcSAAkfX93rUF+75aeJSEwDSzECSuOFkDfUlqxyq+CWw0swQys6nRjYkXfaFXLRPuH7vBNw9b/P1xRvvXLFeQ/235x+wC6/tT7AfRNzKKEKc+R3nUAxTe50niv9f3mInrUFicI9DrBkM73yzztWi1Tqx15Z2U3R/jz2qi2unelbp8TKiEuJN4PQCB/6yEgbAvuuOlQ4tmonJdomsi9a/nGDm+DKk2CMGWwPUl8ZQL51Z6jexgSSdF5FyKNmcVZ2tMlktUjf+IVK65cjPiiuO8HgtdxHosANtU8E3ZtWq1sUlCEvT1ZN+WUaqikbbAklIRbHdVOK2KCqOYPvCrY84AaBnksteWoqi8IKfyunRDzVZemB1SlSiq90bMifAhOSLr9H3ihFWuGNFrlv0QtCpYYA+zpqpqGonokXRuv1OBXJ2kNV258XKY5T4cjtYQ17PYYC3+Fos8Me4h0q3ortxrU1t0memtIsJEdUl7yAYEFuz8r0Uu2RYI3xWTgyPL59iP/KUa3GkuH0x2QfikUu0Wa8gPNvZV6U5YFkhJJooDnC/3AbM7N5zMHNMkgDv/624sxGdOAkjWAVNo3n0hceLwSigd6kZWfFSIHBe1EK9dI4iaPPu22pR0FmMo+u763ieurHFUiyMd7MeaQNBd8yynb1TyoD9IWSveMC+IWssKBaryVFcE/M49GFPMEbeqW96Ia3UQD3dMZpSmgruYM0ZKR9LfVMWiRRSHCP4pQKQt/pWxFEHwV25j+ageZsDdOCaTgPhdwVg/qcwbLAkl6+4SHT8j+AnzhszGB8hi1nViu77gtBH8VWWfNmN5OLv0goev/PM4xXhI7JmEEJJGxH2srQF9Y9BRxyHU2BlJBjkA7C+B+B32yoxIxqjPlODDmn1PnOJjcwfi5BjKn4X/8oHeSGWQXr8llxuhsEUYFAUGcEi/hHVvrujPzkumqUy0S4f3zIKugqG2zeQlrocbDrxb0Y7ujFsm8+WdsYxifa3HEa/+GpVM9prRBh1WrLDELoHxvjSBItCtp0UgGpNLp1qG5oVdYRJ+NkpbQ3Lz5xHOqds9vbaqH6rffsKvaBzYvDyfFw408qG7iNMSWc8GtV0jLKmmIFn8gkl2feWNhr/Yb47f8Zm8GWD6IaGvNyHgdSH4OlP3bm5bQz2z4ymeByxO96n3lxi0KvwEJQv/FH1EvIu5EUlQcVsADHv0Erhil/EtIb63DAz9IteMynLdgHZl2UaG0tlUtOhrqonG0M85fynibykCAM19Zb+LiVDnnyyfJ0KkXkgwMambUidUCEkaf8TuJPwGwLR8LwtCX/8qm5U3a0/d1w/lngfgKabD9vmBe5lZKS9wsKtQBZiTy7dzDHS3yafZqXf3rw6vaqJf+1K2bhg6WRhNVUzeHB2Ob3ZeOTNqE8ESP96whCZJia8904dw0laisFpNl3k2HFp3qrkic+pEYVzl18dXjDvi6NNtkFF2bntJEP8Q9FbSsbBCFSaUU+hZ+A47lXHCP4mOy3afpiGHwT/n+MvVUip7bxVCJgOl3NyHdJ17DX540/F61e80iNfnYTVQc5SSc+ZFcM6SO9tq4X8LAWs3C1235LqZis8uv12hMFu1on+Y2E1CnM556ErcFTiMWKAV03SraqNGRuDcN+bNBf3lsVcIZNY7lQnk9hGHM2nF69nYA7uvqGhTywBKeK2ezCDV22HqG7zvF0ed8k+4f3zS1FK8cR36b8OMFEi/UMwaCGbpATbPQoUcHv8CV3FVUrXAVWmCqof2GA67+S3TBN8nOXH8IHy8XWl3hKKVFG5NAtATlVG/C8pClm3LoSFcSl3du0vzCbI+0ImQLg8X88Dye8p9zuTaY0IhcW/QBmy2gfsdxc2ogu3nsUMY8AzpwFKdfU1JGXJ3A4nr2DHJp89PFj3ZAr0Cm5YW33ry1HilQGLxuXuHh8xOPg5QRx4JMX/jc9YfU3FfD/sPb7FTXAJi3VJyIgdaYP9i5CRSxJl/zTmOsGqAA5yysgewhzvMIzDrG8Xwh1aIgrA/A1h10m/TdUvecYU1JddtslxeRrTjSgD4dAZnnc9psrTrOKR9J5V40xLUVWIGMWhcbc646Q8i64TkIWG1TZ3RFXBzlHcGfMUqKzWvmwOWjeNZbxfYgZV6iHhp5Bi2ytCwW1IcpzjPYSmd11WEkCV3xwePAIEi6WZ3APUmbaNEArJZtO+795LPQAudyHAgjOr5Sww1wn15MkGtgPNvb1Wmh9BhCcjKlAuu0OlEEaw4lMLZRapgYm3/hhK8qzVX6fT9/0jLAqYroROG/yjL3W1iXPuwC66z0xQnSoWxb6MfXY2vuhcS3ZjonfVVRfoam7MRsE7Zo9ReWSGIx6S1/YW+WFwFUzEcIvrXDWTskE7qzGGcJa3WeNRjvH75p2Y3HMvaJsacjt+L3qSPRM4/45+Utk9Zgf8YfsUq3SETuSxlc6NZmpXOPqr2p24dMNXUkkpUHcOjXfM7fJYgxGW84XbbTVaSQLDLz4D08cQ7mPnv392hmJktJocdMePV4ERLtZ+bw7nXdX/deDxMQVg+t1KRodjuWyW0qA71eecmaYw5GvFpUM63f6hOcXtpFAZ7zWLx8CpE+9k2/cUlBD2wAenNjaBrdVEy4w3ldtpFpVYovagE+m6pkp7GayNLwZXtUohHb/zpA5JHnefG2XHZsMELLKiQpE3xdVHwz41gdlOINVmTAIJP1zp0dMcenwku4cAF1UT6VXt49Ltbqex/kTptTGGeInJTybFWPFr5XodCncifrD8jeuH3rDgD8uO80VOd6M+cE0pH+bWv9lm8SqBGvrwogavbkIcxcN1Ze+LzkWTl39PmMAh9eJAtztHrCOzWDEr6B/UaHzm7vSPz9rmOpHwUqns47gHMaU/YSTX1T3uIGuKuPXUZ0+8Dx2Jtq1WtiDLJZcLwpPeIoyukRCdeZAMnZj49yO7OCs/oao772w8uVZ5leDuoHyGKvtSca3YcMoONBF7zLGGuiMNL2hjpoqZ3Ap5EDi48osfWekRdaeCTUsIvLjYG5+KASTaZAcQv3/Cp5TGIgGilc+A9slu8AOlD7Lgf7ksHuxIqsTog/iKxZCDhvILe9Lp7AwXF8f1By873G8CeubzwOMu1kv8U0BJSESFFDgm6z7gh1EN/1S2y6GejDDX0OKpIUxW9BV4yPwK75VkqKaIVYfe1zAqnbXgNtm7LahUOxHPkzNvROYRLx43PjM9XwtVAO8jgnPvajRktmcB4u1KDY360p5ANlkHHc3lVFotNEZ2xuKq0vCVUm8QDYbZlAl8p1XTQiMom/Zjio2PLIA+ZbV0SfY0fc3JB3RRIJ4FgL7rJAq7Ekk9nwxRwO142X77bT0E0usH5aGUN3hq5hmCxGd1ZEQ/R00LUm1q9cLYoIcHho6hOV15CBq9qXb02eJcBLK4XZxtOPd6//0o/a1+wHoWhWb1DG3xE7VjENDXsk3hasXbbUeAu0QHeyLl0cC20xiO67RvoqHuM6Gi52eLYzP12LAJCu2sr53QgT10fFr48KUHyQia9uQt2dUQYBcRCI9dtjTkGU2UBe25efDzWgag4QESiWnTeyt/ZLMg0eBrNajfDn9xgfBhZdAHWflP/pkTA3bDQxSunGFYPCwgOpT2g+ANZUWrTDD/GA9HvdwaZFBMU2wMCaEHT8tNe6W8BsJ2YZJQ1yGmp0bj3rNY114ucShhXyxj5g0m6gyT0GY8/JTBB43yAx3ywbSIwpD6qKSVWsCIWu8vUXC2lPJvhLgp8hTP9rAWrIDhNeYbaSV4xdG8sNGHe5Wh67jWsCnfnhcWQ7YM72zfVRhwyS0e/55zk39VfKmjR+geO/nSGL9OSg+xc6AaEtaF2pC0RVCr9+6PcKucQ5Gyh2f7JRVLzUJE8wRw0nYmfVMtQvbfyfXUacaxNjf6Y4lPchSIXkUR4MzABoP37E/aWIDSKnOX+lH7B01Wx5NXfCkazaFkPj8DO6UP4nQkGUMhKVDZYUPXDAkInNS/MhG/1G0r5hSIB2vXQQC2M22VqcBoCwLrPdLTC0EXarXhaog9rhcypF/gw99IPmntZj9ATHnjxokSx0zmiV6pR4IAs53BlxX/6F0m6g1aMNO690GzKgpveTiv9gcsavlXcpz1ra/JCZENqWtvBR53sh0hQragxfaPomScUJD2wHeyYlTY122fj1RSSpXnGVYkzui+Svfl8dtz3NQNTo7uPwom9cITAaBB//KgMZsHqdrSDCwaFUySyNi3AYBM7ZVqspL0wjgkxTOMfmnOwDFDB7moVbgdjd/cpurJWSAsh4/8MK3u0AexGLjq2hwQeIulTI88hi8o/m7EEK7vwJobriWvWeuP5ybFQAQPkKHiP9cWK8oNJmKJ0z+RZocJfPYlsCIGJf+nF5uCai2ytNOk1L24xn9I4xdgCZJKGC5yBVS+vI3iJcGngXbi9rvCSrGyPZIr8ntR1vMhiCVTcLYt/EqaVrcbsQMS/BoeH37w3lF5nwOu6JO40/5IGCzULxQ4+6raNvhpEepmGrFog/6JVQ1n0567BWdCRUiQ/WqGNCBL0Yh742xHCiUkdpAGS3AK4BLfoK+Zwtu71ldAFuzv0VEZNRLJm1lwvf2FU/xwwF4mpmICnHtf+/mTiT4ZMriq6BvPMcJxxeLRxF2Bb5hr5ta+wsmNZh+LPnSDmg6oC1iPyoI8PArMtotO6KA4xtbZgpZ4AsS2LaNEwBUuCWNewDhEuxc9prb2jVuOreGVtMi1bcayOOMrFLV/EIpe4a75BD0+nKfME/FKsE4vdOei01Q/ou+WWCz6RUzFOf9IykEDBR13sr5gujfYqeLpd9T/Z6WCoR9316Pdbe9mDOyw08pJu9lD90fa7W9pMkJgzlu+zR5VFdwjerWzI/Y4Z1CaGn2hHxfz5XAywze6Uq3C7VSMO3YTq1FdXI9NwVzBaz+zqzso4deMx9omLEFY6hInb1X3qoqiDAJx3YRGvAcX9JjKbPNL5cO9H3HIQue7vCyaWs10y0iVU9I7aqJQWxScjhDcaQks6swopw+Y5DX5N/hkkm5rntG+2iRn8NlfFZSsSJ3uIIrDiepia1dbghUJW7yJsCStTR1FieNKdh0yMZR2xmO3/hqc/kuafApZdIHRUl3e3Via9awr8ne8Tp9ETlvFlW7uudwou9syvtHM7bzggalnN9cxCCLAEcBir4lJoBj+4jY2nmyF8jJYZ7N0sb+cJ9C1mI76dLQRTjkKUXWdBJNUxmfJSFTRyqgSb9n15Db6xe1eqv9/+noRqdQaFqXnpraS5nLxhqpeosbhDBXYy4NBLRaq011CseaXunJl1gDDdtcLwgUTxaS9ZW7aN83vI3OQ+m6W38m1/NxjWpZxTzQofTZo/DyZFC7SqHGSwBlP74QvMtGEZKfKrcyuAyz4slvYUUPfUgVYd90Ciz+Oi0ao6Tczm3VfC1wobRYVtvYHdwv6Lc2lbohuxgnx0uVYcERlDN8tTinuGdPrWqDIGBQVoH/Fj0YNLwNuozqO+orTB5lrtuhXDRxPHMo5GqaWZS6v0Fyk5TQLD2ihhQMcbKy/PN0+po65IqarikK/3MFwoBZbk/q5y0mRgiuid2nQMtBw0SLVzAelzwCPb/g6JPatlIPChalJYDFeYQO/pwEu66zZno/pcsy8srvExS0BhNUQWD0a+N0kd7Zyl2c4i69SX4WaH6uAnFVVuLkIEScoBegEk5DqXwq3VBw9RtZRTIvJqGfejWBCmvuFAWSx6rkblJCV6DWjPc/LL2l0nBcrt7QwnjxmUCGDaUFzfutPwdzzGwk3IUUMPdqLRE+KZMU4neFW15pDpoBtigfvQw4d3PcsB0AElW8lihYrm6SFa4J8XR84q6f5Vux6yKvyVPuaHXxXorUI5iYMfh64K6nx8kaarMaXmJhhKv9eX+/Ge8eTrHzX/riI5cJ0+EFFPSXHQcD9kah5Awr0WARpW/6slnAVS6QpBtu4jElQiRHkFfvUrUaEFGpZ16xDwmFoqSFxtKKHWRYFAnBIiIT03BJKIHtOYPRTQTwrNTj6FYiHGVgzKDNl7vLR3NwuF8u/UDE9ERkd/BSXj0Vs5vFD9GR8geGyZH5GgzbfBpf3qrZ5sqvPxioP88H6m86I5FCj1BgVltENwABKjyVD2F/pyTFrNtoBcdnYJlcC7FqZ7MmQj5OJmN66qbVkJ2iLupx2hsHoVs303rbE0cEkb1BZvH3zs3xIJOdJ/hJc/p7LsCnSi/mMrhpJvjN5qLvhbjjwWJ2583XsGyHr+4zL+9rDayXREjo1n1r5qy1Y3ISDNgo4Pk6e4HAqhc3dDSFX5gQAAy+kb79z7UFES7PoPvC7B2YD4gApj303qUAzRCLtxkvHJWXORuW+XXccO3Fm3jYTMitYcJJ/6t9/86a/5Rpbwv17eCREyPqW/90SFtgfGzmHaV+CFcTXZ1dOuBGuYyPbrHP/PXoHx8z+AJFpwMTUSe+ELmZFXKtkwbwTrnkacHnylOXxfXkxm7BYzkjg6VTlnP326n2W+HL/+jrg4572BdLKXZML2iEAiUXK4x8NdDaTqLtNUS8F5TrKLEgXrIn+VJ7OXuD1awjmfiMSRN43zjAKo3yDoaLg10SWLduds1dczb9M/kW//8pN5htFXVAMouPA+1bbxUatW/CerEBhZEbYdgCgqFDcxAbT1zwXY4WfDYcnpCrFzdRm7Wmzh7UR+4yQmEyNGGadKkKnulvL7PV/RPesXL2RSiTYpPm9igRRxHBc4uFeSqQlrMuqAIfdZkb7eYgyh12iprl6PnCVh4YPvUJ0HFQ5wrQgkPWK+74fFM/ChqS9h7JWYN2Qud66++IrDOObDoghYNKe0n2nyNXJVhXEIOOOOUvmKtrXYM2pRYEgUixvZWFmie4E0uyy2cjfV19h0Pm0lDij9lZOKeuDTuiesPmr0esOWsEG4mXZXLNT61WNAqcbARe9KFPgfikliOCeFMa6Au2XJjiqgTNdnQz4g4iqUi+f5Gavfv4kMf+BYf+12HmWGKmQcztrYDxMxyWlDbhImOwg2fGkoaIT293HyKS1n02JiYer+bXiPQmLvLzqY+lpSgZLvQYuOY/Yq+KQTrpAqd6Fh92j7CNbNTW9cXlat1B9kFgmATb2lDwMZTnRkOCU/HGXM3ztyGLWQEWYMkhaEOXTSeozdKbD+nrOnzNX0JWXhz+3vANvoh0pkfIANY2hVZNkSpCsT5a4gTtX9Vo8cU/xGfo3YPWMDCpnbz206yslkD+ECr1hByUpV+YaCO1ID6q5JZV9KyL/6/wtncSACgBu6/MghvQvwkmSIaKMYLoI3Lm5wO7r0HTc3T7vzneEwK1aYhU5EYok2qWxS5dUtfmv2U/Fw/73vTLKbvBSfkjERW9RI67wLGboO+vC1RAb3sB1bp6kur4J4k91hmWtYot2bPMnMvXwT6YxHNobKiK8Wd9dbrEuNcls9xoxizTh+CUShybLsCHkKPLy8uh0NnnhZ+0xKWV7YZdhs9NB6G+CwWQHhts4+r+siJQW2F2ghAAq1peSQQ4eV2VqOoaEXPtxMwwDnundNxJYYsJnT45cc8krS+ukS35L57i7aKmhEetIIcYaJIEwlojEkgFHoZLvBkYIOFkHS5lyncSXb3hb2urMulSm2wRWoJ1lGVaZ6REXrNpO9kDAtmWkYc598yQnGrqLe6yymR7tQY/yv0jt56Cub9CFLhVeZCVhEMk8UB0eauqw8Rh39UKsUyk3glWP3jCjKUrCjwShVcDU/L1Tk+50paY231xki7Q8engkHcLZp9sa6clhEyzJ0b1va7ssm9kOxq4a7uu+ch5igAJWl068qkNUGeRxQE7F30ZPgiMPD9nPvE1s9QsfB43qo8yg8JRNNqbL5tKnboxmqEorH3neMa5gSMCq5hy/41o2dZZJzX6Dud4lQAIm7J1OFDNqgFKrzEjJz6mih1TLp9S0FFCl4le1PqitUUCTh2KwrNK0BKB0xvvBfr9L0GUbFu/MJmUvSjFAREBZXqMmR17vZGSB33gx6mKc0SGEIenyRdyEeDXz4aoVi1pX/a/xRiWZCikeozQHzOH2qinyxCEQ1MaJbLsMSAZgdcgzEqgxsTmFVF0/IlZUevuG4TzQMTxQPis8TftSrN59L9ttbrx5D/4qbqvkOeHpRkJTQwnSG1OmKGj5zM2M/ZC+D/BFdgYf/cg4pCZKLfrUQE4pOQRgZEWNnubgYulF/hxD34zEZu+hyAG4goPGJ/EfyqpMirZc2uiEH0/o//d08uwxQ32S8Un8HMjL389eBYkVFpfM726bJifQ6xhaXKQ3VWnYui3rmhKnRbvhHu27ZgLUfRj3zGrdwRy+p3KbkDmNgaeeY5h0QfUudKOROeHkWKDFrKpFgJpJIbRlPHZzWQt1dJbbSTfTPGWUuK1ExiHt+rN77rRacXFxdnKwTqMPekFT8jMm7UzJLRq6EzJ2k8NpcA9yC6gZHpilsr7NgOl7CnTKt+wAWZNEAWKvY9LknnRSA6EnA9rNn0jvvnwUoPWktIc2kfqzmDi8wPS6n6fPUtRyaU5TljhNNg1mb3lXiCzdLCJ4CWJf1Q7A+iqJSkFI9zt2NzICmEzLGd8Vn7jd1g5abV0xzsYOOVPwUUdc+cMmft4RU68NIEhMtU7AHL854cieqRBI7qMdc/I4Abbc4XHzpwuNacFA98q5Mm/iXridMnOzoaYl4rNDXdL307rFYD/ApsB87F5LH2Out4R5P1VI9dzTt4iFYh5E3Xo5nE/m0wVwyhWoFCUYhY0+uw4trlke2+UyrVpm76+J41FhkBnXWKW1qxXiOlzm8emRrfLNL3ocmxJuKtBedkYu24o0ue46f8BeaTR08Wbc3OYOajXhKwDf7wgzOq6tbzjitoXZEBul0796xVR7j+vik8KZQoyNhR6LjxQebDN6iYhIXUmTOsSHJpAPAknQNuTnMEe1yd7SS0ixf30CtWHanz1sAikZ/8tBrS7o1Lxpy0Rl/njFiRCW73qCJx9OpGsLWbId5WO3Z9U6JokhW4/UwzgdP5mEm4oyJ+9QkN3NohxfXoprSINIpmd06JGDbYMuDBxcyHfp7WmUJ90IubH6GiQgv9CA+o4e8xXjR/IfhOIETyw2yBLqugw06Tkgy4HizL9BLiiU4exHJpqBZcKM8OPaqDR14J0zvF1/HC2pLs6qol4znQ+zCbTO6SgiTFy5rtWmyLDg4YQq/5gk4K31iV/99zQeWVg8SioQhTcLhhqFnweCsHMfA1VwzjwG4kn+gL71bbline3hrtMqm4lEEd5gyjUvUoZHBFYMmaxPANbl59EUNYQk0xgk80VJmg8FoxnbRX4LubwW4sbK6JpXnj+RfUdVwHYOS190WA1DSGJasN3dzCBX0IBzXfl+6an3diGVIGsofA7IsQ2Oh22ofKkuO6wNwnjgrB62ya6qUbcevsCyZ5TuMqExE8E4g8U//4hUqeSlik0ezlVm7SUlcz/ZJscZFQ1kPIvAlLg12ERf0mW5oc06BwbT6JlVpIMpvTaX/QL1i6dVF4FKbsxs6nF7iYkH80KclraYYVhdJtn1vX1ac7RDiRE8F7jii/rmDwRdUE4Z/7MA2F9ATzrKjiHJvxp83U9YqyArL1eYrZlNmUj49IhoF/Couk5am0q2kFRMV6/et/JNYg4IOjLPuJXUSr9gjFXwGO01z6ryEYdy4jf3cNHOVZyplR+/mMDf51YtiXMfCdkp4AeuwAKZwsifIFIe25t6LOqW8dCmTjr0r7AfKYFb05ABTx55yM74WO3KKRBgZ02PC+8WddfW/qygxyDBrMRYHdONdO1MUaFAtxRkHCJDhUf15nHtTRNl91gqhY28qAvlR9o++bJGwTvUATuei9+G09WLvfVst3m1xZXKAM4Sc5KOvkEH0gGcOh++0gh30AZ+dNRfKPU1tTN1i7zjuBimjq7lCyqzvrXCnM43sPHHNJr9o7yvHiQl7vne/BzFRDfzJLiY+IIzsJDgP1ajoErTaXHlSgrdXDj04TmeBYE/83lN90LI/4wHKVmxqgl0jzUEOm2lgEQUDEIDmBL9SY2c7+tBd/kv58SMV2YJ43+oSA31DcydtpToBhTnjOn14O+NlPXdN2UdNkjY6SqVm7mviiFbPYeFhstA+SDsBp6NqvOjf4oDy/FDAVB10CJIYSCcwkpaisv7/5MQJCzGwuHdaSeybZhguaSaBN7e/kQ6G9hk4j9QhXzUXZi/8W1D4s7VgbKAbDQonsUuKVw8ZeHDCfLYoeyTbhdaxws+Aa5k7pElVrk8+Pz1oTs03DZyTikhjd5nQdPsY3jlupTaClQGZuZ8U27v74gZL4n+u1haIZbOzcL7qQVNMNAJFo0JzKYC6Cia/fMYli6XrJEvu0bLw88N3v72dQaxOQP6A3aS3Od0QrcRBqzgOsj3TUlM+RbkQiU03orWu2yZB/LGS5dAXXiiN7zKgcyMfCdxC7bpWCtIYd1qDAcmlqKChUb2/PispralCbE3VVyLaQ2qBRBjJe6Vr0aXO7pnrdi3v30i1XuSTXS5HAk1QgRAxWUxQcjnB3g1Uj4fsqpj+83NmG9bj8eKf5trROkC3WVoAMyb0xX0TydFgEjzib6U5Fp/9jrFMn2kiIOku9NwE4u5MWrEZcBosz59uryQx44L3wIJ/b9Ro6Q2CS3Z1BCRRsYVPeoDtDO2CHpkD5Aty8FtIqv9TVY866Yg/+7ptq80uIOWJRO9iyTNJLAaizXZMpCtfwRJYcWJRvaX2mg+H7XONNAxOLP2LaRajGgCEB4Wg+Qspmv/+Pyk8GoJFrqj3Hp4Sh1GuEa30UIFcjF4xa6gZSb9sVDU2tdLCLxIW2d1gWiiE/OB2euqXcQ3xd3FzuKkXhvORl9EAWfEM3vov7gtyUU0PF4oW6dqauyvcXwiMWLlMESFiHtFVu3tZPozEgPETo7Wql29334ruSkRoHZxpsdmBm2+BQG5KEwzmot20Mxrr2ybk+xtRfdVvrlMkjAydBhIai+WV7RoivQ6w9qFiSu6BCfjU5zWehQR9M9D6jAEzWwO6dD8Xkr31u297ftiIEMUj9oKQJrJhBYpihwNa7+el5O0f2qN0vSCKzDd6IJckjCxhEI0hWtOT1Qo3Urkj/jPVJ95K5OxOsi19xeP+vMj/A8d7BAGSc+JRRzs5MmdaXsOsggyqYYZqzq+d76lJvt2wqTiSlAT5sOc4a8UtEL+sGSNaSXgvRDY23QEzOom+9ka9L0dfNsviCIU6xOGznuJJKnPbpLRKXZvn+RMpHItG33dFucx4JI6KQo9kry+3AuxDnVyX/BO3dD3MOBAj1TybJa+09iUngxm11Le10MBpfvjR+U1/HdDStpo+oJfP0JUFvVbMMeNzTXxLY3pAOXQYaN6Xwyu24cFUQecHJHVGBBn9ZwrRZOTJrV39KrnjWXMz43aRF/cah/qKgDudm861cB4Hly4vG5yvWhojkRcioQ6vuJ/JFLxWQ1JFUFgVOun+0TidQwUA91fIiar2MI4rRyeuCkeNOFcglG3KRYkiIoJ8SBGC136EoQ7O3u21haBMJffVS6kAmfi8FA+WG+2RixsCLztwpXCOiDg5HHFFeLw6JDl26EIOhm+tlHn4bTG8b/1BBEdtHC/l+b5l8ROhtY/Th3+tg/n1iT+nqlhcz8pToxMXpbYfdXj6piTWg7ti2rdp1HVhQPKTRKmQ928iI0x8q+RMKPLqIcsfH5CKKPa5bLB444agezblv8nrb53cPFKe8txjmDUIGuNpPfFssmuj7L7mh5hYAChCd+kMQZBrQVEfDAb/w7iabI1ct5kloJwkde+KjCc5726IuOTVkIr9KV+EcKm/RtLp/OUaPX0v5DeUzUcsfdhdIvmT9CefpniuVKZ7qS1R3grj0zNi+guNTdTjCSV3ZAaFNgv6r0bgqPceZkCX7bI92zHNcVJz21sDg4lFPpZ0hbt1nax0Kv+68afwRvTCkQGTNiZqOi5HQ+4GA+CWSIQX0lKr4jiQZgycA3ZJSH3m21UzPDs7oSZnxGnLRtfnDx1e3dtLJJLP5B21qIPYEuK8NqxpPi5qjm1fcoRcV8cV/lJU0GRtVcJRgy+ctGFnCI87sLhdo7KNMVw8SniuuwerM4Zccmyiz0o1bcceViWIr4HzDOoY8sFI+D0Slj/fgCNX4MkBZxe5ZV61+pkcTIv9TlzhkD3fi7PzpZQJHnE27IH1hujr1LhbFf1Tc9p8deVI+2jm13fgHwR1+KT3Psmo4lhTtwNtD9N0KbKRifqqus33So8RyBwIa6A2Zwq7zdscKJLYQwUxHhz1khgrnK3pZtoJ7HSnuL4dwzVgGYaFrL9xbM5Du/mj7WbCU01J5ETsjXCY1rXB1yp2ih8jhY61zFc1GbL4cGdg+6ihnvkX8BJFTiVAygYIxsXLXJ7XhPmxw3YJPBYcjnA3ScuUXsL0J8sg+eeco5p3pA08Miip79i1JI9DlQ2mq+1AYHoF8HkHxmHRW3fdICbxY1EA1fZU/JZhkbx/P444UdRh/QY3Y/wIL4EV0yKeB+E39MR6HzwcEQ8bpkHZ0k5i3LHrCI02/Ovm+bS1okVgcf6ZGPvNRmAlMpKdjZBwGWZKAdUlm+0jckbYcbM6WIkTLREK/DTV1+/0Rwnb/VGZYW6vv2NOeg0gR+qp2r/mZ3nfA9MD/02ZCdVUQM2kipHrwkGSKiJWkMx/zHeuMkOOJpOg/uSth7EYP/srr593SHPMtOvJ0py5Vm7TYqTsBT2vYN/mg1ZqU2p4YsVByy1s4kISEtggVqDjALmjLZlh41g+f+/boY+wGNvI/wM6vIXuWRW8m95yAwYkqXxu6Lck9yr1O11AlqBh4hx9LSR+O789ADtsXXLYLUezAicJheu7e/WiJNo8HKs15adNcGvu7uiUzyA6z+o0e8VULmik4lf+KRXApMRIPo+yVNae1KJ/IYkkWHdbSyqf5qC7wdCfuXkVsJTDszjFcp/ZL4VsgAviSE+WdTxGGNT7fceKmOQjpAR7RwuZP7amSeqnmxwxMzTufLXDn7/tXH5CqMs6tQA6pUMLaU7HZVW1q+4rCYrnj8zfNdhGDeSzhMtuu0T4eqZGiwvmms994e+W//UpdLrvnzODa7Iaw4Q28QmHTiwl357N/MFyf+BLAz8BIAtSWLoleBzlWZPUiq8b5fDpCoFB0cJ8NoIseNvkgZRhN9WgdyB/2TDRMYGVxWMaG31HbZlyja6l6bhYC4xvO6vPIINmkJN76JZYsNucAtwaLkNeJ5/pBaQDnqxc/MM22NBl50bm1okEZcsLyRArX9pjq4iwXIaq1v31t+JBGAbM5Ft1+9b10cTxBpsIMOFcVdoFNA1CfxpdrBPmKaGwGIWOv1WyVE5TofD8E46mxOkNeXeSmbHdlXu42YESz8xGfW+yKxCnyZqGxxZvczCATU1YE4jIBRYtLEVhf9xu1JUEJ3jQSHxrnP3r/qKzWfeLWDOsF0nftm+XiRuPT6aMAIOqhB0DsrdJWk6Svt7X/JWUVdXrepDfMWO1Ovq1sj8Ovf+uyZqBlEC5s/yyNY6vVO+YQque65KSKH3VZh2i4VpGhiKyS6e/Ywit74LKoK6sO4vVXCBJ1Oi7Wp7CyvHBZZoR4+bGNB+8uWFsNhnIvUTkY0gv5aIPDjzprPKxMuFI/0sq4bGZVk2Tr+M1PfrAtXIZfsOpHZ5nomjR4v0Dilg0s9r/sUtw6KFptrhAd5jjQccVSKByfXD7W5mW/FNP/p+ElA+iZfu060ZpztnlfnXzPHejWGOQMQdzTf+v69cBZXfiNXkKcO9T7GbWjYdpQ7SPJPUuuskxa8wqvNEy15kRf6FDX0CqV/kHTo9I8SD/z6OHjdwr3L1x4bmFGgUgY5MGPvrSHQ4c8Mxz+py9VUcQwUzMdZpMDlMbrFuJtlDeoxFfzyoFy/PbIIDYClICknXvLN+boolT93hC5IWYfjSSMX/bYg/rkSKY5fRqbgVShdqAjPpZzUmfaFJICZJiN+e7+Bvknaf+Ga2y9dSar3uclIhck1XdHXJ377e+YffAbc727lbhF7CQf61YRjdjxQOEIUBzxgSv6C2gCErd2soz32tDlC7PH2Nji9gafqtV6aD/7sMFNv8MDQkzFGtCtKzZOIx+CgUD0nS0cRxEgM5mNOkF4vEDWZuMIUWGZZSIBPSHVS5qxMW7hRVR1gSqmQgahuI9tTq84GdnPXUUtsvewEZyGXEkzk5h3A9MJyZCWFmtPbAlI1h0NDUx3VdKiuZKGf1n8aRDmYGQUK0HBSYSG/SJLFRRfXg+726bTD5wy9P/b8ZjHj+c2t7VhNqrx+2eBNCIfzH1EOgE59NKHTeskX34lp+qem5E9HtHYXHS0ZxQhQGRFYFKt4DYfVvgdY4v595hunTWYAuquvL7P1f6EwDD+W/n/nsaQqovGF7Hxw9ixtaE5zKWsmfdSFfYaMSakFWo8J6iYoMCcTapmqaa1jJ/ScxszsyOmZ3cmgB9TaFADuLGgzfAvH8Vk9Et0RN5PGPgHRRAoebVp10aWx2EV9QXaDbzYBaiGmddViLrzTqV1RQHzp9WX1/nD6M+Ez226i2U4ipwpku3Ts2YyIsoHW4HVsy4ICtoCyZFbGEQ14itxo0fAqeLhn7LnQVmZcVXOrSDsq6bKrOXB26gStw+vsjLtq3wsJw13qcLYvZd54SdaHJynWxQwnzxoBJdGrbgrZGJ8y+B8UB6cZFThQRrqaSZzHQOdy+ET7e6hcUj0SmyXqDU2Zb6MPvR0PV2wqSa+i+uixj25fIV+VPfL5PXHvlmoYt6+2QDyZOiV/LOAgTLGe/ooSjcXR1Wt4IbSMUkU85TP4ZlX/NtD/p+6hpwBRUF3L4RDUur/N2uXGkTeyzKXKYlUK2b5tLht127q9g1xq0R/ySvEbWb2kacboo6dquPYAsnqThgy9Co23T2yrxA07jsxPeiFcPkS2O6XwxG+/ECwQoQFe52Jw4X4d5VPXRUdqSeAnCGFPCTC7I3oxs21IB0zFvlAtxLjRm13uIi/927KpZCaWRIeSRxSrkK+KfUIOLijqckODeYDJDTo4Wmnfocks9D8GgPjHJwpMGtN5lPDGJzQtrSRhTijDA2a2C84AhVrLjw82FDJVh54xvyqHCzH7T/kOIwf0ia4Hj/IWkMy6hGD26NQjQMR/ZXnB2A1GNxWh9111+b0oqjVDwfhTYMjTQ3328Hyoc/I+0ZHydbuocO9V8SNq9aLypvkUek+dSqsFb2vaUaoMkfUJIgcIqDbE5JujJ+fdaqj7FyTEDal8ucA0ANCoaCdMM9UFU3Hu0EFxMstZ+Iv5bzM3UTOtTk0YfhXWDhf8hKTBs2nQuZUOVsoGilvmjWkf2orwiNs6TOVVeOvXv2oEme/9VBbKTyI0e15niSwlQJ4w8ZVPjF+TpW1gHNO+NarKtgpvA/6ruWWUarcm3lusHQw1iWyfraD8QU+oE3NEMKmDVMOEhK10j90sNEU/66LouL7NfKBBoPU2uoNDBUQgG+KpL1Ma/7JnvDSSTzLWtw7OyprB872sMIr95E3ABM5MkQK6I3gNkfU1mzw8EdbknzLlXxEpXrzr2r4Gu5sKLKio77dWlBIEJum0fDkIrLgRYLPVYUA1zQiv6+sm/UFA6Cbrr3yxKtgK5P31p9rbBszIbSbR3DiZF1T0gAfHVw2czyTzzCqiNC8/GHJ6Qb046jPaQMhYQvs2c2yovxfElVt7qX22oKe3AJSbhfdovF2Wx9Z2sBx//DnBoFuMpcVk1fZtvq5IScHUndNkChMdk8L0YRQF5AbxXUJDd+H9QAuobCcNRhzyEFSrq4ZC3syhmwHiYaK5PLsHxbCczEwUiUDl264Ye//z8MWT071NffbQqInNjA6nlHbmTxpo6/hJy0WMKcn2+GudETZnH8fMkJbq7UtQzEJkBSueoRMpysGclrsK+rUbZ2dDoJdo3GnySMSG1rKZ3YAdvd7U5ORsbUS+kJ3P1Ga3lO38GOouC4ipO4XYlFfgwqKvZAhgvpJvuW/aCOxogjysJGawgYp54XLMR001GEqoyETdiqyS+Mf9q2SAXXU3c/Ftyq5NJAWYdiTvNX5zqszOhulc5V5wB++68oK+7QIK+wQTQpeDavaJbJk/NxfULNkNLlGfUGtVJ7F7t2ci1F8MO8FrSLxLsc2iRaTwFvSzM/LgYCbJ9RGOX4Foz+pKotwqAvphaKSCwlhWpfJ/tIf1fgweTFafPzhioVNqodv3jFmtWM42VQC5x0emACA4YcnDkNgAIrYWyDrMR7d2f/Y0HtapWk4II32drDDEBkJsY5AycF/lDv8EJTvY2vi9QfZr4XEkhsj++JLA59d080caBo15M9oNXjMWFKvX3fN9pfI6acikfwx7E/2xa655lOsUFzY2nx96FjJ4rfznqQ0MeTvtycMbZdqNNbj1NO/xv8D/uUSAxoz8lETuARsNghx/oEpVggaT3mEmaxld19D1we9ZSIaHxDQ+MAXY4gplmV3jcbt1TLNccW/XkGqmggwL5t5QHFOOStgR8BqZJsFMm+CPOxwJkMj9aDsuYXDEvOSJjb72mTrzvxcqdAYOgsDaYlGfPGlFL3Vlmd3DyzmBC3NRaCGpB38qD7asYzYw4vA83FCXtXS6LsfZKclqL1VqjwXGoScToZ0EhA87n4yV5VDeA7QA394kQFTh6QT8xDQXONFVD1LaDAzsCNEgM/B7nFlTXCA3DrLQWrOF4FvpF8ojnYJn51BSd4z/Nej8E0JOoqAYBknfBaEQH9Qy/sDfG8XYCfmNXMHb61W1sbQL7mahIsgU7UB5KmN2nvCYiP+rtPpzCulXpAYiXlvKxEV3liBYfkZNSuDqm3nJV5jgXtqYqvHEw4NRemW/6Y9nwo/eITUY7W4bvT7VP1FIR5/hdoHfcwLHwtUD2ESKVLD2cIjY4nEFu5c4AI88BsMuy6SUQNs8JbIFwXvQQxAVOeFlSjhAjPnNUsheCAcEmKMQsH/aA/RWNiIw8Gd5yzuv/y6Q0X2XbJ8Ufs0XItUephD8NsyL/Qutcc/KbAfma4wjBTiWo9yH0nFF+IeW5yVLetJg6w8N/rSNXDmgfZIVkR7VB7PcVulR8OvhptVFIwfCKp5WLkrzgJlRE4GPzeSGVxgRw4y5JrmjplxoD7v58catnleC6bYonlbR/uOqQu/XHIUfXcFm+09c86n7G4ZPHO3f+JqbBgt0bbZoyvIMaQlkonMCq7ifV6VcMD2zujD9sOIpURRr9bmPn/9YRDlQ2QSjObHlSpx66cFlIgsPcg4cJR/PnTDvICB63eVplB/h361BxRYV/tXNMuOAQl1zvejoMTa5KyEZSaIyQOTZqmdtnRntms9rpjVSlsGn1e0lvCbtbd7mpkI9yHyeRE4X75n46Wsm/aXsNoyXQCnxDqLMyM6kqeExwZ4DQeUpzR+3uHI9YmyLLIzqRMhDF0Wh/LsRw1ldX66Ft6VCh+mQIB7mQ4AJsLs9mcO17L2wvqNkBaSFwnxtWiUXOeJOGpwUC6gxDqYjOvC/NrktmdGxtfYMg3xIu13dtOLGZfr67WUDQ77EPt55w327wmyaDDIeHPFy7t3lne5QXC8OJtj8at7Dkf52SnQqZNDz9AKwYc6w934bqGQxiT4xR/rQbY2f6MEuYBfzPPQGyzaq+bhjs4w7sBLbYDxxyoy1yE0MyWsFGx0uTnTjoIqTPOaaiQcyG8hmSffMUXp4yTIjg6W2LKfycbt824d9eEZ++fD8Ef+IAk2huWHpD8eFjL34Cyk2KZ6TJgDLoLsN7ZFXp9gb5PlVlODlP3s+AVydYwU8RxkSkk3uekgvTlnao6RMc8EYP+ME3o6Lr6zl55p5Ue0Fbj4jAhziSJfPOTkKKBSRi9/pFo38IrWoxPg/nDs4SAKFW9CjsUc7pdRkrHgtm9fZaQEEQm/YQQGga4sNJxYw2MeYwPXyIfenA4QP5/EinNN4S7EegcN+qR6ox4Um/3BPBKjrB3vAEFOmvdPHjDL2tJF0rMct47Ur08nUdERfmrXMqo62PxyFvqeVN6l9nG4Iq/PPpZNUQw+/jjz/G7pLBABwtvxXfh9qMT7RhdKfMaCRPdfUapu+ag7oOIVIdXdoVWq6cOmyMyldUS79PppiiHVPWhoInN41l4xkTn7VU28BfiTfgSuTleD/BLvWElq8tnZe97qLT4Zv+sQMSAH7QAMdca9oRl/NfmJWmng+sttbwm94846vWZltz1OT4J63lS5seILpsBNnqS6Rwg0C95QskA6+c8uOIr20RJR3Rd3OJ/hR6Nh5BtPAITpxBKTFjCo9xvNXCJvahavTVbhWXDDJyQgtmT5TUERfZFtdA7UcxOuWwD1ehNC0vf5HmiFjTb32RegcitiYKv/jm654whR3d2Q/ADb36TakKBwEoErStFgUWfp3T8Dr9HPIOyo9bzicE/iE25sEkTaGEasCJG/9Hb4KSEHgiA9K7YCWDDzlak0GXuthGdPyOu5BnEidsXJmYzj8G1VbvMszGCkEmnivIyzVgdC82MSpcxryDYDYfQHjzxPJ657qYYAua0b1pvM9fcIGEZ73F7J1D8h4VoGq1JxJoz9WufAnrBPsIZvxAwAlqdeua6/NHRmgN16qeQOuS1axwFLgk9RIP2yfTTzlWTnZJK306be0m5hhWPafS2Uh2aRXX5PV8H0+EsBv31Fg2wMmTFwIp6lAw7+qiBoK0tM7v1otMicsSLqHJTqcRyrU+Oud2/t8gQHAIqH9mIRbL9cQgkQidduqZrKf/fE4R7SnAXIf4plgu61iUKcxinkiuNcQyWGhoxzfVJe2bJddZ6SnZ1On9UL36eLOsePeqQ5QHa7DLxjPSGMAWae5Ch3gYfYlBczNFoHWaHGBl6mRTOtluQbKg6W/+zFoPlexg6IsQLdHxsE67vfYcOdfBY0/C9PRW5B/o0meNVLZW3hgPV75wdHzU44o/PCuJbLAobuIEJud3Yh63LpxO/hDZQMdHkdiCgB+92n5u5TMxUG4tq+AaeU6dWZaiMO01FKfyUcYNkuG+JpdnrBJ/IeEjNDs9JqeWN9PAZjkmHVoKAPi1eIHfUBIjxUAZrV8PJHcF73Ob99gif9mAi7r7N1FpB/UxlCwBnzPhutmeZTpXDZ3cFqbEkTMSmYLJEC+eljdvwAJ9CqJYNAF5Wm7AVsCHboeYyhD/9PslInxz2ifPjpxaZDGFyPwGJvGiok+i48bh9RuRi0B6KKSH7S0iLmCGBgpwVMG8FpPx3zOLOcR1/Z8FkCKK/Jd3cI80/0p3kq+JZ7gxm/nTVGBcNy7DdC97afMeAjnGy1wniZJ6PinYAMj5ktMLgLAmeAEpad1lEZ8EfY+eRI5Mdi2TB5E7aSzUEYp1oRe5/re8qGh1WgUlS2acvonsvvfjZCKmzGzCJ0glqy4PosMF6+A5NekaSt10ZMqX53veqUDb967+ZcXib7vhhteANfjEcijH2Z4D/S97Af5dS0oM857oKB6/i/BEK0YqlwHpeDyqnPYUYpb97ExU5cRXxsEli2V9RMXKhhvfg6CshJ9860J45gt/QClcPUOGRHtWDWGn727G1a4HK8nocTKl3GR8VxLuTcytT9RZqhbRcyHhrCkNnKgQt962hUiqDS/GyiY71pF9udomjmJuQtfvfjoDfiGFkHIdXMGL98JRqe5E0WTiE1OJD1/1CdF8c4T9TDnb0ZdbCABbQ95fM7YynnYFk6XuV8cYWr981IzMau4iIWit5kv+eYWlihKJRpsMARd+Ip8rh/c1r/bd3DmvkI/872iqsi5djMAXG48tVFhAMvDKj05GMsxkFk9oarCJcvgFur5R4kOUPmisxdo/eN7Qr7/1j4ENmjnKmjKIFWUYqyaIY0KC/2B2lavmm+rZVre1USuWw33FTYbgP87f4Kc9pjrBhdHL7vdAirsOnyOtWCm/xanS6hz+ChqC0XDQG0MBe+sxvydwRU26wuVJH7WmfH5bD3ik7YtAAUL3/krVBGnvn2RqppMUwF6XhRgKaZI0ft1dA9BkMoP34giMgNEczsFqNvdTnRxt6fqAV2c4KXCByMgTq2ihl65Zq6AgZeQCaYMG9Pl/JHy5UZHbnA3PrpBg3NjietpSB20Amwwtjx7GEXHhPwhLTp3fPzfDvAKl0RnhSI1kBESW3bohz4/AhC/Or6oyxzFJJjKEaRpi5hbQa52KcHDj1rkC3Oieuc/4/pP6ijhu5yIJe9wZ6dLBprutTDyp5/dLbknCrGsJG61CFXAzgyQuQ6bgEWpYD2+Kjcf5F1c1vWIrvuEtl2fgkWQWF3icdsNP1DcDHThO7gX7qrg+JqPqSrty4HGAKKaxQWFF4KlMKDPr4EnUaXFURWfXPsMJYSLdgFbiENZvg/+dOcURqRKIF40PVUqV/vUkRnXDEfVAF0sPILR5BaIGVIWF/M+TbvbkOxe6oLoWao5U59tMHJohYxo5TJtwi/CmV/jPzbNkL60WqQfD++zPHytoVTOJbPOdfIOw5HC0yIBIrMtj3KYrm7Tf">
            <a:extLst>
              <a:ext uri="{FF2B5EF4-FFF2-40B4-BE49-F238E27FC236}">
                <a16:creationId xmlns:a16="http://schemas.microsoft.com/office/drawing/2014/main" id="{1D37082A-BCD6-451A-AEF9-B4CDB56EC9D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93304" y="1242222"/>
            <a:ext cx="2628221" cy="2317611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1035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VOLUME DE PEDIDOS E QTD DE PRODUTOS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Visão Geral e Consolidada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67866D65-16F1-4483-87C5-AA442439330F}"/>
              </a:ext>
            </a:extLst>
          </p:cNvPr>
          <p:cNvCxnSpPr>
            <a:cxnSpLocks/>
          </p:cNvCxnSpPr>
          <p:nvPr/>
        </p:nvCxnSpPr>
        <p:spPr>
          <a:xfrm>
            <a:off x="9701842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42D8791-50B3-4465-A0D0-FB6EB1A6C92A}"/>
              </a:ext>
            </a:extLst>
          </p:cNvPr>
          <p:cNvSpPr txBox="1"/>
          <p:nvPr/>
        </p:nvSpPr>
        <p:spPr>
          <a:xfrm>
            <a:off x="9132498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1A60B9A-8293-4C65-A36E-6970F2999494}"/>
              </a:ext>
            </a:extLst>
          </p:cNvPr>
          <p:cNvSpPr txBox="1"/>
          <p:nvPr/>
        </p:nvSpPr>
        <p:spPr>
          <a:xfrm>
            <a:off x="571752" y="1175729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Número de pedidos por ano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A68D825-6E47-4BC7-B717-7BD11DEB6B3E}"/>
              </a:ext>
            </a:extLst>
          </p:cNvPr>
          <p:cNvSpPr txBox="1"/>
          <p:nvPr/>
        </p:nvSpPr>
        <p:spPr>
          <a:xfrm>
            <a:off x="5046391" y="1180962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Número de pedidos por semestre</a:t>
            </a: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7D3F8252-470C-4CC1-BD04-B0C62D721A21}"/>
              </a:ext>
            </a:extLst>
          </p:cNvPr>
          <p:cNvCxnSpPr>
            <a:cxnSpLocks/>
          </p:cNvCxnSpPr>
          <p:nvPr/>
        </p:nvCxnSpPr>
        <p:spPr>
          <a:xfrm>
            <a:off x="3293407" y="1344940"/>
            <a:ext cx="1" cy="522481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5C680B46-84BB-48A5-9841-9426C12819D0}"/>
              </a:ext>
            </a:extLst>
          </p:cNvPr>
          <p:cNvSpPr txBox="1"/>
          <p:nvPr/>
        </p:nvSpPr>
        <p:spPr>
          <a:xfrm>
            <a:off x="571752" y="391469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/>
              <a:t>Qtd</a:t>
            </a:r>
            <a:r>
              <a:rPr lang="pt-BR" sz="1000" dirty="0"/>
              <a:t> produtos vendidos por ano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7B457344-B7B0-43A7-945F-BE10E2B4118F}"/>
              </a:ext>
            </a:extLst>
          </p:cNvPr>
          <p:cNvSpPr txBox="1"/>
          <p:nvPr/>
        </p:nvSpPr>
        <p:spPr>
          <a:xfrm>
            <a:off x="5046391" y="391469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/>
              <a:t>Qtd</a:t>
            </a:r>
            <a:r>
              <a:rPr lang="pt-BR" sz="1000" dirty="0"/>
              <a:t> produtos vendidos por semestre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9172755" y="1558506"/>
            <a:ext cx="2518913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Nota-se que em relação ao volume, tanto o número de pedidos quanto o número de produtos comprados apresentam crescimento no período analisado, de 74% e 65% respectivament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Existe uma sazonalidade nos indicadores com pico no segundo semestre de cada ano, e queda no primeiro semestre do ano seguint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Sabendo que existe essa queda no segundo semestre de cada ano, é interessante o desenvolvimento de uma ação de marketing, como promoção de produtos ou desconto em compra casada, para aumentar as vendas nesses meses de menor demanda.</a:t>
            </a:r>
          </a:p>
        </p:txBody>
      </p:sp>
      <p:sp>
        <p:nvSpPr>
          <p:cNvPr id="25" name="Retângulo 2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PJ71OfwunJP1bhb9OnMfGF6pUGKCgMF0FxAW7GAIRZFpzT+BYSE6UAV90E0xbcqtuwEVH55XQDB5p7woC0R8RWkv5PLDHIwyqAtDHm4fU0SiAPqwME5TOaJyXZ6gO4L697NqC/8ucevvTg3iWNTAYtpzAhkBGocLMgtQri1WMuYG6T9bgSWhdeB9wJdFPKOh6dG8++8rb1s1fe1LwH34d3BCYxztxOGtNlhoaxT3DC7zqvNJHNEvfg0uUpMf3vQceaslQhrUL+1MQwhx/mVAU0TXOUsOrRxQO4kCtCnj00C9QEljnpwt1Om48TyqGHJXPDIjWWCtbXqfH/aPR2BE9TcWkAOvPZtwVV6/B96T0aLeT/Bpdh/EEx1S7EoOgP4k18VXsXpEfmbtSmvtXltJczzqw9q5K2Hp0OeL4nMYAXyQJOs8/nscb8wwL7GaO/2pZu+n2wBtoL15YjvjTl7mVL8wM4E/VbUI/urQlAy+z/xpDEuSkK4hHPOJdJDJZGYla6eWCM4OPBZMbEPiRFpgAsE6nbifBOKqRBy/jJZRzsvhOn5ehLLpDtncZail1xWQM51IC9YVV0ykCiYYd19Zu4TcS0u8KWuxi+zdniJEXZCnE8gQRAjyWyo2GqXxLQK6/K/9Swjn3B9gZ2m+cpzcGxBZICkIZK0MFOH02ZW3y3ExK8Z7KEpjq6Q3phCiCkHZmyNDiGApOh1X7kk5v39Xd/cCYmeU/R74bZMjCwVqOWmo2chlsZthicZ1q7Ham47fuXmsokgUFN8egAnl45gCgWctgaF1OrO/Af3Jd0fPQ74VWHAumhg/KE0S8tLRT7g/Cq94Jdusxl47EcUXnabPya/TE44mwWJhze5MphXzQrujLKsSpwmrwoRWPP+SEb29/0Njr0wVLF7QGuzexTm9Gsp0oFVO7O/hwjMCRr3M1ZoKyzUw3Z4+MvXlZAzJ9E7FjH3ipsMnqbIglbo91syJ/pSZwcKd37tFIJj/PnjLKwoG+tfwEFZtLCquZkAn3p7kzrVXI/Et1SDIGCigz5mZqWnIdjp5bbC33gVOgXnM+gExLdGaJCaEr5INKSwIrMwx874QD9yoF7LLALOYgR6ijda8svQM/DFg94rFI9H3cHt2J2NY6lg5qgklfaX1lftryw83E73Ug+X98QCgj+JPvf1uJJc/TmSfH3brwL2x4GisqxxUxN7/d74/5K5IlhbzBtWJgbX+PIWXZAJvl5PN2K0I6XB1gPIfmP73zVXDo/UCc5iFuTMHk1HYZhRZQU4TOTeyfxG6lCq3L3epv7bvAAbl7IqXPc6UG8eEmyuOJVEsCrjA8UoEbZz3rMgY2RQHMYFMJVY8NHZhnzIvCIPxwNfrtp3wcgwP8TRvXzmBgIjFWXJake9uSx2bFpvVCdCZYZjY/pd4VGFnvpbGI5j9L5hbThQE/UnuOPnoecUVYwxZBOJaWSthtP1l96eVTuQyOHvzOSrJjyQZJebODgJsps3mcbHY5+swt9SL6LeS41Y8lU22lwv7SEGT3et8vnPfe3E4RJGdaX5nyGMMEJX4V3urkQx25lznVQMrQqCCHGK6rMUToKMhEtL+ePkhJNnBOc4bJui4XBuxJd59py7t+V5EZEm106k5HXDxJT6YcTZJvECaJmRaiRn8IZabAlWJM9Qqp8EIw1+FK0+K7GRiieh/Bi6szMbgHszlqG8r1ib3PR+GKwc43zXuEhGwc+UFdbiSKuBsSC/ayB5h11VV98FG8x/WnzNzzepfJB66PIiHEEtN1o2qCy+oMxX6fLo5bvMb1xX6brhF1WcAVuxJliwHkQ11Y8nnbgOXE0lncRK9UpcgQHX7ofpZ2Mdc/JPCr28yKJnFKF2bUfHYJxVgyQkQDry0hP5svrmHnRslnxip8v++61A5t4/skR77ed8FbApEsxl399TpSflW7WTYo/VZo+dNuQm8VcuX64W0HhpIe222gOJOSs/JrqFXCZDCSx93crzPkwAcqX+T4HoKUtRY5GIkWM0NAIfjssFPzzXDjgt0ZFB3MoTDU1WF2ZNAB/VzHMv1Xh/5jpqeK7pGP3wcuUn2aFHQ8lYyPHd8xeGxpNYPPTEDhz5clbNzVDcy2k5pNcY2rK0gDObTvtslysGLHI0CioNn8BFYtHLtUJfx4YG4k2e0K1fxcMnxaEbKYUdp3gVVAAaZbzzvqHtDC9nQY6saz6tYWs4wZsVaN+m+v0h6Pp4lxLkkp2nLZiYG3RoVBILGK4O1/6ggmAJdqFC3eSuQKUVdB4kqQtcDPHnYEdN21Z3A1/qjBK6ne4pEPfyMgoj5q+gpPB9lgeweB2ncPfwiAK62TMeYyKzxbRAkgiTpZVYRGE72U2griVAm6ETk8uVC6cCjt6JCfqJHHAgvFheUmGU5eFyouz0FetLJuXVVG2rJRVkHtczooEr+E3e2dOGinL7U5HkhLRVRZG3rJw89a6g0A/jEGCaMjJnR1uMUY8bwAKBn9l+G9WNg4bw7phUG+CYJBay8PWBaRBuBPMo9vqEHzxXt9E2QmWXxCQO2G06qUk7hEeKx3N9v9NKfoJr0evauqGNVvn2yexrMpZiCIj+zRBBvnPzSmIvD5a/6GdfoMdXHq2Af5EGUzpK91nTC5Nsi1tLO5LeIo2SMcHAO8Af0DjU0dV4h/CI1dI2U3Zkn4ZHHJsu8oJ6WDTfba2KgTeGBmCexdIT3p+MDshHq5P54PKb5YGTyyb9wQxrHlFMi4o2lQf6XVyT0BebUs0i0lBuBrJwkye/qs3KB7XF/8i3Zr+CNl+o2gE+2vw9UW1y3uCZEXqYqqkOGlKNXGSDdwQnAryYwzNYHTSp17izsulDQKb0nRxNRbNVHGHmwqEdRFcfMP2un0fGNlgbdCJfWUIuqVIrJdTEf8R4OQN7oTpFwrO9DDfhVH1LKLNBZx/0f+KVKjJVMUvadA3DyL8Rx7chkgQpLfmuq6LXhiMzm0M5/Eu7XT5yABgrqSwoY2cdDdjrYDTWYMPahTZfjvK+leAmKMUanrnKMfAvUrb9YyUEmZg7JXgW5ps9rqFe9woTY9w7WIPDLN/9An6i6AGFm9dluCfIUWtacWyZTEu+p/S5pPVH4AMtXE1TslM18vafpNF0gNwc1U/C3HDwJgKB7YkUUXEZU3831DyF1ErRaOju5Cd/tHc98AXJhlH0d8zkwCLcHj0lGymIcOevat7Zh0s6nHJzymU6G2bOGsMSMc0UxHS9n+uYxC3NaTy2HryqoVjFaDAzlcjjDrAwtoNFPD4PNG+HHMSJQWZ3EKq8IMy0j1wGdKBIADQTI85Aqit0kEhjVBpWc1YQUGE8wRYhbtY3fnmg9oZuvuqgZgqRcPeEdoj7vRGGOkk99vZZnsgdNBGoJmyMZlsEzUBlIcEHwuhzQQLeMrtsQATDx3CbRpQXGUYMnQe6c4RZuJdRdMiCNoGuWJJNFA6gpa8hJuYnXi2u8jiqvKC6rQUuCFER1FC3eISlGHIaHuULiNQo1F5sjwkUcnh3l26+2Bir4cxHpS0tWNmmNqirFoRjjVnFqbY+020fxhJYfI3QaJa3/h81pFdvu3m39sl0vO6dJK7tF0dJ0cEvI4wg20bZsnjN1/7ITBSuCzIzKg9BrjSkQpwN5OZN/kReg/us1QjH7zVSEm4pCt/6ZXXDcvY9zlVyFKklCoFoWKaz/W9uvaXN9MhfzlNFhOQzYW8GumkonAaBGgjRUNtDjij0O2QG6W4dgR4DqX8UgnM/UrXj7ph653zllFTnZCpIHPfm9SqgrHDazlmw1Pmkusi5eY95NnU/3G5ex81CrHss96CnTuQFshROEyrIFLCpk7U8UADz5osyGQ+VawicgiTj+VxHvSCi1/KHL2ZNbwz6e4ptPTWHWlOt59DizmWnp3eBv/pTMxPFFwtxDB/uPF7+UpeFw5rgng7hnaK8R6M9165Y6dSfurLiTQF197mcqIuPEOL+SLL4hMfGa2xHBrDdWAdLSepE4sQMKo9VWh9NhY1EyuogpjEYfpkogvdjlphEfbXkRWTek8Y7zmdgW16BkNNwfRglIajanA2e80p56mYKjoCoqxqXJLsctpuqmThJASAcJN4FRc3ZZWoozuMsWbNMEMlubh0e++GzW7jK9yhtVCl28nQX8sKNgt285JecAK5f1mXG7YzBs0ItVZY1TQW2ujgsgtlAuSl2p7A1qe7aSkpTozQ+98I5sNnyhxPihZkUDMROzyxZdPlDauNcTohVNH96MsxmpVDyAfWoXFhKQBIj0kEj77IP+stQmOOxFGIyXUmNaoHhvRwmpLeDt9RciJlWqCurCNRijfFBlyRAqFVFTJ/maQCkjWjGM+P84PWheA17OoTCwOTgIuJGlOZRxy4fpB7c6JiZAcsCMglRl7nuzJbLfPcp6qp/wLJhXr7XITl0Xa5vm1iNJMhiDbNbP3ollpCiD1jmQkW4QtEjZIOrOQDIRuA+aD3eVf3Twt9TcYW+9B6nWgsSfO71BHQ4+Q1Ar665CVaGTvTb25NBK1XdCtb55jaG/P7InbZHdkYgc1+aJhhvUeyApKE/8qhOZTEePZ/hZTO9zyODUoNjFdFxdPFCYPfhz9l0l/v9Z9lkNnqcniTWtEKZYX2yolb/AOvHRQ/Bp/VhpBCG6iKueupf9LWxBrHGk7bQNaD+f4LkANPZYKtIxqN3Mqo/XLhb/gen0dCa9nrSh/eV0n+2d4TQA0DstA8pBVQ71K/k1i6abEMzByqAyDpkd73CNpKnE1lZut/8s6JB37c4zl2V0uM7RRD4U4XpXoLYtyNZ177vNEqEMdVod5I87d0hYeSjtGfnO3XIASvgIuFsjBDzoNAAJKXfxMRhziShqIsCDxyPWZXlelH6QOhayFUC9LGI4DdV+qMfdeDWLyFNgN/X96f7Vr8ZKAj4IBz7Hm4+3e9yhYuzdSo6X/zkMLFrEIVEKjQ0EL3CtxwTRT/v1XQqG2NWJAqYYdU+oxcN0FnJ97UXSl4Xp9x28CBDuLsRSJ3s6lG/rXhTpKgflA7iwrMBATu1rrYnPOBh8mZe3mnq/vsykZ21Txc+eQb+hid81vEj072c3wHE4fBZDLOzdP0ixfMppweHq/Mr2NidizgqAQ1p7CE/Gak59c/94zveLBQ/sdyC3gEwHeCM5SO8VTGZcS3Jzfw4V0judWY0xQA1FFC4H0h2n/lZ8lvlzGSbk4aihnn8alVsyfiBkTs0jeCnm5U3Y77GcurLJvf/PCWvygcZj3fa6xTHV6rjKbEFX1V56zuDcAp3CqdotEBlA1hxNoWmfr+nzf2YpAZSPKecPFFILjMieUKjgH+OHGEgV1QyuP+ZUD6Kff7vYjDGlrIY8hWnW7G7dQ8bI48tHHOjR0CszAiD3w6Rmq3CV7Wf1MQNZSzmHBNWtWAdoBV7TwVGn6ITuz1P8X3EzxPoyps1YT3AMfUGo3eM0ufGcFQ4JF6DtNGnLhrZXJ1m+5zhp/sJYSj5LNlK6pIaVuu191g05486bNvcYp+r9fUrgHbRCwi4lOS9PL9fPuRCIMrGaiVPq96ZuydBY5s1nkFgjsRX7k6qzHrEbIKg09rSEkUeKPfIo4sP+NZu6oE6ecasiTxeioNvIQetFZnQXMNhbKtn0A8+ZuS+6veY4YjswEOER25twk9zEDRsJxI8rquKHD51tnMRbvgqHem1YoIRMTa+OSCdPzzV4PsysyHd/83i8N5UGa6h7x7u/q/+GJSTaEXRCarhdJz8KxwZZnbRnzE10hfPmh7Fsw36GLLRT2eNNLAeF4WMZ3koyWC0dIMuDMB8QmurvRKKA1Z5EbgBVXipePgB5ZqSp7grwDylrPezHHIdSMLUVAUoUMI3tmvYJzTGVJRWcW8h3dLFRfdhRNgzAqPdGYeBP+lgdu4WRjvJyExbRPeQ9CDUOUWqfRgdvl6tZmkqfK43MRpzyHuXn+rpdj6/3BvKoI4g6yXFuukhUU2j+86FW02Bv/9T35ES/ZWVq3EX0nq5LolpUPKcWYD8eqLbfYfm94ehdeNSDEv17SpoIcxXQs4u5UqbD42RU+WXpTQc9lJojyIFLTyP0envAZ7Q1u0QqtmFie948Shxnqulvobm8rEwCs8gynCGKLw3/CRxD7Hl9sDa38gzCrDbt9CAqvs7M3uUcTRl5L1OZ9+2V+0j5XaVK0uUaol0fblUidLwhtVFfAy/B2wV1qb+ZNaodtZtNDdFUSKpsiKtZau+RnLYGYSzRDk91HAXCAEBY8+n8QW+NxpMduvKmjzJwR+1Q2aJh7PKdIDidTHEaVd5S/AgFrWKiDbqovg0oBs/Trw4XCaMTiXiCqkNEhzRs7ABX1TJeX6d070oAkrcz2LGSyxNPCagsumg6+wt1CS8Y/DRBxJ3JZg3Y83Pz/ly8nvSdYmranVg5XSr9kK9Eb9m9BRBtGnmyj8fvKbliH4INxr75mT4LrZegngMEb8rXYqC4HHqnwhe18jk7r94aFGDRtdwNfU1zwgWiQuOPkwQe0Y+H7j8SE8AYQDXP0MlyXb5j3J6zjAVr5aSHv5sy9Zvtlakf4aGDrLwpZ+insqyDkcL4w0ulpceRy9R/w2/23DQ30RK83ehLRIG2q7jktM8bQthycilbkDuxu5yYcB56slqWB1RHPzP0NQPRYr/PvjpWAqbrSHeHudl0C0PaBCAsVNiqsgS09vI24N/CSBtZ0MfSMXiojfTy2NecsAvw/Ci2aUWDCPoO2pT4MmYHYPWLtrIo+YIX6WG1LscEr5ND0MkEWgjnBlbpkQIZtnk89NDy8b+n/G1pZUeBk4PpbRBbd8f0GyZQn6I2zmfKKk4o/dFKCGf1nU5pJuXYpaZopfuAyJ6gqYxMoSgogqYhM+3yzPeGg+spCOS6DerwHWg2j8+LvxWjYH2RT6sxfuOa9uHltEw8+AMLzXUTov7K71qx88nSb8xoJTrQoSnEj195GtKz90eqhSk9vupRlZtA0uccZlM3zgKPXgCaUJb7Dy89V8Dux3S+61Xn842m5i20W34h1jt7x5tfRgw5tiaa4dtHaKVj1GTIcxRcwGLhcVD7iFoEaqVzgHYRdZmhTYXmJ4tFWa8e3pGYZ1j1iWSKMAn6z/3Vy21+3oEOTT1s6Pi3pTME92gKyuLB+FgoFucIDSLH2ZIUBz3N//2fAzuT5/kFirKa5JeYI3hEtPpkvoES6UrCBH9/qdJ+H1PBultbUSKsCypgZGrz2QPRR9U4TTuldar6mtulnNBLxN0mmmXILthpnmY5j4viefq2siUgp0RRgnKAccdF70PzqdG4t7dD6UfRnnfYyuwhYxmKIGqvN0bf/UePrHMo/rwIemtmcYc1PCEs+3XDdP5jJbxRbGLuJnS54fvCkhqrKvyuZYxDTCUyOv0XHEhE/Mop5glhAShipjtWuSjJoVUms1Wl2CW6bNP39ddNovo3VBCU2dPl/n7skyLI/UU8yd01XOsQrjS29WKjVzzyS1EBvHw9X95f4WuMnWy2FFHl9Ar+tsiS5/49czeI8y5Y3gU8D6GLSsE8jwMscLsp237QpUPa1L7YJd6i547r0VWPbRhtjiyfuzXeE/j715LwEhnO5ALYq4/dU2Qe+C5lfpGuc138TvcpbKiph4kK1acvFaKpnIR4Z7Wru4pHfDh3Q/oWbOkuCZZAX4NIuNK4Dq4rVXMCoi3H6BlEOWBdneFPJwYIK6+B05Lr9NbSc6+O8ST+H543x/1xKdkOB83Tec3kWW3H243HIARUcY0XZNP9fC8YQ2Ilpt+/bf82/66WHF8TMw1frmXXAEVOGSz2O/vs8zCYlgf4D6303YqaF7nqp6emRRk4MUK15jpkmiCwPchdMpQJ+YQxJCwHEuGG6IycPS/T3kGpyqrpkmlOAnD7YZxmkHMxGUL2COYrkeH3mJPb8SpbXCUGnFEDul/HyAKoP7i9x0yEoEZMRK8W3hq8EDQ2AJmi3t8kUV3fNTPfwzv9X7/FGcUFC+nxLT5mmFkOXwSORGKirI2v4pIfgU0EVJXnd0ys8B4oymfkkXelhrXwsTrGlDxqoG+hV5oD1hDuCBH8ZROJjEocDc/Dl59IAwp/4awjxKircbG2NzfYq+VOubld4Hz9aiPNAM+NFYJM12ww3YOVM8o4RhyuShze/sg84vIuO4fS/5WEpdLHNwe7SbhMfMPeIfICoZHChkS+SOM3gMrh+XtE9WAI+mHQ5UCfeAencVXFY+TTaCELhyMDE7/tb9Tn50BzSFjaKHs36jR1Dzsq3FuLlnW8mBZWmUVHg/K+1QOax7UjvkeDtsoE6tXXufX01rl+Gxf8Ka6mtWNyB0PFQx368YULMhjDVrVOyrxmX0eYudpjZ1Mrzw8blxj+1pAk6ajSBmap/6ShPnwrjFszCa9nNIXXoZ+mTljTYS31Z2mqtjNQJopyl5Jo/bdNoYxldHRe4ek29C6O3x1mM+4bID3HAABaVa6kCi50FTb5kZ5g/S6gl6A2DWeNw97jfb+0DzgWmmK5E8wrpT04dPlnebpDtKnj06/+fUOPJKAKj0OMhvaQq+Eg31FppvJd92NQsGv81/RpbRDgZMPaIPuyTepj1uS+cyMVtcQpoqNTysgbpb1Xpuu7lukqCimrvyWunFSL1WW0SQ6qZGyo1HhGf5p70XBtpXI7Q1/LJeXSLPVe4MbnsE1iiW6ZthCZQyfEnm9+KTgiSlg2ahKuAZej3EF6Md/lriQqMuQfdmmv8TridzevpTSVDUG9DjWysafaobIivWsZ4onba/sXgb0KgeoJ7cT5NhC9WSmKtuJGdbZ96VkbXx7Ui9Cd6yKM6ZM5KQQ3shnZpPrTrd5WNDiwdJ1dtH6HnBE/QzqYivUwKDiHjiJPviTGKy7zkyM6uTyRC2ADBkNgENG7VMqOHys0WI+nA9SzllSUF7Oo8hDKxiuOOupdP7dwuAvH1ObZOq8YuCIT3we7gUwUkh9ufKwWtZI8yU2jeNKIrfrZTbetCnz4udgMAi+JkXApMlwc5nRB+6pXltqwp9ObIhl0pceFl+oVPC1oYjB+RGQ+gfvp8UacSLXAcCS7wr8yzJWlMMjBDuSt+IDnIk+ESD3MfbmihFPNwixDsKnRXm19tPv2wWelQY27nA22rg4uTFVjO0Ngpy2BIM4593RtaYz4ql+W+C3Se2cpLRQ99ou1Pwxw+9HpyYwdTV5Y+ipIrxxsXe/ERzLg9sxGQK4rUDmV4wBCMwHtQmM42hZVA5exHvNDz/YTdXt8hbRBSpnOlYR3YmebCb3UlZKWzBhJJhgSsZqCKk9RyMEgsLYEFxLptaqMnvlPzT5iF7DFfopHG9aRyzRlW1l3Jg+SoKZoKGOox4wz5/1fSfqYxFsBaOcs9QBfOGnX6/4lBR+xHPUAlbcmwi3ie3iIDEwguL35fIePfm63rxsBzk8CC5B+2Hq4HzqHFRz1JKij7Kz8az/SRwEvPab6jxrA5w7kn50ECUn0s0BXF58maFrwbCsW5qhuMvcrHpZC+nBFIfEwWLDfy6VoDPWjYF/DH4qZXD60UFs3GaLsITbCWhzWOdzNhaQta+mfdGAAEDxEoAUdzq7Bm1wXSp/Zz7VLSxzKyBiHB42UVr/tm2vNS5XN+rfwoF6Z+ja5OWAIeUfhR318UjkcpY0sGJiqfX3lcMSB4nlR4WNJ/N4+xfz4rcnhnPWiNmKWa1ZwWj1UDqnxYEJJXWBggkJRmbqMs8/Txh7F0avsgjxPys7JoJ3wVAJvnfeiXEOZXOF8GRoUmgS0Okw1n8i3ff5yXWmfbGJHzpNzovU3aSFR5DQQXuwy3kv6pkOHtS5LMYUdXiNAm5TgA4TBk/avx4ahNypHoyOiAIH9yax2Nfn4cTufhtxajMFSEI5HKdvUyT5cHHMbqWPQ41DFwyNFv2I6AE+FoCOmtuJX0dzJJlWNwn/w3Ul1u4JeURvDUZZgs8LypR/735cIrKHy7uCVshcvsHiGv6Q16yxv9WhZfoOzYsErOo3SVZuS0UFqh+v20Z6PU2gQBBpDd3Q4O+wGFd9+fFqTDpj2YdYUilKGI1Z2nHosTcgIrgHBYE1lozZ99ipGY8R53GL0QlFXb7llbEiMSLLzzZrQe/wkeXgpAqXPAWiZqPXbeWWev6y6XzfBNUovCNt+KcvSwqRkwX3Dk+44AIlpHDsAnw7p5cSGKQXun2PGuqcvLGdB80wEeeLq3jpCyQXbWrfPbs7+5wcflL8iRNHp2mmjY5jFfJXxV3JTlkjb0/hofa+Pwn9zmI/CuibWY/Qe1M90DFn10HV6ffix2bKdonnLWUvFAwExCOGwLqb1WwsyAA3X2zOKkduBTdmIbn7/Lii9riodnY4zpR+lp+S8UNyKwXEwho5y9pzEA8P98MqUnZRhnGQLGY57TafHa6BfBKW6iUv6kBGz/2ArM8E//Epw44XPHYTpbiVeUb1q4kgf6CWWvuLMTrCOCWosWMd5J4sj6B5SvqSyKofy54TQWzQyyM/ALOOu9Z4bJG5HgMoLyyZQODejdvzDe8VOICRbcXzPzxGMoNnPXrGKwnmqqwyn6n5l5fEZSNHA+4bGrQxFwQ5ifJcmpnzrXXyS+CgfqPO7EX0mdw1weQ8KT6ZWkbHZqTpldqfu+0KcJiiKvZGjPuNyE+v5Gtiy6SG56gbNqT+6tTyFkh5Lo29MvK7izXxSl5bgHqJbKbGLwR0HtSgk6nGZCHHAHsa/mCcM+UDGE5wPAVp1CWXL8SZxKGfWSTV+nS8YQ4CuSl6TCgUQwSr466Op4uc7DLz8XKTCkyhMzBVt2pEECLOvgMpCpyrSZJKqtqkFD70f85ujhupOt17gDnUKy6+e8AZd0FaxGIx3mS4b12n2GrcFxJhQM8E6lnVOTLs01Kanjc8ATmbYAZQrJ5f4WXzqAe5t+ipCbSvMK2gurzU75HxoBrocTObarVl233VdzHPbjdXtnDYTy6g09Ymm3L8L2CoUQOxNlSqyYm7Jv/HkVH6jg4AEx8KM5aIBIvBS+Ie/GAJtjgAfMocuLG0dWbpon9gD4/FGJgJSxlVUNrpGUBu6VXhyGZH6cW4F2vzpx+oXoGXjrZDgRVsrBJ+ng4fyWDnvQ4nw2p2OnkBBKWP4AuoaFsH5IjsshG8ZHD8KWamBeFUdP5D+arxOc62q80JyL3NPwRTCAY551s+DlEFF3APxPztmvUW5bWevUMsjEJxxP43tXHGaQQAj0dju8Nm8TtSiZqGBlheZmiF0u8p9ZLgfuwwbJ/E+Uzz79nmLTiOwiUeofiTHfwutZflhRo7/rFnGMKEe/TvYJy3bp/YQIg+m20I+rYQGOJyG9hA+1F/Q7cKTdSVOZ5QYY1yKUk5AtDIj/X6Ajh7dATQBcmDI3GAZnSRTIn3S5rH54iAS/K8SnAVJ9NNhwVicyg4cLMIP9EJ73h3VRdeNb4OVILnBzqIby9Otb4Rwgu779+qDJHqB14LltmDqVarYepk+PFOz6UtI/2cNko2HNhNuKNfwLEIjaSYM9K67arEOdT3+uehtHUoXspN4f9sz0ejM83YzjpcpK8ylqBIEvw4Hf5uaeOsH4FTsY/dO+Iqb4yopGWbvr44QKXHTw19LMe9ABBnx+BfYvbg36oXBB8A5f4/bZFbpVhN8w4avHbA/4Ie27bfr6p0befNfLHUlH6AFHDLhHvvXdIeK/vH6lxKSfN/9dIPqDpOCdDnn+TdGcribLQWR3W0xxrtkEm/eyYQ4bew4tCLg8yURKA88d8ms1KtpUPY7C4gHxOY32LYrRUJdIniUW4I5/Nko6RqBrfSoBZ3zmHSIZT0PmSeSp91iBZbJHr4TJxeWFSby2Ymi3iqXFtPG/RhiFuV/cHyNP5DWR28A8oz7Xz9Yz3xNwYJVxjxaDCace3RjbtUlX36s4iVI+3kzOtDHlGQyOTibIV7B1wYFssuY07Hy+SCSPsnU1YtWVn3mrDT3LG4OY1/b3BZPp7TXlbpD0yuPhEdVlEVmYzYuTUqoerg5cnGk8/PU0xdSB8r9rb2+Y7JMNA8B/+JCYi9zO/DM/02UuSB1gVwwrPNRgZmBmOfc1iW23nVoD/bg0Zm8/nwjm9Piu4VzfPl8jYqPW/yelKcoSqhkGOIJ5/zn7SJtEU1Pyb3CHky62bsTXJu47dKXPAtI44d4O+VYbdpMx/8HLpfdPWSXdbilBAGFVUSuTKc3VblOeBvawDJDeiFtr3eT9mkvUFZ+3fwKLfB9XJ7/Ue6nrzbX8c760ATBE6qhXoVsTMfkqq0NCl5vI5I9WYkUyAxHBOslEkZ4fGcKUNpi3Nm/h7ffz8y6L1HE270ng3EacwQDRl7K9rfLWl/d3K4sMMrs03qXOCXH6HvII5pCSjh19v1nGEvjkp/vwFX+TtsECpJF8lITbiRX+TjKcaclF5pa+eRhGnE0ghmE/JjFGlpDNE3G2qvJq9mwlIis6UGZDDaR/KS/0Khlua89ujOy0JPTV6s9oZIAbfCquZrAVoleYqH/3WQPGnSlZSJITma14OHSApuHMJtcXWPynCfpmsdX8/N1Jj8Z6j+7CSRkV2Xt+VMY41Vjw2As+NxsT+d6d0jttCqFHPcKj7Ajm5Kkaji/vVEqlzrE4ezxXyyzf3u8zERNqd4vK7WHXEKynB2tkNNh2tus/WcFLysuXc3B2TPM7RQxm/vxq4Z+t1tQ500/zxM/vPAF2HM+P36xFfdN/8ZD5+N+Rd8lgJEi2fDv9oZw2apCm0puMgbzRg9sHPyJggEuezCcZ0YtDI9jLS5RCCiMFSH1nf0MzT58fH99iZALNzV6wjA4vqBehGJ+BPk3w/spPmh4n0CQ/g0LMjvjOuqtHMZeA2LPA8zYCRhQsvn83q/0CYthwh08FNc5U45BjwvjqQQrLjDVqng1WVBMsuQvyYm5dYvOxiVPmAH+lcadgUjsw/Srh4We+2lzFKeaDkdcxc+kqMFA4X+GhGTACjMkgBA9mlb0WX891IZZl+X7wUC+kKBeJ3qdoTBZbj0jJyftIheU0/gM6EO2+bK2mxDgJFeJgM8YTwa5uzhWVBcGBK6F1nwkPXtUW8q3TRdell9uJE3mqcj9JjTqSKfduTy9PhnXbAHlaoPj+NftgFeUquWZHCz+7jzSsLZ2wdA8rU1zci/NiANoihtHLWytYY7pTUuReucrbSQArGl6Kv6oQSWa9UzCBPPyuimWeuz0X3Gu5w0U0TQHhmFJHpJwY8NxIic3/MUs3pXLuFqHR5xxT5NY8alhEC1uplHHWD9mPF3vnQjLUL12BxeW8OTPwwBHpZGMxp1I28xndlRiGn+fLddDGVX3FXunsCZZpLsMnHoLsh+W9ChmIDyGb5Dx8EsS0m2GoFE7RMS9YAGtxdMzzLxvGmgTfghqpiNaFSvGeXZZkgP5ogPprAeq8HyVHqPWA3ot3K7qAHzxGwf7/qxBcmUSgtDfE7biemu4tRK3OR4iBeZVu4I6FcQ12/tfZ7JHulYb+CHbmYLQAYuwgOM8v/qCNjExT0WS3FGmUP4b2yLoY2u/Xt90l7+eY/ka80/2EeCIV5PEKTyyw9STVAOP4+DFO+KQ9jKp5LOGZ/4MAEo1oAgBuobg3KQOI1ACtsiJElAxQED1QRM6Bc2ctiKWTYnDitIHAglO8toXmYvSkG1y60fQOvNGSYi5MpiNkHbXHVCk4aJkuKglhs74ACsXxuIl9KrUjrF8x39btF8tS6XtoLOAW1pV98sSaCXP4KQrH42Z+qvN7FFM0WMRpaMIF387O34IAKnhc4/jztQX/ksJX7QDNYnITOnHuu5QzAPJ3rneeP86Ns8OYIz3PWDo1o/68qwD/krovfjsQ9LA9nLSzzA2FS1DeJFKGTloT1koTrBiCo0Pc/85GMLrKKQBVaFX8qmD9uDxq6BxNgzJjS9nlGNQtgZKVw5wWE40Abc0TQI/i/SsA1MGXe6AYR+q1q2NJcQM0wLIUmDG2au6J66KlCKXzN0ZpdowGCXGLQHb2rzu1cTlOtGc+BqZEnV7OyOSfNXdR/7XPp2w61IKrm1Kin1XNNKB8jpghuuctM/zHpQS5bMrb9d4uKvn3tFLFbvZB9ufUVYVnWp/bJsfpmy5IYUXNhmbwdmb8p4wZLanEWXw9VYBSLUqXRwYOz1VAiJSBcGWf4nvrEKkbG2FpokQID8u+E1IpyMwrekaviLA9orIXACL4cOvudipg/bMcE7CxwmtcShqzSNtGSHQaNcocW8EKstY8iAPe23x9zwDcPPwdBdUlvVO24qGL2PD9JoWwRMZGZtrHIpEbsOoZDgJcaWqXvY3SDf1MOSU4OHlpCdiTKZkIJu0qZNUDlYEFQW2sjO/dxYUNPqzpb+aj3jK+Hgj3QQ/fVKs03LDP4GC0nnFrfgwwK6qKz/9f7khimf2cMMXCe1VwzX2Cs890AxHubEihaWCqqSY4gUEL180BjXG9O0W+IJOquai2W3QCAGRzESCJPOAPvi2rjI08vjJus2JmEoHCSnYTLQ2lyl2wZvSupfEw9jkQT8Kk0HEnB05GkQPu0pZBCuRNFUyRstuLe7LDz6COoL7y/CM5TIZURJdHCwBXDVe+t+SN2Qvgl9r/0TSRJXL9Ew+R9g4BM9xKuqrzxsCzXz3tUrBE3zbXgWJLeLvwqXMTc8nKfWR8+dQYOcZrB1w+w6g31a6M1Ko10t6wK+BGecq6ZOZtJib/X61jg3uhs6hv4+61568MNrN/v5DQnyW+tL+gC5YvEhI+r5P3fOdmEuzsJe5K8c2yRaNKFahQJyV8SL6w+KH+7BWAdQ3b9LzHa4A1JilGBQJCIK2OPI1HX06sNTbtQDx+ftvRfhd0rBDzS4fiahOdJo8QkWtpjpDtJbMLsUu6eymFAZj3jtP0bhOZYB7oPyVdwOIGRql1LmFOT6cgbyF7HYF3MjuF+cazyDtPiew9i8sEGTSdBg+XshC/Y4yoBN1eyGRDMIX/RWqKNNp8scwlH+45jJtOsfrNbH5deqrh+QVg9gDLBzU2UhuL1Oqt42LGT+1ZOTo7ZLYhUQCU79JqQfn46fKqOX7ZzgygGEQQ6j3iN10lemUOSjJ2M/TLO+6OHzYOkdWWI11l3n3/SPOc76bCPGoJx9mG0PUUN7t3DoSgMA+itC/Hrj6FaTAyT+dmG4pKeaC58WYcd5KCtr+af4OkplN5kZzmW5ynnpwcYtyVWiW8pAMPs/58G1V/cemXgEC5NKXP7l/Is/Pe+4GL9zlTrrdlMm2kZEFuKIQkkrcaJmF6im4aNC8XIztDiKc5JlkRUSI+8n9D1X9PZmZPAMa0DisaivMbIZP/aS+udMVKdEs88ow9lRrV4uCBZ0hbkhahOgA+LfzFQHY96UTlMhH3Bid5thWb0QfDwsdixC1Fr77uX5iAbgoQZC8GysLAJnMOirkPu75kEOpqILriLXwTU5lx+j/UX/k6qqOsjHqTqCmuwDlO10oVmhGTI6KS6ROPUAgx2SnMPSHzWI/E9LJy1gayUc1LFMESnKbB2CTnSUMSz9kYKlyRJqd1JhgIC61IqNM22PSbN5MpapTae95uUngUpwO0Ww3edDfUEl6chNcfmIjuErjP2vMiYGDqr7wqN9pjtFShovvnOZGOgStOcYgs8/qnFxKSnfgjJ8Wq4LecoUfIATY0xlb9kykZFbG8nX0RaycB9A2SKx8latqw6mRsvE4VM0sgVkgqsKD9yYw3UX6i5lI01eDt6lQwbDxEl5bcry31Wp2sK+1oZnV+ogO4rPe00pwlNIdEQlH73QDnnF0B9sMKct/EIRtwDv08OQygF2d+bY6rwBwAdabZ94F2wG1ojUnQ9S7srhCjp7ZyV6V89DLEnj429OZ5kognwgdpi+Ohzpo3Xfa/pIWloJbFRwhuhIhc9YCg7wi7c5DuQvfYgo6FEITuGBwWMTT7xUzGyVhu6SqXrCiFJXYuBtJSF/vozF//gqDu2HrHUWg0RgJOtGS47rw85Bt8Jel0MdEXmGJxa/5gQvxnV5O49UnlyqdJXRqpeZpEaiK8AsXJD0HB27HrDEWAZEffBC1zzzu4oOZ2K28DsVNAehGfAFu1zsg2n4UZP90IErHnhQLkIFZhXrqzxFxw7+t9O44ZDAcRSgVUG9cTQAMZRTHD1IG1L8nCV2MyW1a6mGADJcUMxbgwJtfqV1whOZECOW52D/SmOY4h06LuOVQaL82iSyK4nsZTuhV16kGD8rUCNALrHrwrhEDp77f2iiCN/hRPu6RU/lzfvuJPuo+a8RCNyVzbs86hSzzyqow70cmHlbZ0+35/KjojXsOdyZLFPUYRFr9aFSziXRbal+KHkbnuWjf2DYIuaC1hH+sKJ/NQIyGJC9pnmEVdWplaZMgEt9eLamjzhVuUNQW+Hp7mls5xaHr0UxErOtlRHnK7maNUR9hven5TMtAYSg5knKxVxkLW6Tmq+vQAOnhxsjxkQnF82GHyvN7+CIvDrr0vv43SvEXtF9iQLyStS5LY3XNjzsbdcz41Xz7hXvh3xzpu34xZTbn4Wi6u4AZSyZskh9G3dOnM0tZs0RRN7lAtCzv4CBbSEWP1axSgq5kzlgGIOy1dnUKn1ZcTKD6zAZqRl702ywLAiwVVDid4Dd5w5uVSNDBsxKo6XFQ1ULlieftjavwbwWzDMA5drnY2k6TJFBF2+nEfNtnkJLNuEn3CPR1YVbFuuQ7H7nD2OiVjwJKauKdNmVN/mCPx3fjrgxy96m7+o2MZ3KwykRG0Kr3RlGL57HTNRmkVYJhnfM3L/x4nhVXPphXoRsxhARJWA9YV36IvM8MDY7nTG8AIc2rjzo+JCiihGYxpXS/zIQm0XM+me+rc6UtjFmsizfSkXGdaVzaEf9kiNYkKt0chTpNfJZHF+m9vPT4cAMJQeVU59KzFqT/INK+hrd5jEQG/tWsxKhnixC3kMt1XWjEuSnTjfOS/PuYKsq2JCeADGx8L7qriTB56y3hfvnQrvHwBA8Rppemtmm/bBHLs+foM8jCu3kuYDa8S2A+Xb+Ywh3bz+YHw9FxskaaEPsfk4l07DMncIjMNPs5+xs8XAji1SFIR2bSS2RfwRsSk5ZDgVSyuKGY7PQiBCsCV/PjoYgeAA6RIGZl6dMuoi9yaNXc/ePiXtzJ3ZlxT1qDt6Jwhq/Hxo7CqMtRsfcFB8qt6llLFAvGlCNTp1NWcmxZX7CTsATQ11+pw7HowN/QjxuYylcFgwfm9dAI8o9LGx6rSfi3KG+ebO6fggTcjZ1hb06LiVeTXFQB9lQwBLe+X3fYTTvucCOR5dr6ZoVJLyfuxxfoFL5A+mkJvh+lK699KKKz+e1szP1r3T3TOVT+bqeOFilkCGuotGvKNISQRyOEK6ufbrrdqjAOALJz6xpI1jENStL+t0Ce1iYycpFrRx8WilfOWtSTD9L1cbKV1KryWzMBKJqp6faka38KtXCX924Ap+pnwRJB0l51sjesUMWYPAVWcw0UOrDrXRsfjHZShsGCkZ+SeeZubzKz8xS0i4W1MEq/oOFgncrgqVqyAYJbi7KqkU9//q3/cuWtk3OUeIFc6y3J9i6uwEVDxf/VYeqTfvz2BclGe/GoI5KChPCDcpEsOF7SQhq6xd3NoBrtz65YFp/xEZocJ4MPEjsHjeBMtM1E3j6gTv61zpm/hYDtDa35iUDPojax7Pe01AqY6wn7gCF2xdc1eNZpmeggGV060aNUqXLF4aTBk+DFcfJbP55wSN+O0EEAyxRRK/r+WMaoUAluo6nX8sb0yKX/OzWszlTc6TyqfBdD2CHjKXN1EZHWwmaNcwGYv1qhRwvptKC0VKGDOxUR0CRPYVp20UEfERM1YAIUqPsXXsMfxiZxLqQNSrAU0x6diB5+h+0bmy3bnBjCDts76Gb1SBnRC1Ymtk0alsYY3eD4daJDybGxyp85hOXKqJ0R57+lqtjYAX8fiBN5s2qmDcfbVS7ghO8S8U/gS4gl2gWfAAzlt4jb8AF+r44j6cMm26pif2dlP7CwwFjb4JcXalLpxQYFhRjxCK0SKXzQxzXm6G8YcexvhDc3JzmxP2v5dbAMG0OHatKXPVr4Tm+wBRvR8/JKPvOZOk/crVdGYIjzIQROtOG2yYROfMttrg3ZnmQE3Jp2dsNX0WIiE4c5eOoQ39xCGUWynaCNqQ+k4tuhGW4mp5ky2GMW0f2hgehSvASS8kJiqdML7SVg/T1rJv1KEhxGTGzp8KC5zbDhCK5KJ2M8GjH+X/JoSTZu1Uz/lmlYbsSOtATqvhIwrNlgX3RRSg3jTf19t6q7dIsnr0QidjDsHRpurM4LKa715IHkz0jIX5yldkt4u3I0lRYQCZYMBV510wmAX7cBx3zvFHDCX8Ol5qjBjNp0FeSGOFyb051DwAs+LXC+qXguvI6FpvumTEJ/OPnOEcA4mjQixDJkqP+fsAHHGQmtKL8F+XGweOZzJfJmr9dX0T4eDhe4vZ4Ecm9Hw1kU4oC58j0jlQG5i83cQW2l85ysaIvuhAb+yrmIiinnnz30s8+2Czn5ouqtCuI8PjUMzL9Xf+wnTsS2vmfvUZXjEvJvLVjPOopcZ2KPKGpa+u66GtooSNQA26cH7aVr+Ie3NDprSfe5GvDmtFjeL32PNNeAsgwSA4V2aBjSOrcZKblqdH2D9VAHEmzDLfjY62LBxIOAtS2VF5AgfoJZnFIi6ECAOTrPvbgo56YOvJQXy1MFirTPd7GnAjgHrbXQQaSOarbPHXEsR3HidOxW4dkOO8URvl0ZrwoGYCPv8/NHSHmZuug/2Yw1dgbxT9JTVN7jPVSAWASPOlPUsTasBQc0QtscunE5yYx6rU/GOQMbQFOC1maRLgx6nd7oPUZa9Xd0akmUT1TmBKP3Ny0cK9Qb3X2+UtkEgoms3IHTqkoqKsykp/b9Gtm/BCOjOvjyLLtyeDvomcszKmySwTJj/tXQHqTXpYLGw9sDO7j7owZ+4P3W1hxIMPRuOw+pqgeaB2/koYY0qxm5MCXUAnN+ImB8nfkDSmqFMplKeIB8DFWMihCkZ5GZniiH0WOIF7oh6pumxNIhpnQUeIb4apf6R5oT+NBV4s7vakPZY7pO5hUgDxK2T7uY9FxF0TVNg7PktClR8hNxwyyayuM5pxlCVzHxocDsLLkYKiRW4WJnv1cZWWpqwzJHHiluUssFTLXYqGVckyNabeOA0fUUMTO3EU59z4ONThEc2/nJqWvm12I0TtL/KG6ttXI6YeP/RPDhTuUKUCglAlbmXvdmsUNSaduFpbI9MT5emeVPWGypWcfgOg0d1DBiFE82iaQMpOiPLmZnaFlVINAZRY3gd4K2DyHBT814oPtPcbtec0VpRcHL5vVsUWd3sKbwK1ywpgu/qP8jwZ9qwHKwET0zXr1uEFBrWK91FPoD5k87Zwgn1yaj7EAiCO4YrCCAkqzycwv15OlGR+TmrLgUCuAYqUMYCzFaT7nQYOGeRUQgCxE/l0UBUfq44UGnzpkOddCpQw197xnG/7vtIWiIsu396REauPvIPDTFk8fSVZzUxO9kQyrFNrrsPGdmQ7NS5Zop8cZV9waURp30O4vOIbfUDZPmf6jNBqajwAtq/HrkYoxg2DMngMgObs6S09/ehJ/74c9PNxGMVN7YIYfLVx0M3IsyhhnfFFnoeyrNl515oL7horTM5tQuYg+C66qTIvUEHdZrVEtuIp4CqkAhTybIjLbG7Q0Jajm2cN6P9FIR1o1Tcrx2TS7qf7QmAtTayGIULx24CuXH/TH3N7WAIBss3Il0j2DqTh1ZWO6aikYUJaoMyy1rA18Z1acNjssz/zoDljPDZ+A7rxItCQBiHmMA+pZc3Mrr05cJFMqy6YwQq5atxS7EeUoUIvxK9hTNXy3YZKC+tXor3ukHvjP1x0G5i3+tbfFC8Y2UgEemDLVT3xbGQEQTowdHOtEyBUTaJSZwKUWV0GY5OhjGISX0nekWBpB1mFoKUWV/eS2VVNihQ5Zsaa7eZSDMiflrT88zip1ZCfiFCHTEyQPIksIufgmaqvFX7N4tL3GoFt24Jn1VOkxbjzPHw9tbKaRd4R+V2vAQbgOrkNt3rmdxb8Mhp3BWSHpxyPIpU3GjawH3KfpLZ24lScyEUnIWntBZ6+Mg97u/Y+KjoaiY9p1i30KPuVicJgUbPVqfQTEpYHXtICMtTMvYAmse17U/RevHKcXbRu98qlvqtDJ/PZyo2roi+107qPtC3HKm+oiqGSrrP3CHXF8LC3IOAyx6e8KHnipzmUak0m22m7a3Bgz4gQiNKFJyrHipy9F1ZEmiaa9vkaslWrYMtRXs+Kjr4Mxnk78Up7+RvaHbKwCpnQDaMZQRAouFdmxRdYwNQxMkNDvOgOsb06N0CtaWmfZsY6y5Mgrtb6NU+pwAQRmqTjuGaceRKimAn324QjLplv9Njrifdyulzr71oacQj9BW1Tw4Yg0YyjjR83WOfkz4xMX/XyTpNPBJKUio9ijij0zHBWqr0mvpQcXdN9XGY+HEWGKKqJTyZQTyVdr7QLf+rj5ukjDPxOARtM2A2MwlUSlFMmxRM/udsWRJKOy0xCeYuiKESpx3CXeGPO98Z/cjeelSjP3WQmMoetNcRhE4KI+0/ob5+Eh7h3rBaVgOFCgty1qTvSR3e4Xwvf8ZD+lPy8lzqoAX1andIezyQfZqzr05jUOLlYhHHr99PaJqBXpDzDszEc4in8DnOcptrH+53IyFLjWuaoIoZPtb4q7qT9IpYdsG7ExTfYMHvelrnQy2zKWtAxvRzWz3FptpEO1Y5xwYXaobVHrGEMDgHZnLJ4wJJ+gkTMbfvC3lwgsueoqukd64luzxidkW+0eOaIhErD/dAXHzNtEi7jhtIueoHRpuavNGIEs4dazPvicO5YuS+tzZHAevVt+OBsB7cE8eQPtYABRLB/PnA9OepcHl5HC3qjK0BPmeQEGudVB/6sDyQgVOL2XsFtJfHT8R05fptQ4VrDiq+QpRzq1ClUPDgs6YAf+EOsno7Xe3YdhIKs35eXP+yNBTyAqqLua7nif3URSCp19o5EYobh5dXtaPyUR2kkq53ttnwCwjEAIVD7l7zt8AwBUcQB+dwpKTJTwoWDx130B086MThHKAdoTxlYTzuQdikTSJZ5CP/nhmleOcy2WhZr3Yu4ujVj06aNWthGgZ5BM4FoWvCO+ciwLfwTT1JAQl+DMNB/y9xwR5srwdJY69ndi6KMp484IsurM+fsUrAlkwg+HbQsroYtpdftSj4cgSP7GFf0lSVW9hICOFwwki9NAaqDCvTexYMp+qoqrOqyKlY7WJmisIGb115jpnpXYy1o8i/Cc3L+9HI2aKRuAfsYEF/YIN1tDh6yyWkMAdxqauRKuLyfK16nBCIV9ioLS9g3EYHwCQyn3AzkxRHhn7PgvhVwn4nZgdD4HqgTeyeb7To25T09mDtf6LbCBX3GhMMvt2YSqx6lkUaiyw8jldrCaXdjilNsi86ZJVCLws+t0QyYb/wOMxomFo6aI1fcKyOfjSYmq7Qk31EDIRVIrSlzBZm6P7NoII5C7xfp0WTVLT4cMtS7musUXF3gKIdf7b0EFTRTQQ3Nc388jqHsjWYjTaXZ3bRg3cXRHf+iIYe+mXixr5DxyopMwFksBeGIqRR0A/pQ8Tj2UpXrwR29pGF1kmlgy2TKBg2rvqMc+lv6y2TcvbgoPBrVnObuE3RvmEPes9nmaiOa+QwGHVpip3oD5hQFMzVj0dkg/TGASW4XoJLidAWmL/GoLZ402pQanVAE8SeLdALnRTxVLDdYLkzQcDnOzN3bhmL0hF3ikXf6r0uVVsrantUtw96XqiH8xd/Zh/edwBIkzt8tTG8ijc+NvcWeu2zsfgc2vklMg0m7TIogx301ZWPFpMzVHy2hRuqUV3eIR6J1CHTBqvwR8owkXZLLNrGu7lN6iqTUfgiDm3O1lXuV1cSnbmyKeL1n6ltSzB2dNCLUL/R2oreW8KY39q/N2dP4BX2B1koDemHgwqyRKBZXXAe9KIIzJ5dYuh3XknRUfM0yNQT+3NXOyz0a03iXhCB8U8MKCWXlGYwBq8RY2Z4gXpVWtEuoX+loJoPp/CQdyHbIHpUBcT9C/Ez3Zsn05BLlw+uUjmn4SY9NgKZqqrTAXFqxwOPQF6Ma+bmmFdR7Mro1FyspdgIn3qZtsIAo2icyOHxHXYG1/gNSUaYS26cFT6qRMxFCvrw5tYfVOK5v1gDpqtAsDh8nBgzWotaeVlGlPvX+i0hDRxytqhswF3d4uF0tmnsg63Odw7ec0DvPtxVryhHN8rlBXb6UwwrtnyTIfJ5HQSwfhCXLa5gANe1bCFmI6368OVoeXhLYlP/lNQEsZBTRRPfrvIoeXzSywokfR6zLYZMIOZFr5a+kL5dEg0Ro7JlE7B0TgNPXn4Xg8Jwpa4prQfDVpWMPmYUyYJeTzeeRjOpLs2773WXTSa7xLh5c4AptJ1ydaTycmvGF7QZ4C2eUhtxzhiP76TWia7Cfi59L4C5m0Y/KuYFrWXz4bXiAxDcCvl7iTIe495nAbLSffiqifwPtnIRNv3GIabcFw1IJApldSl8NSToQRMVLIHu69Q0oDYsyGcgTQig3AUkf1AC5WFNclzpCtPJRLlh/m9W7IHjE/fvrcvWBXprLUgxAl89fO3xCR6NSAMvYRxMQCDIcRxsQouLfLkULZ0VF14B3kBl6N/HTzvXRahbAM8v4OOqZfD8ujDuHrmpWf2/LljLoqk4psoZmgOscEOeNlQBDuj7IzxiB4NN9E6t1gKnI5VWd8i1rcQpCU7N7Y1RyKGETSelB3AvNCUHmyFY+w2L3q5tVBqpeXvCJMSprBHRFCUFEkpbiId8mWGg1+QUfdgqIWX5rP1fcZiqMQGaaw5T3feAI+YpRbFST0B3QG7L9e7WqL6IVbavSSCxkDlHZ4wQXZDmpBfMtBINuvDYbJuGxf5SWfIXzHe4BBFvCG0mB3yIAlzOcSdyrXuvADFjgDueZhYX2OpbJoQrC5MvUsoUrJkwFS1opy6rQaKPv3k7vJbtx/E96fix8r1szIaLib5mV1B/bQwkd3j7r9O1TPrmfKZnp6/cHgQq8Nf5RrGqu7AkHVsZmXguUjyOYeughMT4QT4YKp35O47lpoPNiPo1EBNqpsAg5fYgFycqdPEE7Wmz8D/Cvekr1CF7ROj+PmbtxTjNH8gHATl2BAG5OgRMcL5ZwgvC9N0jHTeN45FduKH0QiRVp80QFSJVF6V0mWPAmNl3/cmPFYuwdqvPDfyFU2lj0NHzSpjrSWN3HZHNeubQO6D1ZxbbTCXDVjKi1VP7sOzg7K6kOz5I1Geed/7Mf0pWgml4f9Sv87wVGtIaYQt3AoIVqQbAbogsKPjiApjxmj602YYtx61aEgYezb32EdcHAhWHvipauGAReCxt5ZYwUVady4suGaOaKQfQw2oyIbxgOP7VczZIZKuKcBWW/OKnCLLztGnH2AQJkDCrZRGx6Qmp6+aDvxL9BSFCcVDzJh3puUr3oeMfXmPmPAI3JDFSrnrhwIHJRdi6YlH305aHT9d/Hxs54yZ0+DXVbN3OWbly0+dJPwDPDQg5GJ2BjGYIPFsX7f9aETLYmwb4LZc0+Q35i9FWCDSpKQWiCYNdAKSGsXxPTucS19YoVGkpAzX9CRSdnCk37q76W0zy+WzB3ZdCF4cZRyNcfpDUCAZj93rx3y5NtFzfv8TyvXOTSY9QOwo0l0W9ff2uwP5ca0MOVpTTuy9OKS/zFAaeQBz6mgmMuqnnzIqaBIH5gczZzo+lTN8byvlnTsc9O/wJij6G/F5MdUjaaG1uuVz/THEPAIzDmWJ/ZjjiPV26HcialDfo2dr3sgxudttZPwzET4VSelyqXy6f8SqoqKhHa8GyUjdaIjXOU6Q/7Ovq8yRnGTRar8If6kWo87RLvMYbqN71eIRY07UMrsDsyTBZLiGBo3jt9ibeB2TOQOd2Lsntqbj8j5yMftTxfkKQ1jTiWXv+qZz6MNPSeRoOjRTYx/DDVYVH76sNvh/nYu2wey2k+Xe7GGyqXpiebCXMBUnoOAEL5icksd9B+4UV1JzjYwXBnuRjHnVvts9hBQX9N1vHNFEV3+yT6HTTrZE9oPuGPYwr+NCLrY33JPyAzVSfU8gokFwNL6/3d4HDcm2buoLhcTxs+KqnNAbWOD51Vp4/g7N3dy3IDJBxAgH6rnbIfBo/Q47c6xIGxlaR2DPrmDc3dG8Duqv0Fs7q+Iq/LHhqqOVTzMfrx5UtP2V8GdGZeNMf19lqeqvrzN+/aJj1fph5TFXtCLKfTTQAC3jytbaUl482DZX9o1D/02omji3wGbsxFl4z28ymU61Yks1Fp4DHZB48lWdhtC64hOLgXOZinVmlopI4k1r3+zUr4smktnl04GnxdieMlb5RYc2Lsnz5VkiHn0vpqnKYRu3qd439sW8qYQQqyogYrio5rDZiqdanioiwFjPItfQhQP4y7xMBncWs2HkmISGWAUFLJxzFcNFXkHR3Qavf5yagGuBomCt8ThNVPHSWiCG3xAVXw0jOAFpEa3RkIxJd3o2b6jgpLCnIuEntTEGbYBQzdvtPpmBO3NikWf3rCUktnfjyIQTktbFpwgT83sFp0ASD6RdG3RPmxh3OyMJbwaWTivmuDtfV+M+Rb2pxz797RcEpufCKcHh4v9wUEpA0F556kgeM3JqIF4a95vmgF/K+B34bERQemuZJI5gz5ZIY1JPEdDxJrtuVc7GJeW8t7CyYop/Tz5pEQEicl1wRQARp03tu4DF89yYYLLB+hgz7CAKAlINWJdzuWRvOE2ayzhdTzzX1z1Mj9SQHgi2TetxJlhLGuS5rtxjRLEqdmjLKUmlCubgnRHXHvTuZfnm3cm16Mi1BhHur3snykWRi9oBqs902w7tXBS2EGzw31hF/nLcdNyV5WWuGKUViYaW6Yel/tSHzGTb1BgajDGxke7N2BLsbj60di1u2VTPX2/FihWBKnNL7c/X724vE6PNv6h1jXIGxuEjQZM/m/7YT/usdPkLK7om6ItlIHmSoq/VzQt6CV2g4d/141u+8LITRfZQVWJQxVsLTI3ckxfa/iAbyw9e8zg1jtNqXfjFqCPn8DU9rG4D1LZ/kwlSTmuz0rynJ1+nlGQyi7c5S/LSzzvZyNTZzw/qKltZSaizynSCuqObEtg4D9rF00nmifK7bBoFUM8Xwq2iIWWdJnyjKiglNuT3+7wt1f1QjcaqVipqGNqk9ulhuiktFxzq3W5+a9LBziWtH5kWSV7dpFCaI5N4DFSY1qqhq8cZVGFMb28xjMr/Thk/fVL5gkbv7/3q52nWI3cIAGmnWhzOTyvQ0WeoM3uuiDYh7ghQqHMkOzVHxjm3R7pIW2E6XrvcfwyGp7pjuhnmwKmRhuh14GHZrnJ0BCTenY+lYzGKf+R5EwDYtWADCbUvNGjarWQduaUgarDYTCprGEYuG/DJ+jcB+vLBoSQ5YsZlV+dc8G7YkOv8mEUaB/fQXYkgDch6eRuqRFnQR1tTngSlelTl4KPMudJueWkimQgE25sycTAVThWvSLQXZmmWehAuOhBtWbMCI/of037geT7W7zllKzT0ak4v7I6dlHUbRbO8ILP9E1RbDbiJOfjRsgVCqFoY8nYezzhHBpe1w+hxJrCqIyqLjENTPfItaPU5NO7MRxy2YFsDFAdZ0R6M3UE0YwvnrwK5M93vl5lOxizqYWsS04B7CzK9AOf8XuqCPhnCVUcz6Mko8BhxvQXbuMb6uiXxwc1Uf3sP7a0oCeg3Jb4OuokT4NuoSg2ms/Ih39MMzObEvMrW0o3LXGSHu2EhIJrs3ayIeKYgG3mtPHTkUQBBH9uVmfv12LUAGrhvmFaQiYuwIyJje0FGemlWk07AapMZ+rCg2HQmV/jfhpdU6VI7pnvZ2UGUo2or4nheDNB5OREehmi+/ot69ZWmSYiK4WmfSV9encEcDFKyUI+U1b6kTt9APTK0pDhudp7KBgpyfPtajfLy/1McNejM6VQrIOkxTDWp95SOybfDaE2dJjy6EQxVD5vGr80xjCY/I8uV2UjW0H2sbHtugjHp4WQBPCmrd9JNtdGMpn9j6zLmbvOxdhxs/uKAQWGvACemU0IyO/QwrQOMsFjEIoW7SoAsPWs4ewwRHkqtjOWHD4bqiCIoZfs9meb+uUrjOTR8YiLiUpjKCH75NvDlE7s0LLOkqzIfak2TgsjKq/zePNxQm6gyUPqFdzq4fblbV6z38etg8BjN/bT62n/lZrsvW/UEihMcbAZ84fwFrT51F8H/+KTW77WG22MgwbvFJ1S1SA9jc2GvJvJNYu4PPwq/hULOj0Ok0p9uPQwGnniFKgKikWTINhWZlpThTXTDB7nk9tBeGeWjyFhswj91MfeJJapidIxO8DjPsU1xqp8QOtUZO2dbMDD5RykBBprTlxhBpTSgHuIC7VPfAAvnGlZVeC1PQQeOvt7M3TmeU92egAgSFZEewXDoCqiw0WNGuNzgUk+3td/o8C9g182wekZ3FSEEFcTNjvVjWkeCVlU1aMIm7acczF7RevS8dUXZnza9DvYzKeD5um7DLbxjIIcWaR1nDrLOGoZFXrzHuTXHY7m1c2n5PRgXxjmaeLRGYgjBviGZ7JTt/C36p9Q7HS8Z+dFUxUoTr9lwkwGkACHCoIbAc7bhIgtwNpaYNx3k+7hKzfBH9TycXjbVA6siVcbxnqc7KBhg2gayZxGLsgjngVZAuA4Q9KYWCR1b38pGPDv+gPpJnoFGIusIHHHf/P0n9P2pH/ZL6/gKOK/Ls5j/SIk96lan3YSrHTyjlbhEpzugadNcW0g1FBoQtSNboUm5MGH9KsStOhqijZwNrckcAF3Uq6kr1iDFJbKJYfe5cC12vIy+ypswKONWiIQRuPiaZnFNtCY4S80YLuOnKtI7lYDSHWBqa+or9FZ80EKO/1G6A4fFTrMCxjzFy52zrvDC2uqCT5j02x6MyE5GKZU8BMe1ac9yJ/iRyMd0y80vD5shv/VwdXMaBejxqd3eyAQbwhyZedVURHmOSMUD0pnMMkksAhtqB6Ek/frdpeNACZu2hd8Dgr69lMToWdeynaevAJmjv5xE+bMfze88qUHb5ZkVKR1mHyCsrf3d9aI4VNYWvwXt6yTFoI6Dzq/NMA0mvLfKbvA7F0Jy/qjc/vxCJVSpWtztSY6z5s//2wm6b9xit+LyeJ+6aUj2LTeeNhbb70fwaXvA7B/n52pBuWSOQqznjKxrIjVpsTks7xQli3og69JEMTbETg5g8u9Gs/2rk2akvp36fEYx825+pdYnivJlxtDN7aGHrjxqZyjlLUSlKF6c4pMWTn+ItsrWsrypqnu58eI0YFV5KPffotTuvw3rkTsZQv5jIMe0bTXaUatmtPRJrtMEczjJS45125J/yq44w0rEc7sXXZO5RGi6V3rWxtwM9FZhg3H58iasExlTfELLmnCZaddsuQzxsAOY/SKAgmOtdJUEoIcjeAfW5I/JND3vJQEaqpXWiJz/C4iIIsTnS1kL/+PdEqHb5KBjKNUXe6c/KFMafAX8fVo1vQlJxvSuv5eDLvWCFvYvxgCo6bSsQwbb+5D8u50E47QjiMKUsBQ1fbkjX38TRWTTlrCSYu0cuIz0CF7KDawKX3tiTG4ZWzip4SE9murzCgUzwoEyULMq+xgAK9ZiMtyPVqMkDNqhcCQDE9NUwhb4HxM/6EzzwVhotxllydv7VODkpG55CAjwwJ7ToBnjuGG4WUV8waXuyXfPhBKxuSuADF9MJFP9TGIIC9tETvJI1PUDxL8uE5q9iwcnI4XrftEwQ0xXR8sdCGc2V6/Ks4vDT09VgrwGjyYnJO4yMznpu0jo6ivGRQ3n4H2s9JVsqZ1XzxeRMfcMFSgo2OpBRWP4OJ4Bzg4By37qbIRL7W9TsFKwqDxagGnyXokRuX/UycjvMkGzr+UqpxXcFHbLS5BGx2muDKcrsm9fUGYiyXnfis5z4BgpnX8DDx6sZzTvbGuiSjSS7kp/aLxAYFlR8FT2o+ZdMhzz//YGKJcM7/QTIym6nl/973P/RO7SAdJqWZ2FTDNNh8JvexHRejnlM1t9C/ozU51bUTXtDo4aHz5wkyxLx/BaMsTrTGwsouCVCOSXCk/DE8lpy877kvbxwPiaAMbbsOwmAkNmRn2+x3b8dzKKczA7cm55CMa3OrJAm1TYBdkQXw3w18RPwoN9yGYvuB7tQlLk3k9KHBbwGyplQxMCuY2C7dj358xcODzGX0c1hnuGxAk5T6achsP0L2BuXJnUJ0C0iX5F9hyPdfpG760gXE2bH0WAQob/ziwN8S8B9GPDBI+3MoM6CuWzzp4/ob+w8YAbxuq1v2gwVXQgUnXfxOqW00G938FSxJ1jBfuHFQjCCO/J079uexB6B7NQ014kuSGYXPCnYjgaShPTl/KaV+ifPDM0V2j0fuYZPj2sGqrN2hXjkq4rkkJsYV7sxqm+V/cedJbQ0zS/WDjSpwG8WJkHTrOu5SCXtqE8wNEF6LKCCZLfTKl8tkCl6ZVexesb23Ll44oyoFmQ82Y+EWpDMCKGHZvxoYpoOQvYr3jJaCOcvBcpsJDJ2MN8Z9mEk5v/LMBzL7zV3HDoQYLR/WkU0E6NsKdqSVGWXKwoRdchJKIPoae3IMcVEXZEqmPb/r1LZ2YRgg05kdwRBJ5XJ6IFBa3Fo+JAtLYWTm2aTXDaYq7MGaF1NTR4UfGekbAk+PfxsCS+uD4DP0eGTFLGHKcwGzIO9BXXijIINgcOKkX69olFthDMRiQG/zg5QCJrn8h12jD2zDUD9ThBs65xrvWQ6l2po+7ioAIMztHaUfAZIGvIz5ohr9jlUGYApxGJwnN20EUXeVElFjL8qCh3WHEPj4S4k+YYOVqwo8FKaEGh2V4jZ3ujW0xXmZkVuVc/7622iHCJPWTLj3qenfjBcG+OTxn8JbhFeh15ctrPcM4e/k50sBmZRzFseOZNQPWhu692eBENnnJgqzmSqwd+uMaGznQEKEZCbY5+b3VxkoRRC6N+U7oNUyYlYc6fI9uRXS/dfFjpZSvTPZ+FzY7w+8BaHdthe7+pPf0iLcX/dEqXSAHtUn2wS60aoOYn5iPv2Sq/chU9k48Xh6tmOkMJViTsJeV8EWpHM3NHT0ttvKCTzXjdbjf9NM200pOcpWsd8TpcJU+s7sNiU7MkxSBcqT9mTl79pqUXFiLCuG6fkD3zi9TFP/XulLeE0MnXoUOxZppL0rMGw0yWb0jOMexA+OVxSabd6WIhhuOeX6TYW+y4tc/OqSD/D2kJ0ZaUwDq5E/N28Go1xQrc5U9DvYqZ5nL6zFcaMznTSpVlSgAQsJjRVCXTztB4Mg8Ku/7E7FSYGJUB0+zq2PN527MAzGKwCRPMPaxRFapBt2GM6fdQdHy9/v7OUaaslVkaNHIslj/miyoKv7z20xSJFM9wfnDxrXJvQd+GICCPJ80++z/joB19AJ73gxBa9IsFrFo90XnFb/VDvpK0stZMQrXP+8mkF+QhUPRND7GE5XcxY3BsdhXAz8hbZo8tvQYbf1G41ZfkYlUxNSOb3txg8n6kCxqffoa0O05rN6JsWeaO4lxYwRgMNYk9qAn9Dq+e2x5O7gszr0m0CU/0EdmFHGFEGtOzW8xBLVXd8rzXPqSUTV+KNJT8KVflAAbXbyJqRHUfBI8ZZIGokjJUBZMPiMb/OddNzRaytGIuf72aK18fiBIbN+g6Q5bI0pGRqxC03n+CUS8Y5FvSxwg1WJKKhucP/LZkQQVF/VLSI0jMrnStq/yjbJUKjO7wEDiZbRwXKw+jSEnZQLso4Fi3Y8ZlzIkSyvLheATLlNNaj0c6fkWbP42pbucfLHSh5GONWUmg7DFUle4z5Xa5n5YgQ+eb6Qki7peT6SEok7+Zu6msG5GunzbWeVENS1G26xioQB8GSt8L2DJQB6OhH14ZMsn1B+oqR10APfsmpaFBnT/aHYCkyFJuXBYPwkXNvxVTwVZxDNmJE/mHFXmUFOztIYmDzd1Q3vq/Fq6RKuNMH8SrCOJb5vlW4MFyK+nrGw3tniuHlxSFd/hosVu1nBrRHdIk7b50BXWdjC4zWQB6J4dYLKCY/a6RVfgsflAASLBX+QB8pugqBXFYt9zVx/rVzVMjs+H/ivjZoY5a6Tp8OTalQiB9/hl8P3uydQP8a/P94IdtxmiBbkYiYnVIdmrZBVS9DPO9ywXYYs0bu8i+++CFGEfUlNFTUqCm41daOALrd453lVPrvq26PT8KuW89nFCt2KcpikxDEjsPnDiwn3PVsYEZElvw3kuw1hFzm7+fgr+5enAZX/k9lvtYk4VlLzCr+FzgQFBjbClO5egG9cqS8vGPYpQGK1B7zN1epz200dYbpX64qQX2xnIRqPlA28rVZvjunt8ivoziHOKXdJZY/RVEAwqrdPQ84bad6RGGVd+GGQZMpDkyzyC623G7HwSwWpXWIY+mXDJn9m4oquY2opfcMBZW7pcBWb1gSuA7M4OrSainWpcQS4TPHKRjjh2RmHT1d/v2gtn0s2E22Bi1mBegNfppXpKaACMCju6PEgMDqOvcEg7txODEKuUoU14Dd/e196LV7eZ1wi9S/qDYzwz+Pb0CQhTgwTonnVn1FD6LplB53XJinSb7nljw2wS4+N9TWRnHD/DRSfv+cAr6UnLbo0zqNopMQYRth65fkWoU+iMiEo5EJFIwSKA6a5gDFD7wPB+dcNqludzEl4phPV+C5vkFg18Wz1JtvxpO9QeMXaQI6EkVdOVoHswtoVnZA7AoT4hEHo/GiaJl9utHuvW6+F5PnITRGDLwxWqixZeDmRKY/Yqe7x1QBYSoWS4Y4OH5usgb6e1K7JdEtETBjjXglNwDjXNWkoVAg2xX35MpC7eDA5vSbYEwiCt+0GvLf+Wbqn+KMiNES5+ukcShoA6/9sl3NnZUU+sbXxDxR8M2tJR6AXGbeLlCbQfF5hCZdNuuLHNTJDRHYL7xJKW5Ek7s+hzCaSHTO1Wh52wTetF9GUigVIBi73XrnoOpLyj4Cp8ylck5xgJo8kX0c6gsEOAClLjqzfobOCnx+ZQS4zKbJi/hqakSAx8yEGcdJEkig7DofSRI/fCLeI9Yu1xBHgXalMIksKAY4FoxnPXcjOJknV8T45AZqPOQ5pEGG6nldQhTk80p8EQhViGT4bFQJ0G7sHtGQZvsNAs0tE15s7BAB3EcUplSrAksF/q7/5yIL1ATF/Onn1KK+QNIsqDxChIOhMAhEbEhc2MEhDXUfU9Z12Qq4/9+bmITGMA5q5J9Xft3DsyrQv/lPjZB0EhTxp2A62QgtA1/sqfT4uvebO4dqrkk+v7Tniyu+pBZAYEbfIXfwbrpjwSiCjNwWkVNKylg3Lr7TJHyfySN9DB2CJpFNJ6JB4QIywZOO7cWMOKcUPXCYRHr99AmZFra6g1EDReZ2epKk3/qQtmJmMK0xgmCNTeA6i22RqeSuLMjzD9eDrJduYCVKylTuGUFUoRcC6PSh54JyR+I6vOCbSm5OvZnogar3kNkm7MInn0qmcNVI8wMtQSFTnUNzU4IgNHddm/DzvTstS/ctMOEAR7hQFepxx0hxuP3qOVZPnJDcM2Euf+5DgEtpSE6b4WyGiVXAJL+HNujQX85ZKT6bw71vd/664JiOFktb2PpQK3QKJeb2C3aEgiOxLxCfIeKedCVdeOhXS+pg59owcIvl61RHWTnWznI2PNNlkE1c8etKIPduZgX8lP/8wjvqt9Utga6eL6hTlWdX94lhDJIgfzS/uZkReuStH1NKgENSIO6H4RI+kIdPY288hLPVw1vz+/XZ3bPlVF6pcqTBhXTziAVV/cdxSHwjXTGh7274mbcCpFBjTi0z5hwdzc6oihqaEVBJFl46hHwjiR0edTA2RC4x7YL4UPF1gsJcag935yeUFBOtZlB3yD+VWl2GgUi8vd0FD+kqElWAxmovs3Ot/TeSyxcAAFuRoh9UX/MpUZHwPR5DPmSmtv8Z0rz1hfFkC//OpXuG9f89Rz/yqNL3my5rCVrLHiVsawIiIgfPrWHtgEJcjMjJYpmGr9641yoBdcwwqQevqgG1HCJ1PEG/Mtdm2vJwEBnkVnr4OTGhY8u9J911yZRVigDBle73zCwsPdssP6Gom5iX0ESwlwZLjqx9KDoR0oLez+e6dtRgWbn37xZ64KuIFQ2Bg33hNcuWKyaD8WUHbvewliOsqFIN2VrgLabauZbUti904fyxytaE9/5kPZ+97tY1kEtbOzLsxASkfdV+iZ65M+I2oamBbFvimOV4PoII0YvAs1H7iRvaix9yY5OR3BIjZVGRQvYJfOP1Ly4G0mm8ZEUsc47bvxZYOx/cacRAQC8PNHqDOa08loUM2pDvw25/zKSY/aqyWeMqf2/ZE1/darn8O/pXnCdhdYKJAb3knBrqhmfhN951LfAE87h+4UVjyL3pHOzyaEtIADlLLBbDa3EP5+OyOJY1BMP7ZzV5vi8Qj1ci8lr/lGal2Ttlfmopg0ROuLkzYdM31IDCU0yiu3xiwkDs2HRpE8uT29I0csj/iui04IOMYXItFISnMrEontGEJ13q+LOAtZqthkeGS7GVUqyJz34KhHR+9yaClvKqUmsVsXyYVHDYTKqRTDaf6dgr2bCiebDw6KAuVUjJQdoqI33+vZAAOq/h1l26mAmWFqBjum5J8tGU/bu5FDi05x0RU2sjNGCug4z7GoV4Vfpu12ysk0sUUJvjuC9uls0HQj664gBkLKUFOyU6Map8iaBHgZ5JtW4sVUMK59lCw53Gt03eaUWBdyDa9ImeApXh+t8Gv3WVjlfwv+9e3quCHbxxexws7O8R9GBYKeSGboanmVPS0J6kPU45Xq5cvVbDeVlUjMQCegRc1cqUVNM28ljqNVckDUyL/ixvU+7jwE+TJzDHABGPmsBgtqeO9FxjO6SDqJ6OIvn5oyUwkDghoJqEToaWyh/lcYcts4N75p3ghmBNO4wOXXKDmp7axPayyvj2rzVE/fESHcIlUVSICD/Eut64yK2F9fNgoppYZRp/ahgMlPel3DiSOp5TUydk+qovvIsLI7Beb9JXZwuf6mAipE2qN/REhTbwPtQD4UK0q4HX1lnF2yx6X7uolIV16SvzOCt8hK7lf/ClfwrNSSvm0SCvaizx4RXUCKVWYqhWEHftAkg2IXenQz6Je7zJxZvV3FWICLmWbjwkIRRPkinrjd4sYZOuFp+72FpOWNrkVCaU1lqmKCn938xKQoJVKmHHHZDW94fBWiqOnHmA3r0FWJmc5OPuG6Rh6CDxDxIyGsmJ8QmbX624H2nYO7VCMaciuGDy50SPgisTlW4+kgfF3qrDocERpBSW6pO2JLTtinUu6o7UhtsDCq6JTaOvADXzDbP0sxo1O0mh0qLMEGCESw01mC07t8gUR3k7M43avxXTaWE+34evDYSQYenOdS4IKbSHTVydeOAZw+bT5o00rWHGGmNIltpfxSBczFVAHpa1tK0xKlppxQUrAwQyHlWU/+jvW9mWz2eXINif0jIYtnrBYQ4a9WC9uVGfJdxMEJD/iTSxAnLXZadGjiKQKbLhco7vlWhmnrm9+07x782BpdyCQ4BzojteF+p35E7k2N1FQut4kBgfT3RpHaWpZDFf/d4r6aRgZ6aOicF/Cbo6eRe+gIRKXMNVNyoJj6uxVp6qGKRio5n9DDyOQJjeNo+JikbocQzTO6gO4KDGlQfP+0AOVc0r5e46orZ3a5vy70nD1fIyf6no//JYdsi7lK7SUQxWBSFwNFZG55nQ9TrtYP0ZFfX24eWk3sNZEPlV0CFPDN8yNiuxqj5leI5vnGzXMlG+ZMu/OZNJlRFzUwckyz+5UmwMfuCP3mSjI/AMLMsGAt02Qxofmt2pyN9YSclIqaWQI+jDlwpTFnZiQDbJMkgpbaNxheTz/IRgo+bCWBzeT9ga9uXHuSM4UA4vTuXiFX3Vc+CP62H8QnOfW3ZIgETIfpJR6wB/U1/EiKa7R99F+xjJajkeyCrbjAtUv7RCztRV+ZHgV/JX+w2a6/OGvxlLzEsQZv+9+cCBNu60VEVjXbN7+nhN+HbBXi3bFM85S2aJ0twR3zz4LvlAJAGAKCRqsSMnrWapZfDx/kw4Qga2IqU0SHqCoomLRCknbTgVsdbtGi1VnmZtfT9eERF35f9Q2SR0SZr22t+RaHzyZKZo8P6NP/1aXmDpJOQB30cUQZZNXhNKM4fejtbT38piAvWMIFBkVDm/clUz2Nv8srngENtlgZIYONIYQLmcHgTEZWiLIcnKF+ln2LKqqZhTpu+/XoruBY3ZFbfxX0bSNIeInkou1CWmOeIww9Novbj5gBA94UfKEMHVt+qUykEthv6DTt7X9LCL7qT+ATjzzZAK5EMW3QrgQReUuSwOSs9aEnMRqgq0pf+0lAYbe2+Ge6ZO7INLUIQqGKgrcH5mFx+ge6BlB9vUINeHslB4tNpuf6VwAqskc6bJPalwOdTB4e37zOdBRd2NWNendSrBVskgiMRpMe4XZkp1aYm3ztfbr0MlxrY1DTQQPsjZdzQKiR2h9k/J9YTo88ohLky/GjFtNAqQPc/UpecWrNfeDx5LTXXvOreiWY87qeDXCnKTZ7hgvyzVbGK7dhbATNLejHRBAosQxGNYZOfwCiEkJwusD3jHmZ5WuHp1rzxR8FpQifW6Q6vRiucvBGpAPMCqCojLy9oImPzT1A30humw68PMcX3W4TklUdOupkr9spW+388HOYwzx01oqNTn2YJOwfswRjjjtpAHrIW2jrREYOmYyMC/5mJAohvL8UXAUdR4XMrbl58UGL/px5qHCzqwwip5DQewrxgtPvCO0lWwWw1i4qfOjlCP2+JVcGKMWUuawguW0nylq0LLC1a31CZUN0lFeLUoCJgtoH87WTDyeeULU5a43xgJXCKIrkVELVIQ26zpTK8OvsAHcqKu51c8LXOVM4uWnDOC39UgUeF94UyX0hpdIiafcKUtaGLPeAWSjNsDq5fEE+EUvuIG6ijg++EVaf8ikSm3ZD1eXIaiTQ27SpbYLATNmEByiphzkCsHHh830qr5jmikRTRpBZcY1eS5t1VBlIBnHsTJVR+6k0qhOMp8tnRmiU43E7iXbOoNvcsWdWdL0nuXCB0nclFQKrINDMJGLJhqGrW0TZJZdVHV4qU47a7h9hgTvxSeqqQoqwH2rUQeRYeYnYs6pD/hbv1bPbPUN6JylpgjE32AJuYgfJTnUocCNhX6exvE25tI6kmvU/OCtdFskqypCUhSpaxbspMuCjyo0ohuosz0y8AiSps5VrJ4NcQkCrIzZwl4KXqjQL4cd95xfYzbAbsNOcB+qCXoeutZOUoH1poWIvKo0eG5E/z4+VqhZmIoz9QvWj2AMKz5GsOiAQ3Vvs/1rF8O4QaAjzl3nIOI2e0/Yr9KN6oex+FfbrNgPo0zeE00F9b/5zOHxbZzgI60uEj8nKvZCPTsdyyVh/G4c3fSO1uRp4L8K1AMj2IRQBK0DanizlYpR1CxSXVlqHn4gCdogUDhlOUlCaOlW/eTn+ta3tWBB6j9ihk5Sr4YSl4NFW9Y5Z/j5YVAYK42CE1GuOTmEzLfd7hQa6yuFC1thT+t1G8O/7MQ2l8pJMj+iiyzq6qvrPVReeKJbaS3bvI//gVfeoJYWO9re1Yob+igvYdQoZxTwgtPzawXQBi9jgubvchbARySpksQ5Pwuf2/mWD0ACncaB5ugXvUKPNN4ZoCc9avY8LRN8EMydYv9hVOkpw6ApD4svs18cbNXdjVj1bXyMggZbde+IJW7wnj8N1VTy75O7F1gbixsESwDtQTdrWl/rYYpTddJlyTBml+sLolLcesNQ5PTtwcm3UZ3fj+mQnBUfPkNWPyh1hipg18bo0IvSZzW7fkSJ/jX3T4g7CLLtRnMNMOp3G/NRq84QoGcqA5X1vxROUE/j95Qpafoe3uQGd54FJPWlob0hjJ+X546VZ5t+q1Ofl0Bwianu+ZP5GF+fx2QTNvArnW+xYb3pRBz+j0HtMahZ3xOpqb/acQZtARccTaEMaQl3SxlCJYffnALErAdA0ZqCjEOfYxJDlZkqVw26IxWDW4qCnTjZIU/i2fwMbZMTesDyq+JQhlt5HsoBnmJrMCSxN4KhRbFWIBcT4DHk425DSTHW4JleHA5C2iwh7WHAbdhbDpX81xL3zAYsYjztyn6AGJErgxOPej4miCFPnb1KAr9moOG0JivFfj4okGwZpZ1/fQ5F/yVyKg05+fQEsrc2tXRT8Q/zsPIEyiPpKcs6spLytY0qa/2rotQm/iedsYmqoFfJpjuw01JL8qEwYLCgwdd/vTKszpI/YBP4po4UZdrQ5cZPnv77rjoxcYVVQd6AurYpyRrqY05HVX61VBgdWyaKXkhb/5DXnYeLvZReekEW9Cj12UHsuhityHZhfZhY/wsXKhzU9UnV3zXVIH+Dgva2z9U3O4FrYmGrorWj4lQA5EvgNU5Uy61DaHIPZ/dCOhEdaNmq+ct7x1VR+LRYHK8Xizg3sB8uQGA5Ji32Tci5Oizcu6Ue0NT2SKi8yfgiwNIrrF0Ks5G9skx9Xp2hDpwazcc5VUOa7fFCtsTkfR9DmAcjZTyBbvwS7L43SodBaYxdtwrIrm0uiKx00WvVcR3nUGuCWeYVEusyiksOa1xWWq0JtHe0Ja1Y8x3fzN1644ZU0NT5rmuZEqTvqlmH4aBN2yMdgmMu9qqmVs5ujv491anTHblraJIo7TCSw6ieCl/eUCD8CIl62nWCMx78ai4mum1Zd7DK4vpUnVZiyzfvH+80wsdJVww2wAY5gi+w/pU4Z9uLbRec6+RizQeyMhoj4aPFhFSSQWkStbh3eLK1nXSV+YxyvEfr0370xXt4Am0KShUY/ZU3i1L+grzlr4MLii+Z0zbRhZU/zqpTynE/D/kNcCGMIwSxyyWvw+F4Q2zCcChiA/jAXxFwXx2dOIm24WYSHIJ6ive1d/CaotGsv3IUepZpYq91sMOrrhYQjpLJXhqRer/GlSbCruRHJsoJX5bVghN1ZZU/tKLIc1b9hmHe2TKH5Bq07pGjHHa9Cv4Y80D5VyApEiKvhSVr18S+jn9EPEqC28Hm8hBf6MOHgFHWKw/+r7Tg8HKSakDxU6NOjpvWy3CZ76aIiiBR3azfpGf8OKy83l/bXCEINxIUeMrc8q5jnp2G+4gIIlK1ZJwOv+J4GJ+GO0gK3Cs0mBQZHSi5cg6+NmDBGD+aR3AmeuCvtihiffXN9htErVTLamt7SisE5RIGkCInTE4DRr6ueSzzPLzYs1rB/ygE2LfatDmVNnXCeT4oxldlZiDTTKKIS3IhZLGehGu7TCMoyEN1Vp4qp/qqAkNN8F3FRhk8xpJFVnHHHh7b1na6jxyOjZ1wFHzEb2WD4peWtWj3rJBTlbJice82vR+m8VrgOIPDKSsUyoWMyortzy63RXZvuj4KEJmlCp5nJSjdIhxVD/iSKar2yKYyZNoh4x1+IH/utpU+HhjrzzZY0ENENFaZYpIH3e09CE+MBn8+Tizc1n6/cV2B3atBp4Eeo0gCir7ujJBb930CLP/c+3qzlXndmk7SSfp0Rg8JjgPlRZXTi1L552slcUO0av3gpymQM7/sU3ja3anlMDA10dxirTKGsvUd/D6ba4XxyhooKgOP5+lNGFhiC9WoxJibBBD4q0TsB73fO5r0rZLJ66FjR/44NkoHqFuFFAPsQUuvHQJz+izGGzb08egC7TmWNy4f5/2kE/yy+0fFtdBfLZyRYHrNrGG9MlTfiaKXvW1P1toCbFQx+rw9h6S7+SC+2/hiDJf54JLZs5wFdIisqUjKghN3WYfMQA5RsSwaXdu7UUFy7pjR5a0PC1RXknLrwZFxnrsnHNVtr2Y1gOGP/Zsunbr0/tleyGFcWuFxbOZVJsH8usKvaRZCKlmryoWtKTNaLlCSR9LAwAgZgBSljpFkcNDjs4QT5earDxW1B9G6dMQAiUyHeGuz2s93IrfHIup4YYPGlv7V2lG3HNuXLoox3OOEviLZOu/TUh98nTRLQxbd0HjaFPbPIjiXywvTXhHTgeeq8hv/RgOlXgNulI3hcgFH/6cqOE1DSb6x66HPr3IeqS1+B9v9AHfXX+g3TxGwzDL7/xusINc6FusakJUbtOI15umsFd1laNfwtLxI0igTRHC9UmS3Bnjj/IgDCoMk5xr2v2xZ65AOHcHjUCYOlmcOoHTxieSxJBGCr9skPCRzCIFQ/Cb/vDCIt5Kkh2dEiTlPL0r26seGSH3x2hQuqQWm2783k02bD1DA3sA0FdfYoFEqzHdQVHVj+9+HDYBPUzbLVKXz+dpOL7cS6QeKgPdkmTBtWy/OncMwnwENZMTLD026NtE4plddNHeSd1JreYjBZFmuD2jpiR28rgKOI7SOndYnccI8QmIzPF2jSdSAlC2VGMtlJB2dw6RBPFXsHLD7jcCtrjGb/FBQoHw2akEnueVlrVIT1i0JhJ8IleV1mO0BX02qUbZ8Pxltnjg5eqDLkAZglLnP1AT9I44yEqhH7Haj7Z8YbYnSOe0NJz+DFbvuh/kLGiL3nxsTKmofAfpWqhlz16WFtc1g5BxVXHy2sDxIY4gD30rcDm9VGVAR0AuHaWHORWlQeGl2EBSVD/rVg9U5FELh1sod0T1zH4l7bu9zslEHMPv8OUTBLUprXdLwq2mDHI0r7jpyP4ULHsxUawACAZk1lxlCfEJQXXl7lWT2POZVNp09thODkp2/hSPANm75pUEAFkwymN4TlFPQ6xqzBOROWJJW66/VyVxASkbNculuKcin2txJJbF9UyR3e+ufNEr1inHCS7MxOFez76PuQYrDq45CFXPJjyjb08YC6d0x+tXY8Z0VeFD4Smat39b1vrK6PE1eq7c3imzh1Z0/sHiz+HQ7b2DtPt8cmHYHPwz+t81uea">
            <a:extLst>
              <a:ext uri="{FF2B5EF4-FFF2-40B4-BE49-F238E27FC236}">
                <a16:creationId xmlns:a16="http://schemas.microsoft.com/office/drawing/2014/main" id="{5EFEFCE0-0863-414C-8853-19B6993F33B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93304" y="3966500"/>
            <a:ext cx="2628221" cy="2317611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6" name="Retângulo 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pSkDynK6yE+QMFSKLqQ+Z5VwHawRQlii6kxGv+lJnXUScs4rwcWpqLVti39ssHBQYKKjSIjsgfvyn43eJhyl6houPDd6cqc6czqqwHXCb2OtT6iFRa3dg5kypl7tqlO6Rz5xFvufwIExuXFFDH68tTqR5SCu7JwoxhvvRTvn/0E3oPQLao4xv6SVRKP5YHVYdhCVHbPPqiw1eu+05ckhIx7WT8YH0QA0lc5YIk3P96xDhT6D76BN1ZldHlIYI947Lut4BxvEU1G0bp2HYhuBmtvMPWmZnpyZfhWP/ec490ft5GKIiD1Qz61uCF4g1ux0nveJb64eLc9KqxQwEz+6lHQSODSSBWnwX3Aw1+Ezu+ZqeNH5YfyqPTtydTWRHyW5vCZRZPO8WpzQOdb+QXJQd0jD5hHz1lk5cKEjg+RW+werXbzba0bNn0wgFRDdUrxP0lI/AhFcjGDlVCFpw355p/6hVlEM0Jg0cZimHjyBJDTrFMv8/lm+Epg7wNyGh3de74cQXcbeB69ImIifpgqvTGXtPoX2tCv8a13JI9synwCnTTlQwU0MKPqYFVT2680kaFq8op4HlBEtYSz6y/S0sB9+lhboz+zTpnCgJeMp3DUqxeyokyOm1zVTK1M8rL/5q/evdmSbGztuPREgx8x0JjH9idk0hnHJTXR8Mk5RAh14nkHZUCHZDy8jgCv+HAChk5pDfMD/MliVxYHsoNiiqrXOniP9DUmPKHBOGAIdmuueBPt8ItveYqqZBMpBbpipZPZC25QYXyAH+rZLXPmnOcrQPMX76Q5LhYDzP48zuJiMG8MBCp/Mh+YRt+4eeXkfkHFsP4yE6u/v+8dfyCgCiXjVBHX203YT0Sr5Q3rfjdD+jZpXnmtCHuiQZKFSWxL6Wh/5fGspt4/cGAR36TIn/8ZxPebv2Q7+DI7GNvGCquKVS9sGzGxcyVzUpi4An/EGQ+kW8FKAPAgEDr52QmuxHfyZ9HBoFVDUM2Yo18bT6inIEvEVWNY6j+YIJh3QhUYX3kQo8foL91iK9noysSa3/cuKhdzHA8mHX0b6QYyQrTkQxblzJDP/75hKzfpeyQYIXHbDgjrjELF/kCQgD5HpRhWbetR5vluRSqg0qMflLWte5z6mMTBnVN7gSrtrzPCUVQWSHa4zNTqPF+mkDduqMHFcVPZdXepNR3quUQezUTtvjXkAQ43TycCpQdMtgvHcV01P92hERvfq5nF+h6pWtggMQy1SakoSpyTwM7xUg0d/9E0pwYo1bUM0O2dcPhFrNK01FI+GPoTD1MSm6BT+6ksI5OFc3vIOL8zOdhMrmHS3UyE8FrfZTlz0hi7k7RdBYPNYCEsSKQKarMX2H4g70N/i9PJCxjMzqWmwB7ATUPwTRBNSrcD0+gYRawupa3aJaUmnuFAAgfVi+C1qsjhadpiS8zLIluiWZ2bkRR6PAY3CYJ3UWIBfdeYLtvfezx3aBCG2jsuWI/FyGee9OA3NIKVA+kwayaRlMBcqjmOfgApTVmSWdV8VtLvqVQKUhMKhRIfl8LMbTgKghb4Z8B6NNjq7rt8IdQgRDnm/xtKhlXznvCLbEZ020tdOEUntDnX0DP09Fu8N8ChhS4lKchlgW4nhYNE95SEHS/OLZ1fFIngRXs0RHYJBBZXU0ao9bV8fMN4PuONVxZTnJLXlpYFH9FGmY020GQQF5je2We+varEobE/TuS3K2ypsdTm/OAyC9VdUeBSXWd23y18wlF4rXODFUTNJXhspy6YX1H2qOe2eQPGv5B6uSHhfU842RvOQlQJv3jwlDG7HVK+vnY3y9n29A073qeoH0sxj8tW9NCTshr8hsnKSLS59goFSWUdiNb0qGcVRIkXg11oOCFOOfPut58c3mmAREWzruRd/UaB+y8WjQZvAQsRXqKdeGy0BAxx/P9U5omRnJvfh1WfH0FAQncNI8riCaGQ6qfirQJkpxjvdoSx4iarXKJtGfJdDn4SVToKvETQ1sR6MOmPcAuqaN5FUtEkYfAVkpWld1VwslEaNvEyuundy+iZx9lNda2BtjJOoqCWdjE3UoAoHFVDTAhI6P9X3K0krQVnNRSmMQVseEp37fdDedvA5WGrqDnkTHgY1nUR03WhWH0YJwvMbvX5Yp7Vgt3q0dSYmqX0+fh/I4WG/xvZw9foIPjHST21+sf7HD/C8NMS4Lsl2tqs2Ivs6WOAuJBbEFIcZtTAX2FETrnN3PCyCvhnyMMVPVbVFAqBBXEhpyCyjqKObxk4TdvZwbq3HhjNXnLh/hTCwLAcjBPqK5PDvtH4qABBiI9MUZZ9+8UcBJ+x8AX1W+A+UeJpPiSG0Z8uO2RAAYgrQxO7ZEJiXgo6nqB+rx+DJ07qQuMfbRTscfEqGtX0tZ3M+dblHuKuhURASxvWb4N+qtr9nqVLSso//SHiVRwnJAqc2TkOuaFiKpnSMzKKJbVZ+5iO5Jwk33ZZ6WPOHAUnoDMH7yynK835uYIMyuq1bodEWqIeOiKiGHkvVI7pZ/pnqzcgpz65solgQ2J+0+XsWKaSwtpYDbnGhXbux5khxJrMMz3JeSlDLW2FAgCPEMDnYOoi5XfQB/0SqLZqfyMcy98+sxgMuFZfLreC9yGmzHUJ1vPNisDPhmrUG/HfQLqi6t+OnoSCVAjPNSRl/8huyw45ig9NfRXkchDs4j+B3jqW66lFf+0qmZUGzVOKOhulPeMFP5ob7FobQxmYw5z/QOfX+Q3YhxY/zObmOmScW234t3ZwSTi9T2xABv8RM1SoHcpFzQG3ij3i9FMKLw+ibqqXUloPsCTHkGJJ3ixFTR62gZgqZKzabys8E51m30beXErA9ECtAHQXxls5k8wKDvnFxaupUHxKG5pJ6Agj324jrKOEHskG+bqB9tlqi0FuubFLPjoxTAWEGNByGiIZDqoXW+W2Rf6GEHmBqGsiDG5Qx8yr6lpSl/JSRitGvg+sgrcOV2lrJKAvD1Oy7PaVq7/q2AChQI4GPVWvYtqAQIQKEWrvqU3QTJqYNKlgIHHGFF4ncTqDaLVyfRGn7kIAxV3xJWlrbIkynUQHkBEeZONimeB4lxGGA90x0CxKDyj9C+QXWNaxV0hbk7/mA2mOm+3WoU647yU1N7yzyT/Rj9kB8TnJaemPQVjB79XviZd3y5OTAXw0PN0aHfnrwI7yYzbVxti4PPxpGImIXDDI4jL+DfGWu49FjpcWGOVPnXnWvPrSTeUH3vib6pjzLba4DOtQaKN9VRAoNpJbI2z4/OnvYLouLycxyaneRDGP4z2fGTu4ueFWVD1QAmrZt0Zeqh1EDu94FFY48M8os9nw450fKVGkwBmlk6REPu/nvsqhslLLyNdfzhjX3rwH+1tfC/24wOQcnCXTL/VWFjFWgdakTeS8FPX/MtI/rfhkB2IvQUm3tngl3OMF/AA6YsfSM4IbFVYUa6Rdcao7sDHCqf0WDihm8GorQGsyEjo3DKCtbqXXy8BAWlfZnPES38l0sClX1WeHFg4R0rEJUiOPmtZeTguk6FlwjBFEUSiqsbHx+Gxhe2qNVdVAVmDrNwOqst5RqI1Evb9s8pqKls3qKVp7WrucdS46776/7bzx2eoxMjqAwq8NK0PpfNXlcV0Jf7eE7YG+WonFAncgIRB127eVif4sxKVLCvws8i+E32/FvG+fZ7K+ry09ti5fxqCv4Mr55DZfl+S0NFxHYExISQhaXxFzsGv+ATcjSM2SaAxNshV+ROQT0CrOEEzx/WpfcJjKaPJDOdurM1HgvBa9r/EIjpb1fH0IPAezXZEswNPz7uXGB73jptzV4nADN4JWZg4drPMFIrBlQ+HerTcdE7IYnecLQr8PQickQ37zPlC7KrFUV26tlCSMhiUGWb8JtxO4eNXUwRcZIQ8PQ5xOxt5OlM62B8XEx6vT9GG+lNryyXJW9Y5K1g1f47IHJQWGk+TnW2roorGqxJBdetwDpuDz6vnx1VwlC/Z4MlJLzphloJQ+YQKJip+hQEg9s01QIjE2rPhgHEvd//zza3hYUQvgDWLWZbZHErVSoUjHqQZfjtVBWjqyEjjkB4VwAG2HLOzYcEG9YoKdR5Z6gh35IKMokcMrbnJuzvwzAT2Xnlz02+LtWV2zZZjbkGXc1K3KD4+1kDSCoaWajUTREHUtaDFWtwNLqQ+Fo01UGDY571BcowWvO/1H/LFTa/yPK8+yN+GtjodaOMeTA77OhC49joTkaPKxjdYIs+JXzlQN5cFaXmhU2KP2xK7kLGf0sFMXSWrOOg90aIVFGyexx/t+Tz/QjnwQob3DMtfFjbseWSxqyObwYiJyQ2wA978EqqjEeBj3fvBU6n+SUGRXhBIYcP+aNmTg5QRP2XHyI+lAX0lfYAfR92INiLn8IhcVDgvWEbzu0KYDPFy6aM4942JFnatHHo8kkaEwwSAsM16BtVT17OEIlzmeT5xmvTFZyxm/Gigy6nc1ib86L6qJolPz183DejGAhCkW3NMdn97Q+xgMYFze89xmWhSCo+ooxo9PJFSPKsN08HHVr24bqdMr/DdqLAdXHlN/WwMrxJhSqEe51APus3MsQcoXJYCKd7+KPyagGu4xd48svGlYIlelikBSSrqWFJVZjzN4VXhMs6t7MofiVIfWloWbZO5ptnq8SgrtmAmnp8L8QlfsaPTVHb3zqFCtYCs/oqJ7wGov6jydaqrw0NlyNH7o0xIt+pxQdrKKmwrweizg3cceWOB0pPoVA7YCsgBZWy7tFFJrUxhqz1d6jrvK3sueGLcA7Af84KJh4mghss9F++/0YBl857Tfsz34gxh691oOegqUTshjAnRIAJAPNaJ8QK2vrgu4iCKuIxtSRMlxEUmbdMmDhr2U1cHHrER1yyWXXsmO+DcDJkOGk9VauNsFKmmYZl+FtLCYqZ2t/SimofqHshZpr8rb/a2odFk5T3itcz8ZJbivGyxnaXD2Sl6i9/OShxoxSHv9Gq3D1kdsYx86gWevMGwtRKHYtIxORErjKrabHMzcQViUYRjp8tSFLPhwGfvfpuKtZ+7ZU29pgXfauNruhdsIzB/2Z/aOS0G9qy4FPgdOdxjsp+/yrsxKZzpmsDiv1XmslrzVCY83rfcYOwa90E8IE9iNo93PLAuphSUa8UD+xkrenK1Z6QmGY62oVhhQMAmhXg06xqt2COCDZ7uwRXEfJsMtrZHeD6hv2Of4yB0ouYtsGwH8K1vgUMukla2pbwd+eyTf3OmVCP+MpBaF6XS/z5GwI2OhPdrzKUvezLvzI0c3GywWl32G9iRHuAxTYH/PAje802gupuI0x8OxD8MvnMnRC2QmXTcjY0jh1vf0YCOEyeJfSbxBdWL/Q4vc38uca/CK5f/gUNAuZ+DVlkj1q8UK1N4sPQuR66Zl2rVHS3rudQgpbvilu8sUYjFjUY7rnNuE/+14RkTJKtbFBVK8ti8iGYhcvZIP4qbG3LXAH6tWR2eMcvQ9IWxkNkpXDrZxJzigXZfh6qb3CsRFlDcclPtsF5VGb4TmAs16DhckL/doerWy9fAQwHz5iSobYpHYCwVBVBHbgm3jmLBmkZ8KxBVIb+LOs6QLceh2cYMzv1R2mO3ISugkVRzXgaKnP+nyv7bDLdndlTfptfWudZHYpRnT1czFGY4JO5FiF9sPNckBL0pTMIFrMllFMJ6nXnGHmfNAdPv9SgGWmomlPUCwQwBKbPFihM/cCuBMkibnTxqG63GIM3leBFE0GondJE+cyEA9tsfCf55pyGIpioe1bk4qULeoUftMM+z0OviPcKGZCcuH2rPY6xbN+SKja+vVfKZbQyGQ6XvVO1TT6gr2iv9pBpuF1AuIe6iznVtFwwQKZFv2zYaZXkOOhCqcT4hro+YP4dtjWckxqzTbLJ079WawD0YylzI094GoJv0d/RPbQWaqRijUTVO6v0m2sPV9nWPB+KKPPTBvl2ZiYhIfqjFKFfcA70GL1IMh5fz6g/bncFGXPxZnh6voP2iaP5/O1aJaCzMXkTsDhkiw2d60EYoryc4ZLjtNvLddHGnjwsKaX31G+GZW5pB5r5jri/pYCzgF7Kunf5Kd6AEFfVSvdu+1rRMczX3p2wzXFAcoQpYit9g6bYfhhptM1bTxXPcnJ4xHNyBIjupczITt2UvCgavliYuTQQdosH6XT+23Z0QBzL3wnAMS7Isy+K5jyR64WxlOASamK7qWQnx/uAIahT4VgsRylC9P5i3ozWhegmaIXrtOEr0I2cde0DoOsxYbrTaUM6hnSzf1KrIfe9AZli/0Kyvb0QmFQGHIjJ6e7zJDbjticBINJduOBi+F81sLs88aWGN1jmbo4TITLnRtTBluwI0kwwLbXDfKysJjGgsJzIDFnSYUmw+G2lKcd7izxb/SxzWFuhVEEShhX015JfWIH4LFt1E5o+Lz/SQYRHGIIW2L6VJLkoVSEpVI0bagUxz31y67zZbxCq6fuy2DKQ6oZ2Z7AxM226ZsX3ahn+Mvmtp+3gqs1/3dxeDE+XOSMyqH7DismOHMz9fdBToAIFGHApVjGoWQpC2RcMBnnAswae3fkZuVqr3i0MvBmAlhGGbbiLYcjw0X7NQbm3qMBbgBMvCnoatRv6Eyla7phgUZGlRh1lU7W329wWDc5skg35uAc2kD5nW2bZO8DuNhWYzF1253WcXeY5eGmfsTk/L88qGwHpIY9tIUFEhiA5gkOoe33nVy1csSkT78ha7RN2mUFyDTIZOHc7lGXcBWMF63EWB1x3p7r3jyF1UQ1PNfXILTFNlvjXIuhg6Vc64gaU6NzmfY7FDlXaLW42SSIN3Hs4GLKRq367c5J0tqHcwS79OktlvW5mhIx1soDf1ipm6tP9YRrX6icjdZTvS2pq0Fy2SoIyV4ZQ0Qvcw2mdQTyTWdTsGLNtKy/7dywRlgnoaVoObp9Xugfc+IjQ21yAlSSiz9kTnbtOWfIiYk37S6bJJthNB40w8GSsjwhlGVnFQwbZ0yokjOALYrVkt2c087F9mfyztS9q8uj0mOA6ZGwTQLy1NE+z4H/UhQpGFpg6xgSBN8bYsnB3hc0dCKyLTLp8ZdZ5atOwS8St391dKen/yoEiXSyQaueflPWUf1GJ/bnmpAofn5eYoqSd5d8XYoV693tVv1RWKt29y+zhCxw0yB/BqmBgprUhRcnrr/4QCKy6TgXj++u3b+mBZHxcfo7pIp9L44uYN84Ft/KP2K7b3N71hd99sTmSrvPgiSPOeb741oPjCgDfVBHBjd0FVHsHhhVnJxLd8GmfB1M0i43BvuUVLQdf1lIQ19HV9XWEgdJI0aAN3Mx/Mmnorj73Kj75Ak34u9YltLjGoNfHxjbp4f6/XDEf1uT2A/d1sTuZ2sDFnVu87769BU4HnL6YtJh8J3O2muHTo4P9IlFPPAS5LIbAUt0mh23stN7t2HOsyQsqjsxuoQXn7g1RuDtuzhIz1KtplL/FCOoqS2VZb3DhM/dGb9c8bhEBVTdbVp99pakxNluRpCSRa36pzWwyz3bCpPi8cyhwpJIk0vYd+TBNSaMoENrTKfigqpCjhh3YfYeJ5htMDhkkYaYiNnjMc1V7VmiIByLGwqmZwG+EdVotQn1AhpJ+Oi8MYc7RusuqROibj2Tfp9zHiC1XxudwdeNriQJyCRGl/+GgvkSzLWXrsQ64hFR3wiW43dTCF1YuYPP8SYjIehQmfxdXrIzoF1XINeaDHtSnn9jdV7s3K4+MMKk4Vib/7zJVgPbmV6E+Qi9RfhtJqAMiNgrsPFzcGq0+7oHo9W/fQ7MUnWcelDAbzH4Eylrp4MAHd5mWAum+2PqTZ0C4ZB0xnESqZ2ZR9E4iwpW5S+P8kQhYMY5BSq5CPyvTucjuQf5v7YFSeOZdjIIFqhTHK0seKza/c/Pv2MfoSduaag3lsCWGDvBTXmTPhoSC15g5hxiDaSoJz1kTJXUwsV29WH1kkLPGSvPDOqOeOxQA0yOgV7e31nonTkyCSYA7DeVzQlMOyB+mRDdQa66byNNKaqC7nqDjOOmxupElJTXrvZyPGPu54C8JEH2MowuPglQJ9ni2AcJBY2rhDmSOf0KKPILK2qhn4iahNk7L1a6R6LGcb6vyKUFiptuj4lHrtZ697ihgk0cijqIFJ4B5oLqllsDSxRWhWNorfD68hhRrFFk7SqWQpndpFcQACowc5vmZ8EQynKm38dtrbrfM7z29nAeVdHmnjbcSVlkpuk32ahXceyAWXfVdblDAjI8TOqBhKm5VCt6XuVt+sUgK1S08CR9bOUB7U6wkBGG0ENhGOwxpTG9HNN2/0bUkjgHtgHPahdkZ4xfUCuOeTdfDg2uT6THSa6U6vOupSQZjutX15dB0NWFZx3VQqP7nH3bsWRmoGHMQl2N9lBDqaICSWLHqGjVnLf4SpRHKLlDRyH/L6gLzs4nGnIclMaGUQhXs0ITAE06PGPWd/NtEyyuWpZ4Ri2uM5WnhHDwkDphC4qkGZ3c7EF0PKG0agMLRvleglY2knyEIMoYQk6TgsAXK053pE7QS6GRjDWGmYr9Bpzjj6eE7Z6m7gkvK9pZ+ThlRfcInyTcvGqWgvgT8On5fHAIAvO+KbFKKwqdIr4vQDaWrh5K9W2tW6btuJSQu1S7cahBi9k8uPgcBdLggMXDlYOiGo1nHJkOs46OQhkntxT7G1ECekgW4YHxxp2YdvXVjvq63KrPHijLhQxg8m6+yk+LWrBnkvLoSsnzSAXgJvvEHoVw+45nB0vjWZTqYKbNCVNESWjLRNf5CSgDAgtKidbF5vxsgNaI2EZqHONFCzT5KQvX/K6Uj3LKqn2/x+xPpSmzOFn4Ei1laEMmdw5t7UFEA1Jx5/Fsb7yCLzjtGnZx1jneRkI8+hNqw+mxwd80+9PFKBcuI65VYnZGpD/ZuEZrHSd+pUzqPB4Ci7WZF4d6IpShRU1O7xcJE/XaYRf9bXrihtZvcGf82PhSgoqzi23rgQMrxn2BzXb+HxeOLk78aYIu3uJinBr0NnhoJ9uKCadrD5VHLutvwaaRvJeDxf+7/t3mpgKW5yMYxx24+ysFXqtJqc6SR02jo67b7/Q5LK5wYC6C8nAJUYDiKhtCNTV5bv57nTvZTCruBsLZnMp4EqxHwJ6UbNEYcqIIV6v1JDyl7nQYVgdqj1nUHWyNBrx3uXEb+npuDGqlVXX3Q2wcI6wAoA3sHtpMLRbEIBVzo/Bl6S4MGNros/aCWiApWp5BuTsDSqWU8FkV8xLpv9gVnAEPBFniTJvEjFazO3Kp5R5Dv7+tBxh/uqrHpj1mxbhKLPl1tmqfOGAbnjddFcqiqyz/8uUkkNadUnC0Q80ns5KMLCBKr27+iSCP11NB3sOFO1lxA2XperEyTw7aZ5Eau/LU9rRMWG8y7Hd6EAtYUOZJCmmKSGPQyI4qysyMRfiTetktOJk/I2TYGLdwFYXtrdHLlQV4N7ZgPXF/iclZJx3HE4lnUB8SnKGycmgsgH5QhgKspECtwu8WO8g0KCXxy81amBB9+06MLMH5s2U2jSnIPhpYiNflinmvhEt+HumRvHmYjPF9EGeQlwa4FWDFL6WqNhzBzMWPXBG8dpGcpaUksEHDPePaSxVb1b48yxogOSZ3Ci6CFTZHJfl4Uvugi2zn11PKF7oG+cWpY5KFIAJEyPTAq93WaCujGaz6jY918sDaysOkxa515rhK8kFUDWxrv3URIrenxiKNJ/fxQI4fOkJ9YIRIchAzqwbXPXjulP4nT4lib96U5nzdAuC0Z6mznwZa3lVQ1Ed9pCHKuZaiJcJB7VM+bTONTNyyulpBE3IB9DlKB0mqfKAjWzIoEhAhYo+53b5zsACSmD8UKeyBrxbh0zAly6R0TILq9cRpREbpsdB6CzSWTKvXyKqMZ18NARFLrE86MofI2fo+gdZ4kkH0Dz0uXxA8AEXxEW4tuSpqrTdIlSfnO5Zm+wEsz42KqZEeDIk//F6fGkSOUYJEZEgVel86yNX6TV6Cdijr+09kPhAjbPCd0ihGwjmFKKj2EBI7inUiKzNvn+Xt4UFQuz/kBBSF3PP78H9TwJv1ywl5g+PXkutZ+r1D4vC8IO8/b0W9Pj1j/Yj1FrSPlObfVAEKqRMV8hKSVKziMxlcwHgZ/gCRDMjz3LLG0PlVflOU57qpTuXT6edwMTXuScfdqqUD//ZnJKDUvyR3PfvfQbzyI3TOTINUhOg+zuVMJdWYXW0qwlWUhbiB/jw/9w3xGizKKJuUUEZj7an9NjQf6ELnkOzYQg+9GntSPp8ShczX/3aECrV2pERhtSZkiElzuKylLBQnhyOrxYx0KHU1E2p6BB0YkcJJvgWHORjk8jhrHr3Hw04Mxz+HUXAYrus22D+iKHjgeMuyT5mez8zrtI4Od20ZO+v9Zlmr23LdqNRvkZw8iEeFh4TOWZ7O+ViVnL29jQBa4qRtmy4eio0BYJ/x/w+ZUqwnuKmqiavVjre0flJtI2b2j/KGuk5oIvGFL6ahgpQCpTkiB5BcVRzrgCzeCaW1IiCxU2gGdLdakQMk/YmhxwVgFRwZmpowpZ/FkWRBK4ob2E2REX0SClDrUbL5RNM4gmlqjwKt2QYC5U8S4BBYLW5ha6C95hxFaKDWjWNG+VuebROsXtSQHVVk13gqvvRpnnNr0fXw0jKv1Ihy5wSpIdJFxcL/Siwu85zy0olO+VAcOgiU/sERZN3TF2qIZcsvzR2n7UN4yZIpzQgh+MGONCJJGJgcudZ1cbFpf0EYpC64cscHigQ+Rp/7ZXWHA1Q0+obqThY1JjJXSS+MdC9vzKV8qaKO5dHUZBnunvjkJPo3S6qlfeUCyTo/lPX6eTK+LljdwL5rh4Ih+jEU4zznb53L7cutQsNj7tVmU+CIsDq18a/rZvi1XieXKTllHk854XPCG7CeE6IjnjKqmLI9+JAN+IoI3eJrEdhGqdagLjIZW2vON4vn47WyNmpA8KUwnPIeamu70gZpWectjaSrvr/uVyXocbuJw9/rZggP8YKVrJ1Akis3AhVyWT1MiZdismWTqAAk7WJabwSxevOA56QXJ6cd5pChfwO80f+wHLNUT457AMwQhCbwZFedL7vFHX8e8o8vUT0FqGw3S7MvSg1zQtkym0V8WIlxdoO2Og0vz+QZLQw0BHopEysPZaa6tFmJ3F/tyloyYjlKrn02aHT1LRblhrbpR738EKBPnEwGocIfPRZuWhac04gyXT5vtZswnnwTDaSm4vb9upFntcESek61Klk25ICCI6YSBTjkI1MHkuNup0fXVQm1PPuASR0gVRG9lLbie9442DfBME7sl3UhmYfahLh8oka10vjiKzuPAEtujpWccMfs94JYtIrvIsflPMOcejs0nH0OgavmdAiC1z4uaD43ByPeiuzViBYK/VKTbikUdpKlY+akiLmbiQxMT/z3ZVPPHlRJxIvEjY3AhN1atZaH9V3NrHVJNtmHsr2ytmfTp+8UaSDMHhkyO6RGiIv3c98ka/1nq/R6KbrniswX+NjkohUpNiMAXF254uDzk06FIydlc2OUps/ODiBmaaHLC43UYrtGyPi5noOrHSoNjkzuhwwJ/ofTjDNSQnx0mzL9WvJIOSoAc2TCPyv243Lpp8FLA8M4B9nsAVT6CxvMr94QtYG6bJHhELvXr6WlM4UI4S9ZfKGjLREXAQMpSfNZjJ0YLz7iUa9CygllxbCAPLcdQuHCDZguV+PMEOwi80MAIWBqm+qc67hFOCqprcmMrmQeGb12UzSgCNAfL2QkTUx0E7Z/uOEEqBv5BZQ2SWv+IS3xYDMPUyshcWqHMBAy/5MMkz6VLGQus6WZQIdBAEkrVjGNOHN21vjNBnirx51TFQNr+/4GJciJrKnFbjM5nta8x3HKuFjvRW6zgtBpjoW6y+q/JsToZeOkSM8lj9KOK4Sjtm+XGVw7Uva0u3CwVj3Qz7ERZS6Z1qlLCQRAtgGJsDVpTCxzFo6bZrb6SSNyyJUKWGjYnsnvjK1oqOuF21qCqGzBA/vncmwoLfIFc9nKI+lncHjckkmwTxA8vrYrvyD9xZOOAlS5xepD5naKhzX/HESc0jpAUfDucThf1PYQv5f6O77/sFKh9uz9S9jDlRTX3qdj89LCZM7kgNyvEFRp36jkCqV4wfOeoHlUuw668CmCp9SRD1r3EEsqFtGe+Vz5uYJA70OkPn8Fm39kVe/o9ywac9rkAIgqcLZForwmf/x4VM/BEQ73UOpeMWH/hSv1D1jZUdvSAWj3Z18D9O0pUDb3b1Op3qVMdq8kMhBGHFd9Phq/sQFo71qZimcsnd8ANZoDdV+653j+WWjtS9EY9hhR19Q+3MqADOVu1vtLeQ424vd5Kri6MlW8L5iJ9ka0hWhgr78nKNKeIq9Ah/oLSaPQdMnjp4JCHNMc5ZardO3t2G91jAno3ldiBpMWQb5HWsUbpKTtERyxTxpMHuOwhVHflmVbOXKcZ8vyVABCbcoPeY+tixcbe9eyQjb5udEuGEvVGrWAf5kEtn/7tlJ8h0Uph5KDpeBHQXDrlFpz4h1O/NbuCI6uUKJr7+hXud2VfG6oz9xgvhubDFv9NuRUaSmY+/1eYOcZ7XMxayvLKcwCwqb92KKIXhZ6i2KgLEpG2Fcgmn62/KWsKI74TSCR6aiD1+ybDpXc2jBAZPUG+hLAxXD/4iW4oXZ8Kc+05Soz3fjsj22fQZ7DvWGxOesinLuO4cu2G4HpdqF/rUpINvwXrEQKnW/y6hv1QxAQygmHHdFb4SXfeWEWClJrHXmx9IC04A46tblkNul33kTZrciZF8E8p0M0FOOKSXpidVRyEpyfpFhvNx0iiqWyG62GTeEYbn8I+YLaFudgWyptL93bh8/pA4BTj7snQqK/UY4/EcUdW5TmNlUR3gkMkS/CSJOauKWlBxIA/1yK0kWA76E3gb+JWNUHcHEKnCrA7rtOlVy6nwMYH9uGtZB4m8kWw7nSFFESHIF7KhoMHVBFaK9CHm/edHeGtSh+npN8JC16LO/QDvMrzItyDgwydV75MhugAnSx7xnJMNF7uiZuqE74rwkZrGXTfdnhuCI4cyJX8/iBwZdeU8XOVki5oGic5RA5y2/tgC9zzVipIdv5EJVRvzZML3Wmgyw6jDVyZ7rjxoGHAtxV763DDVw1brMUvVRMxRG876NGTAfClXfHoU15c2rdOLImi9gL/aHxh5p5aEmzezMLkXy9BkP6eUncwTki1pM/Ifj4vKL+ZAMoc529F6/9xO2LQ0C0MMu5X5LK5HViYn8fFcEClL3wM0fHu8dgbDFlhq27LjQmRdQZJtFVX5g2oulbB8T4+WdpJkTOwe7HL/6lgk2B4E4XQylD8eOH6YFEt/Fxax+TJqUngjPPgmYYYWbZvTkkzXLAd3/AHIO2/NFKh181WoJaTODqV3Fv8VkIH7n9xY/SPEANOanvG/PoaUf5lZUSWq4Sp9qmhH4gziWTUC9VPEZiKP+WsUqSLfBw/7J/OYgx3ul0+f+5faVu96vloOjvIBuHE0Zig3P8aCVIqxUhWAXVcgssclFYTTn5Q2JSfbtjbJB2Z6qsUwF+j1XQhLbYzz8VpI8VzA7yo75KyanhR2XApg/g7UYLo+o4dKzbcVDhITYdiA6AspxPXU8ACifgDLwU2dWxeCBUM6TIbaNaLeJ2lwuv1vrVm4APyjqUn1pjrB8dLBrc6gE3jBisRWfHP2Y7KPrghJP+y7QxU+R8f9LqGNmTdUgdK4F65ok7I+LEBnUw72e4DxRpQY3jwj/vhukDi1JVY1SfznKTOdYZCz+QoyOKS9TahlXp69tH/Fizm03VvYGVbhA4JqgFnTZ5AJ/o76+acfO1MI1J1UjnjA+er5efo0YrJYIRNkZaY8ypsRYUK9HfjLXP+++pOmhhgyN3bEdWSbEKS0RikqdtwtfvkLu5ukkPDnl4rdQVwgzuGEF+dAr23ZHMODNAefRol/hVrXdx1X1QNInqMGknrxkkGz9KZKL3NYhxZv/9Diaje6nd/GGSexqAq4Dd5qGKub09x5MQUDKS+YtpATSX44W2cmQSVbnUrTsApUg8ufTRRUIc03gf/3wF/kLl6i+7gZKHUvBRqqeFDCOf0bXvea7z1NEruCa0QYZIN9+VW0LuwZq4vPC8bc7xp3qJQtof0fA2JLTeOhwK7CimM83BuDspt75RBgYi/05tP40AvvXOze0RyAFF3QQOVAL9u+z18zPhe7UlFcnCix2Z3VjqCtkdAQn/mY+gJzo74hbRVNWE5x484pdaOPp6c9gndtLaIuM6Urix0eQX4dmRA/utraHzPm6Iu2YQqWCa82YugfOrVgVEgipevyx6sHJrOgvlO8z8rutnyc+x+4YWoZUN8Ar7PFBdmI4M0Ui4+Pe5JZvfYw+uELA7debO6ZLmSkmnunboUYq1/nuN0oQN820Vt304KbpstV21+o9T5tBl3g6YNK38Ygcf3HZLPNoKYWJl/hMRS1PDnsF/MmhMVpfXVQyRijGP/SiH1vDhzTgohkIcMzBATsLaXc0AFI2O3dSGm8Nx8jB9mJEsJwqt202Qc7qxCX0SXxoP3Ihcy1N/Ifn+hyvEiHlPBdo4///+VAhfICchz9/0oEFIkeD7WJQCnUDBwsPY2ZmPQujMpl3yJmFYwGepaGTrQuDt9fGh8eNuSozKTILL0DTLjbUS068OOl4wwgKv1mANI3OlEo3ZlS4xl2LePnQxRYUiA32bIbrQU+rmNDnrR0eU21cBwcDXestWVT6oE6aJfgJDobzqP5IIJ8BFBIR3gDvec19lvdYoFQWlYlU38BS85Azzpkwcux8u/J8gE/P+WKRkN3lWcWvmvDWksy1ezkqbLH21L1QYWiZH9ASoDapiufQQT1duXsVtfPXlMz44hRx4d6ZuZLVhyESGILDe9pCyrOiwAbpfegcWDdmmxSFaZzzxZsx5x3dDk+g2zNdL4naBG0aYtaDEyjo+U8ff94WrM8GKYXrTnvS4KxIVJoG5D+nFsIzTtxgTzCrOtg2dCWHYQW1K825fhSRMhdpK71d03gyK0P7qby6ice/jZR0bagg9q4aeFmrtztkyXfn0/zesEZC0HG+2JAgM9ThK+yNedLamVjVMN5fR5F6DovrQsx6U+nMDfV4VaNVWCznffI8UdAdWkyIJ0eMVmZYhSM3Gl08jKOo2m6okF1gMgssS0SKuXAiWVQDmfOH5Br/TZRkTxRQL56rSL8NsiJ98FkAoFmc5OIRb2o05RMtJubUNSLrakzepPt1vF/Ob87FSQ0ejLlOgDq8MCWQ7lBgrlCLCd+fWXEvFJVkSd+vOoJ5uqJ8gWKhTA2LcFDDhsILZDLXsW4EdkBe2H3TygNirBDG8d8p2kp5d+VlDBb6TUvdK89wAcAQPS11j+MAsjE9MvoEcGosSsodY7whV99artuLVn8TBU9IbIcfcu1JBxQtr9rcMH2ISjbjsoTgZZ1viIKYA1DoLrEebf54Yu0T9IZuwOVgpSpwaaoYluzC7pC5gdV2Oh5OY8qbwZNV0JyrUYr0dsdbUzf6NRJ4FKPyMkPKrq8/QtoeZVrIEN+5L/MdRO1aiTrpBvwK56nXDYGAN7flkD6eYA585yGY547oUFkUleo2aLktu7FOdN+Xs0PTOuts6h88XCk8exCRembFynBEYjOdEtiu8ZHaat+u3453ffzAX5IzV3cZswdgj06Eo2RNVXm4s1VuGYQYTlzXaEHRat+zQbm08eAN39qIKBO+M6hAk18g/1iO61VVjkMz9oiRkdWc7TPCIEdcc4aRNwHUDTeTTk3S431mfCHiLdhfWeGnapg/od008VafOjqueRx7ni/Y+GdCR4nB3V32XKw3PvxbESo1wsBMPFZDaTpPyHG94PxlTI+T60OD2TDl2YMY5CFKWAtNjwDuJnDItFokvjfW8iEfrcby7QA8/d8OQPUmFYdh01VLaENH9yiD+EVnXZz5CqwqzlC6eim7cuxiSQ2PxfpcWuJ/dwh4utKdLtB/1O5w9dR9oioRhuv34NbRES9V8HiIZQOalzk0SqK0B1pBbq0ICB0HBZK0GTiCtW0Mzt35an6W1vPkLIvG/3iwaC/fGRXIpMiOXlVxb28S6cXcCWwpof2+Ja+WXlpx1Sg8NV08qPDwfiLVr2IBmL3IPpz7LdHx0sFua2HZAOkuIN0MBll4AiWExziNn6HhogC4AF7PwdOjDREUV08NmYNitTeKWPT6E/Tryo25CFU0qRcb+MzAXV/6u2OcG3hRK3R3K3hlYq8f3WzVuFX4/Yw8nIgGJ59aK09lCsLUxZ22BCucZI4czN3GaXWX30Ed2ivxaBYclCs01IfDFXnoJuYbnxGgFSobgNqv4kCX8kvJncHR0iTTDMxlk/63MeTXTtXscYpmAgO+Pbhb8HKf9TGX++r+rKmWeM55RkGGRin5ooIaASNVRdJvpqoU36tGBd3Meg8BR2jCEcY/6RFuVmZijxkmEEAERxAhBn/GLUCB3AHvqjkrtC1UfVGRXmfa69mLV0IfdIJn956O9oxNeXw0ooCfWGuu5k3/7TilfOhDXCoY51j44Cy0+6vqMkXMeutkV9oRI89E7Gy4ICC8ikk/b8bfHoFoc/d5rNY0DwkLcqZROzb+eAZVrZ+zM2qbeJFoTywlOKPECWgga11AelzF8sDQuNSpcwQc97vVzTokpaUTF0+1FIx/4s3HVTRPl4L+/HEdXMbngk0Dah719XGt2nxsHpFsSg/gRU31g0gblqtHJfyI6foq0nQhDfQfn5c8CyP2dPjqKcvs01UL7CWpX7SXBe17llX9TC+hzmXRlgxSwrG+dUKerU/ufvYJY7HAN+LGCtt3ag4b5SMsGKbJihsQkODaUEBy00HNN+SH3akhGuUkS93E52gr/IVxzCNB4IMLh/KiOVVjJFfvYpljKNvMiM2vPo0+PWPd6/kYy19E1EYKTivXJ/OJOgQ3kH9hNkI8gON4TboAAtpqTqUBKdQJe0N6Gef3Sd6nlbnVaL8TdWaU7QN5V9rnD70zMSLktKImPcTdkFscDUu4RzrOf1h1uPdMgagU5I0NIMEqPCMPsPDUe+4ogg/sPlq5CVW/Z03SOxzy41G7Ko4NAK/ovKCaej7WFngqu1Vf2nA1aoDefs1+5JyOqaXU0BKY3i4Bt2zD2jK6yB/djOblXW3X+KxFvJ9/YHeccRW1a4X957FZpkmwGWjYBWtLxOgRog5lDSmWrEhlweQyX6MDTzbOG3fIjCgnnoqqpWX4OsEyBttq9O5Q2q4DK/AJBcykiyRloB097NrNC3AXzSmJiYrzve13JeY+rDD0EejjvA+xnsVD4BoBMN7FOWRD/TqWWciJ6fhfnh2uajSC3T3lXLlSynDciaVoVf7c+rv1hTed467SdTwzvbeNcOTx3l3oga3WWp5huRQ8yW8sgRHYG1BKxXeHOFt9n0VUraL2TSwcxXDyhyXAN+kdIaSf70P6hH4r2enHAH5AzrOvvq2MvzfHONnOcXTpQa2ON7t2upStq/jYI3xnhuw+qeJiywHG3FWof7Elrx7B8Keqvcau14gK+2nrMyOjRIT7zIgN6BND4Qz9fGDb6H9X+sUw0NDIlrgxfSBVjexwJA46dhU+yGLeuwT87rmOqPb91UbTh83tbr3OOpWBfxL4wbWou9EBQrBIlTUEsQnkxGwstAaN96BmBVC5fW9uXWifDb7CBIEyuppQGF/XNcTUbHbZZD+gJC1YS9OG57kqlurfcEXLFnAYEcLojTo5QP9XskUngc1JUH0NubYy8bpvPDYPPw7DKUegMOIHbEU/0kCJRVjbFaYIcxYCYXbXUu5wh/AZq7zmml776yHY9MtSzeEByrHarOq9o3ujRBK/C5+ELxOgNduW7C+I4FeE1dSAJzn25Cd5pGS4+Q4Yc9sSCg6M4D9bWQTOL0j0k8paaxRxIOvRHXM8EswWjWPw5BAshZz58ENh4xeya/g/M2gTQ7S+VHKa+L+xLZRtt6K33eAxZcE4+IFiGIf1CeShNsoHUO1Pt4z+Zm3bHPiWrClWHrDtw6Z8UudxEPbJIHlShwhLHBYlud3QOsuE74Sdv11WM/8XMBYzFoHUjm9v4Da3Pi1vBM2rewu/78GS34SiyISBVVZihAMMHRSwNFjwFRcPHp1OnIoKaEqbSL6btK1BPccnUP+kRHUW7h+ks9slQ+FZma4YIcc03DsQHADyjKwJ+NBgEtwgdsQimyJ+IwsblTzHjPGndnyTlT7fvGK13g7r04zpuOM0AIDpdXxsbG8Gwt3tixnBy843ocnGIVsuwSYiYKUhh0jlefvsOvhp18mPp/DWd2FScbL6lDZglSirvcY/+J5y/m2vw07pKEPoltpMelua57QIOEy4vIzbx+m5JpaZneOwjtsE4Nm5SUrqW6ZrrobB+jno+4Kj5yumVm4jhnWG7WolT43iJNa82d30SkMl5OuUVFmdTCK+G2RuipvZue5dq4KR8yBFIboqQ2bQKgcrmQ5qKHROfduscjOm+XLtXnpFZdrlab0/EBfF4aA2Ae74lhv3ZLYcplB/X2R/qT8EuMMz1Z0/QKDKw7gtaKse+vm/o6+AjTGYpMDRli372MwPoy9stcucXBRmO8ZDrUvl/F9S5EYppdbVscpgDUx1IwyBoiT8etfEwOrVvx5x1Vrfg18QHpSjVE8MSytOKMNsZYjVbs/jBjn0fWxLlAWOL9Dmq694P8pyZqldDrxa2xy6H/2pgeyQq/jDIHttjUEx4MBNiiY03dMLL6guhKOw5JkmSjSjcGNpB8/+NFAyXD9fYHuuZN8OObFotRYdk4tWGKAQ49hBOhOEhMOAiMeYaSwyjFQ55z21sZX6d2JBCix7W+2GKsY1zT61JYA4+Lg3ihvRMmjavOBXs1m9X7ZjWLpy1tfKdj2BXjLWy8mN7qR5I0ocIy70/6AjSdqDwLLPpuaSAsUOAXrvnwForUDG+4m5SQ+dSOM1XgDwv67vZYwx7t1aZZs252AxFc4tNU3l5ILNFEtiNUWGUr5CtAXhnHF3cEPbSGpxcDaSdZdA/FVoN9li3ml4vc6/ZMG0eY/Q+WLC0DuagS2LriYybTOCskSXlbCABGgNgWOV7698CO/JNax/41RskrX10HHUYrsZBYiCch/3LBo68i/tRmzQYw9vd6Z5byly+7UK435mwbeUaTmdqRfl9OZQYtuPvA7mJLEl/wfb/21yWhH5S4JPVh9xHMUBnwJKKB73E+h8yiUFzsdetKWG1xeNG2yp5X38hOv0HWdm+if/HXMbxwV26Ul67WhKCYEwHvvZP54302sMVdv03KhuvuGuMDpfz1/ZJWWPN2oZ+jFJr5LRisCxLpwM4hSM2q7j0a60LRrsf22lNhvyXlrzz3bU7yJ1JjSE7xgab9jMglVhsxOnTavD07bGXrL/m4ag5s/6ZlQN8cqKUnq1aQNydrSLsEt29CifJZPnhNWIR+8H9hkLPZOGQYgPnCABTF7RLA9fz7VgHrqgRvH9OZKj8/b7/RatnWsJ8+QVTa48fSdyM1hZNDVdkgxRyu6i3d1iVzuIdHkAG+IMCMm7ZdgyKof/pauC5s75WVVBryPAFQQ3c4n30C8QxghweBl8cxDSiZWa3qF2djrVXDE7qYQQSyFxEwECbzU1vB7zHeBAs1b8rXZHTHWhkuPjCpbx0T+Z6FinjOy8VA4nuSuFf7KHffqhtAWsL1/3xImQm6OI6wSuRKfTj3ZGrNxV6fIcTwdd/IWxwGsEBd9YuS26rHar60zWhMFLz7/kNKHCtMDv5nybyHbbyLu1lOWnlwgsMDG+Cu9KUQI5czPZKV5De0p5XHrPkSvp6aWi+5KFF3jJvffJ3JFQdHsE0vnVE26569leOqvoOIC82IYv+ryqenG3q8FmPiWdkAS3H681iYH9WNpiDfc1urqZCeMewAYldmgeh7/YrB5Udce0lniYR+sRICvKJPGfe29bme3aAbjMQ37kvoS5I2TG5yU4mb1N/re6+XxxuCD8U/gD0a4rem0RT9jiLtvkwLIbSsKdYQYfNgM1NEKb6ntq/FZJs8ytN6P/x722p5jE3StCKHFiASSWCpVNQoMKYklTixXYkqplRQjvhyi68ndbVlup1cfvXA6eQAeUfQ0+E5ajSATufDrdlb1mzsO7I1hsGw7V2P7mIlIxIP+zB8X4wgFyFBB9K7IxzxLnhqUoA2qeFA/8WE7M0JvSrQFS8ig55gbNkLdOz7IZY4daNghQE6TSP3NbMqDnHlfMqMbAE2EIwfFM0QPunXVmZwF30xbYxC3VQBfkSc/QCqRPKX/133HY6prVD78AXItpnf1GC2m2I14B+C1O3r6Y86OZpXWk4MPq87OGvp03bY/or1JcqoHcosFz06Yiz9RXKDZSCU3eC07LBqaH88mjwvNxuo0JITV59vdbXjr3u8Xud5zUSV/wpfqiZc0btbLwZHqz5TRgOnkU82AvvL2/QLrbkNf5fqnxcswGNHcv1dAojt0H2Nu6EPk7VwkTcWrLMcS/rxqpXuOdv9Y06eD/rId36hYBLmwc/g718M0w5OLlhPAaA1Yjiv+lHebeJzF4jcuHRe1d3ZfMdnmICQyCnMeYRP5hdWzgntGRY/eNsA3v/a+tft7nXMEq/VI593sNdbcUCXqqSbBX1s8LFyJsOjlstveo0/JzNasITbltPgtCyY9y5XmRKGt1zDJQ0/wgA+QWefAp2cZdLiLsPYBc5RdPm5gF/PBcDQnISZnKNKU+ogtXP6vNIKCQHgISH+x2ziUrqpPLbxAsxBFPq7nZPwNLKAvDFC7RJRaD6w0nuWDbdzkmxR4fz5s42zObelvE2EpcmHMMIAHdgAL/B8KXDXoZcGtpd9h6oQqmQJjbypeYvUV3PDbyqDPrJiY2NxGj4VEqrt9pi2pwCRbIBlHtN4YG/9HgKfCPLLA+wRP9EvU7AM0ZNtdG8MXnpxTJDCDrLr64YLddaQl+RBVwudH6TpGzb+dvqLQ2DIewXGJO6m7qrTLUO3i7ZoOGIjzqMDeZx/7/P2xfqC3c+zbUSmasws8NlHSOex/J6Ug8kUzqVKLs7hbnNgxgqepKUJUgEbwDpfHJQezVOKg5qTcFkXdfl+SXLmG4xJ3XmORjEqXJjHF/BfU8pUnZKUt60Q+34c0ayrFU64G0+Ou69AE4u7lwZ0A6WDLChtOp+QDDcyBiA588fBRJPFdG4rxzuBO4lPYTgctz1RImwGtfkAsTrRMEmcN8NISsPwLHNXibZRqlh7NF/lYl4tzQ1Zhzu76VXbJTpeNMUIw4Fc5yZ4jKauHOFOQ0uYL3RVk4UdriVM+kaY3Y/xr/1iRuV7edBY91pt7f1riauVbonPp73vTnu4u8yLVUj8D0G+P+GiLXRMBycht5KqS/2W6K+/b8y44HO0Qhh1flrw+h+PzDkcJuZYZHg2S4o2HEwRwBOl3zAcIcq3UM288KgJCdI25qiqsdJ4QrvXgjbV5JRWTd2J2e657lwSMTBLKUH/PR4gFL3166cfj34KwB2ubUHevJ5ewndQD38z11kla9bjhqr5GsnurEbH+D9vPYfgEbptAvXIcX+o3WGHi2PT3VswO51IQ4SfJroOEBV6JdyeMzuKQZRjVvomb7UpvsoazQfYYP/D9rMHa9/JlzrhAZ0xqjusf2Xvjq645c/rK1+XGOSMsgKPnS6Rk9sRMu2+fXTADo3k1tEgFXfFZs2DYZP52hkDvsokUi+ZlBCcIfPIzRXX5TqOrJ24Gwm9x5fms91d23zsDpq7tWMDDT7/yhBI27upd88CymfSr+XrUxlibGyb+JGteQV7zjJDhh9+B6gn7v+fM8dNYF9yxRKddtFo5hgwUwkFokuKs8qx1zFTfXg1YYR4h/HN4WxBbL85H6MVN2Y6wkHnGL05To3bEC+v4aL7dh0LMlot8A1JsOIeQhGpS2oxxTWuQcR81lAkiRk5vRzB3z/djH9esF6kHYCSQ+yPucZEt+a6FxuQs2FtFUNnE8fkg3QxfdXHpfE21pl/PGs3cdtzVsdGVfbsPafD+3+psS8QwgU6+18XxIRi4hIA+RwoqHSdmnycHkIDxVnIz9UCa1Z7X6awQHsOogXRWEtZcmGsp5YVurJCYo7atbgMzz5xymLqwJFG+pOV9HhUzQAlixRg/O6KlOIrEBPOywZVJf6bumimYpILyQEvqE9QdqBdk5IPzg36wP19OC3JE0JPzDECFbJGKs3p1mJiyn0OiyvFbZJoxcJOdXGnv/8cZRkwQMJoeZEKobAFDKNhQXnZxlZsrobMGTTHlC4T0zKUEqwOuo/5MU7I0XDgmiNiT7dEJQUixYHw2zXPQ4TG0Or0H3KsQsKWYs8sycGlFM6pv4VlAIWxahrkl5toT58FJawj0IdAwlAOO9EUyot2wYxQ807ISAxBzitU5tx+hVWRLxU1BmPYf84USxNUjng6Va0MLDbH4iALt1WV4Eg6LotifA0AT14KdpMEcqGjwsK4UG0+9wsuFFgJ5YZaDbsJ5g85xJRKTIASMiVa+Mplkz4swQ0pvkNdS5EBFWaw390mUmoHJZus4ON38dObI7MGZaes2NyAe2v6lLwscl69s77QfuEMgFvcA2TAzuFEwhb2Gtgjry7cN7dsH3LlnpEzNIRer9O8oQPiUDVDjguNGEeYkrGCgbaSKr2k+tc9Angk6K0izYv7y26AWp5IVBwJxjQMZ5za8Fz3OXeShT+vhCZN7xI9a8fLaS12kCsaXVMxnK4O6YwyxmPBj+G0ycTF/6bDEdaXN5e0VqlxXoTwDZFmQ4KMbWl7kOWh43atqIal3qke8gIjZ5s/RWzqPnMCJjtKxbWrgG5vod80tkggm9zYMIpAtrxKBQUG9zoMeRFq4Zfk3wRk/6lFDw6dMrXbi607J/9ZMbNxd3mKZ940r3vyh5sgcjB5kHU+eWkzYzXvZ5fnDaxVR0MO4N0x2O6QFnhy6cQcAHO/4zNJ3fSW2/JFdrD48FL3v51+taRQsQZTb8eceefTzvvqBNI3aAESHfUX/gfEgwbesa1H82YH+xU1jarovuB2N/unOr0kMGHXPf5VRdrGzgvEpcE6EEA1fEC2H8IKy6tjpuesV7ZELvauRZUGcv1dmZ7Wfj6On9L8mv342i2jw3bEvXkHzhKMoTCoRa+tGMDxU1HW4nQ4kzmakDwWLDMYzej4l+3gEYO/vfHluVcd6T+4xscH4JwnivpEXRmx4eP33VvkTCzfiF+zmhgksSzFhXxoTopqN77cc76erO8Pz0tiwS6oUu/xGqz88UNcJU4h0EAbxI9GsgPPDNCwxlQPDpQBP8EyAvNpfZlfqsYxC9yRes+Q27J7b9LfOJs9lLGbbVJcoDLB1X9aN7tU1OAQsnFLkTfqYwEc0ya2gd3FSMBNrqQxUe9dj3gq1mazhVJ8cEMwH0YjSj/0xF5xE/DRPu1RLBCW2cu6Oz/g5lM0cksaKnvqYqDGBdNWBicSa9RSpRCkpH/Mq4alCHM5mueBhcP2j3mGWegU0RprpggWPR527v4gE4Ak2IHMdfWD2g6bz63dR8msvOJdOgEU9Crmr/539vX5/8a1o4mh65tyFQFQZt9CR5Pgg37PWXpRqzYAjqaah2kL+e8IVINKHBqq3LbXsIgq3AmuYygn12SZGXu0M7r9T2rWhDyj5PvkOrZhW2lb4NpFIWiODN2QAtnwKTYQhRDOSGjmNhx5YhLXhQfYwVPn3kYVqBFIGVQw5JwGQIX+Vc+3AKYubuouyPAPiEt8k+ktOOn8ATOXaSXbliigzMlEo5pq87k2c5hSS5QyPJHictp83JMxYJqg+x6DrF2X4+6zSZmrILPk93TDKZ2mlmkxUcRl7dQ4a9+XWgNbqm4S372Y43gPALBsDQeUTfRRz3qFctDtoRe6DYJvGk3FywZV1+vFJwX2w+885M//y/fjb13Exv/tRNiAkTV7nNwJQTmpDfjalEo46VT4B013x4tbvYQdoSrpLCoeqt7jj6oRB7HmVcPygAUJmDHpg776SOq+SKxS+ppBLLBANTf6EST3ieSUPheSK7jzzLC6qgsuGZguFji8dd4pg0kxL+JyfK4KNgIPmDPS80752fVUg/Xr7cVqLPu/l4wbyHoHTVlUdfKMUuuFt7eEUksVLMO9KEJBH9E34hojan8vV83DR9mWrn1l4BWky9u+P2Q349M5lR1wejdHNdZbNetpk17ej4w6miCbJSjX/lwpMMJug3PZHy6VHimvbvCgmKr43Dh5f4tRhSYNugmyCKM225gUdQhi0cZhQmen7DHx8jpQkFl3Xn8uw4cdtLxwd6Yz9ZDCOpLXzYvz++FT2d/B5u5uwl4eKmXrmo4hGfV5W6YpiLa4k0zxgd/iSQVgxoFndaYWK5Tgd0gtMEEl8cE0Q01bjJtV7+7WooixyIXLqHUNorNKPUN9QVvOCpbUecRQWPYv3KvtZEAISqgMERcl1B0qc0O+9UVTbSzgtoPW0stN5ANINf4QSQAEKfq1ZdhiaINjxRYs88Gf/1ooPmviQ1NlPN7TLx/O4EIuU89K1IGlOHeW0gtJj2dHBZDyMhoWbujhJreTrC/9vnMt4zJMoPejMP+SiVX/EY/q70X27yrYbBaedUt+4XrIB8MSadC8v5jISTvmRYEp2sBOCWZxmmFENi/5eGhXL/ts9hUvw1QVOZSpkK7jACnw4oYycoXdxpr6onl4vJdE4dCfJId+J/cVP0m5GvoZCXzlq/UdNbLFUuWb/JMd24A/1Ma7j5g8JIJoiplZiLdawGmpjSDJSE9FvZVGSLV+sLhIWvWGX0OQI4sWDBkv4q915O6DgoBHujKUZdXlxyq2a9dKHYUaVUvWnInSV8Kbb49BHA0QyeQ+Q1d04VC58qJFCUFEFVy79AhzEvOgWIB2Rj3KrTNM5iuqTNXUfMovUnzNPLP4KaAGDwZUud4Er+O9M575r6akuunXCo/7xWmrCg7CO7Kl2Jfa11KHfMJ2cDEniGBQfjdOhE1YBrv3mUemCjMkMxRKFPQXzvHw+EX4PXlD+5bYhBNdaao/OUtnr+z/TJrJTgXCloeO0lOx7mK3LNXGIUd6sQgdASBRs5XWs/mcYXBwG20WFhaIs7WJ6dOiW4j4f8iSoI/veFxUUTrfidIStXYG8dQX4jIqEUTviR5UfmM/na5napd/Q0xOMRFkTKpf5B8AB/PHt2Cyn8SV2zysYEoszTmcTQ8GOXyj94+lRpO0Aj3cOMCApAcbmNR5IB/PZyCyMW3mn91JCy1kTV3QrYTnwOTKEthepr53NLm2bL9eAvhpzp6fP3+tSDUJhLIQgOTD6sAiShkZoQ4HtN6jWtKg4/cxujVfKSh4UK/cvOA3mgyWjywBtIbj7ha6mHw6+f7WDtDgUZNZHD4nmMjEtDH8Y9wWNPS4iQXWxpy4xT0HpvCGewu5AoN6mUJBuuYjnEftEVnOYuuUST7tadn7C1OpLANZqbVMuB3jerXJF628iNundyW/qVWnNo9tizjQNkiQF29BnrGNG+ldeUbDf/4uyOMdzbueGDq1sGsijPSLGp8ZlzfAJEPd8kMx5L4yxu8rNQZFfPXL32eweqDvfab/3t7GE1HMzld2+9Q8PMs0mAhsHTMgNIjoJd3f0inLzCFHxDsPYa1LUaeCVgjdIrNMa3cMUztpQt8gzamMR+OwKDiIaqSug6XRab3MoLyodGruju5IM1blJH4MmlmGt03zYIqzKt0qs7tsdBY14KQJmp0dYizYxg0vhrYwLcSUQezztLVIGezVZk13ILxekW79O12Q6QgtvoiRwxvea9i83Shcm2mzTqpeRbO/+wLIwDcyyAd2gbvz9cCquH/j/K80FZonbIYDpA+wj1nGd1nrnXhB1jH55Kxq6JBnBwC4iOXuoF+Ek4kdRZn69uFLCzMuR/sTYpq1mSVH0VzqA1N3/WDkhIIzwVmzzPGkCKiNI0EOQqm8zqB85SMG2xJJMpvj/8xRP35hlixPY6QT88pJRw2Q3wrT8ccUIPR/WJxF9kqpzpy6TmhX+auPT0Lf15XmiSSCLEJ7i/xlTypVo7Di2Er2CsidUy5oDIHiqHquNrIVuOUgR9r7pj6NqOfQEsL7a+xRgq1XJU4gFKvBLDHucUej0wglV2wJ6rO+qrkLf5eoYN7eSYAw9/5oY7lpglFSHA8Fm6b3JHO7aGke+DKnyDelsTbI07tG3h6OvQjf3UaSeajNCxobz/QUtMuGGB3BAB0Bs+j7tVO8ssTzimODl6jcmbwnqIwHL4Rau5/3ZEzAhyTjrrSbk8+PDvpmUseu56jEEkSLMI5RdPVWbaGJxcUha31yBYLgiewKbFHAe/WrRN0bYUquzxo3d5Y0B47VNu2jj/FnAaOj0c/oXKtB9BopSBuQYE6IX/y7o5MzXy/aVOMLHIPj7dT4q7LSRjzjtmqYZCq4nbfq56uuy6sP9pK3Rbz+e1Vah6nHsxaiRWzQ8ked3b9aWZizLswyvOjUrsR62NubvnvVrOIBVPzkqkUwlLiLP/2pEgW04BHndRwOQ7mzcurJDfRoK2h9pdp7nh7FPGPyK85CS3TnT2SONOVXnCF2+0j1gmP5rv4ELl4hZ73M1SDyg9ZRpc2LuIj6kXKEj6i0mZm2126pKDy+EUPtANgqzqKBXbgPK804ICKQW6fVi8gUD2qikfVXBWYHx2ejXLOtKh0C/zETzSRNM09t4O3ojR/tTpsKd0ccIv6F7h1zXhLH/rGO1a8dVDnmvf1n47bToWaFsfgFlgXRnTNp7XLuOZy7BTxCGkXpKqEeAHDk8EOCuEWvdqZGqtH1oGkOLp6VExQldMXTKM2V/vJVwOjRvRNdh3C8y6+O6J1j4TQkJwoB0JJHI3AdOXeVtq27TJVtGWGHGURN7fg4q1tyyqdhirsq2EMJjreBlb+pabdSl4EGv68daXRiLwsjf+NH8V0u8jsIzgZQdF501gwwK03l3kNCSBN2C6epQVJzKKhQ2ljpi/lEn6fUzCyH1puB0hVtNqTNQfm1cihua+K8Hxa7NUd1Kx5ftXZvTkhsF2Ycjz2ckAobq3n24FIXTK3tWASPVDbPUh3vsW68WMbDXJVbdWLfRNRy0Ym2bv2jFMoiYK+v6e6MZ0r53Od38iC40SSCVFBZ3JpCXNNd0abXIH+20pR/IvG+8v+yoETBUXfAl+x75+tzsajdN60rQ4JR8ZMQSaZoUnePbKtIdMK2TkdfIVLWACBrSGFNFgl+K7owE09k5l1Q63LoAPQX8QDVOrVCnpgryda6fffNM2+TTrTOGys85rjl7hQDkJpj1VKy7cDzn/wfnbd3g6WCyoMyeETzC77iRag/Qa0dKPABRZA/CsGknoVJF53muLnWz15kS+HMdlPyFVd0gG+LwIttrDEgYwB59Ib5RCE1XkDMsGmn6LkFbW2HNbf0EtCokeeYnyWMUwJnrjl3rds/4GmTylmoQFB6xIAG0vsfn/etPBRK1JWXW6BZU5bYBoidGAGAOux4sqDwgADXBGARqC4vNxp5NbPb8poRDMr1rvMzNuc2CbLCguCY7Zh1vvHiOFr+bUPQOHAR/vvuEpPWvrj1nFSTWANDRVLaYo+4TtHXw6VwPKokXzgTZUNFHdCQcf07ufAUSpPecaIwM/kV4z9QEN6n/Po7GGgb5pTrtkm7itYg73SU2tSxgWFJHymoVM0Cl4eRDpZIpemqw/9kDxyEEE+KOLnJe9jyv5We3GVcbX99mrbnHlaOvCxu+8X7MRj/MkAiPDA5JbVoYdMtLSbN3woEsw/n1bqMfcvL3Y3+dRYnAEACIfhp6Zti1KIC0tlxUjb3aE4MOCxS9o96tiPa2p3dEa64Czrv1lpyBr6UP49LOiZIQJziOG3A2bQVaEmvyFFHeGbx97b437mqkbhmHsZ8kyE9UASzNx6td28ejl8zvsAtFR0xwdK7Fw27EZXPFmMtZ2Bxzy3AWPs0vt4tQ346KthyHPdNDSnx0Y1otN2tBB6vgt68KBRBejg8D4rJJbz7F7/O0aZ3fvOLKw8kdO16myeiMIA2pAX3sl47LX9Jgerlz+WleUVaMrAKNUOTPPnCYMP6mSInZOAMLzOHFifSBbsn/kZNv3LuCaMeUPTKIU69mNWffbMnn9MBFspiKTGJ2UFO6CYhghd7R6P3u2qI9YEm/4BfbkeAATj1yLW2GpxYNJm2BSAGpcvlSqehuYkVkmApy36CjB0sitgMZEUakXGESX/sFiClZ/TsRZgApEIgpO/zDYGqLkcuLiGzXIxA3HsOujhL7P/cIeiXYRiXa8eW7LQ6SFhCq4lGo282BfiS6qOif4OGXOiG4+0pzuYENMHvX862z62K9QG2uoX8e1iRiLabM6smY2IHtNtGQcnKwEnlqRlDQ9l3ngVummYPjYJtRs+aCD8a8qSe/T64gq/N0gR48zKgPepOMa5WunM3LLl8yuYIN+YGPk5zJyH0e7E0sAdSdXgmhecOhblJhLQL9ejw6y0pl+UkfDSS/ABiRVs31A2emf/FEpufh8W7Hlx481fKLNzNpEvGvQ12LZRmfvCEAb2dfNs53dplvr+p6stDJM0fVfB+hpT1LuPFK1v/CFLdINAIiBsNCml11Ec009KPmyB4AFG0eAFgTjRjF+n4BNGM9HTY8nQxk+7Q1dx1Oy6jm9y64CHpx8Za5gkSAd/gy+S/oQk4Ja36v0G8Veg0iugVZ6dR+PLpSjN9EIyzMlz1h9v84wQVLdu4w9E4Dg9wwxerTXT+QrNBo32gPdFf7u/YGsfqEcnypC2/HzXJa+aXGZD7XwHnF6q5H/W6SYeVxu9uPwwaEReky+X0ISRG0eJ20/45/KK7RrtSDPh8UpmgCkLiW6Wo62EhL8qoLIT4Y7qMr+Ao3QHDfKVtmtH6bFk1yirx6G4WYj+5pzzEN/k7BTCK0E1DrI9Q12AXFAiaQq6bfnSQ7g5TqRnGIpERe692sDrBNHfBGFjbvXR6gjOcaP4yaQrh1Tr0Fm06orExepnaij1ubyz7qXaMHpyHfpflyNppCEEcrsJrIsFsIN+voFTRZKLqIDdP1Odt6yDbgAJGxofSCeEeM2OiiW3g1fK7sR1/Fc1GMHGVzyZPNyff5fopwJz8mL/9tc2j6O48vM2G451z30AyYEfIzCgWyjb4Ik19Y8JiwIr0rMs5ZxCIkvL10sUuEnUVjlXhNby7eCj7cDzxMcguUL7xuSei/w6sD6efPdqe6B5mPNGRtdlfj/g3LgojD8YMspoGpCLFWzuprpHQjpqHVoJ6YtCnz8FOZ4Ic8xWXCts8AXMbqoZhrwpczKNq/Q/r/CAYBCqcjINAoaRHQ5r4dfd969Lh5nOQ06Ni0OQRs+8BZuZ7DMq6fQTsZ/PGOwDNfP67xWQrZXXgAtrURAZGrbCs78gqhJx3LX0ihZ4A8bjhBQ1BO9VQXpztiKzYn8e0LRduwbx+xzoJELcHAnqZC1fomO2e8XYKIR4NbNtcfU2dzj4eEOJwGZGH2NHv79Ja5NicyqwyvMgxWNqhKu5yq4qs0H/m3Sq4RtxUzu62AK1Vvg0fWX+tyY1/zNobcqgkItp6damQQMlN9gzYBQNpa4G+ezVwGhrq607/FfokPrHALRzDbGsfgWJG1u7h+YLhJR5ihCarw2kNvcoKLGY7IUBnoXJs8ShguVF0gvdELV3xaJigLzj7fZHwBJum+FdP4rjk+Zz+ZJetZNHH3Gljch7Vzo4ssm7LO+xiktik2FJB/+vqOlA8SD69yXGgUnuwzVjDlKjuRyzwOwitIpSK+HVwyDyQIj0TgHnB4ryhFo9bBKO4famdn3KhwkJtyCjYdZr3EvYvkRRXTHi7mM5aDwdAyprpdL4ajp/e4l6KlxFPfsoygjxHywOiro5DeTn10CWmyHXEr+oeoqIpDEMZjFLV3UjhYe4W2KEDEW0msiqgwCxhDOw83BWIj00tkZ7s0jkC3rwmFvGdMhgHZEUyIx2dhs3Jmdn1gLg3FbyoSv/MwEaEJZexx0QdNd/naO9VYCvcIGz7kE4r+iWScboBNst98RlxhzT+U2CVSpRvz5Htl81WZz1OfppsBF20lAzIfVUQCR/b7epW5JX/JJPTCm+PLFhx97Kk7uvQFWM+bhexXu8OQSCNNl8PR4X03Uh6HzJCPrghXeGoddTDNaNhZa30wke+HK481csGUZEeKH8Bmzc0KCqJxdAPju1s87YnbKA/M7v0QCBblk/X+4P56+0wG4lCzyoZlzeGLZpiBz+8eyD8xo79aqnj9Ys1688LWaqbIlatjQJH31/hz511glWdgWNssvdCTdoX6w4NmH1nmlCqFuANt01MNzNLw3R5t0TYF9rhjRp1JIUOMnA77IMz8PG32i6rU5pCev/eN+i5oYKMRRD285boNelBwVkt9GZrISLA0eL96M59TlKPpOFSTSfSe7bQlxmtFijvRcG94ka7NekbXv8HUnHWku5DHqeZtZet9nr/4oEKhXghodei+0AoOM0+Pu96Em4TITQon3sXrb/tau8hjWkrzz+qGAEyDvuZMhMEIIqrGUGQUO9sl0ZkU1HahgPhfMj8RPLStAIHPTX2nCVUOlnROxhwHbH/YvrHG79+aE4t7z6IWHnSHJ97Ek0zvM4nyZqW+kqVv4SawazPkQTtpoJ5wQgaxUpmT2GAbnVz98vHJFLp8K+0ibhVgQwuKYjMd9Q+Xw1G2/lLNmXDYFaYV21JQ6ik71pzH7SwJ0iBiZk010lv9+8W8PpJ+LddkKhz0c9JDl/yF8py+ColR76qPh3Ey+fkFWoPSMlG9t6uphEXPlrsK8KxFnsH4GbTECqqBs6HAIhMyvphOc2LQdOL8xzDwV+g6lnPCfqNUHzyhBasM/O54a+7kEjvsUx2OSLfpaRq/HWhLHcSVIa4YwPuXksAwg+H+LwN+1e3WsLdaEfnpZqF0SyE/eS1lBFVpJgEMlxH7z1LG7xNlEe6eLyq1cyp6KQyDYWFeEt7kMpZHwp9YEE1sf1MRCmCkjN4RtPw+K5zHQhAYA3jubCvi16dWmaCQRfStFnC2JuBG7F0IEsMGosHxKeqrPyF295RDUwJaCokWHF0W9scZBgCFIdkIZvevpk+f+JBOlg5tomJKkvMZhX7MsaLJZHEa7BttQyj35ZCGan1OvZTWyZt12L04Fqi4hCWT3IsbYKumXpTN9YwnkRmvsFxPGN7123u0kvweqSqSMaoBCJZRKxbuX3RGkKLV4Skonhhwc7pAHnkCjpjEjpxDckYL7IVfSCI9CStclf7yS6o2hCP4QXudrBXRun6ikTUYRvIqg9OBG76/+GURmFu+MAfJ7D/7y6aDQ6qxy2dmZHjLbfIF5BmD8PtMS59T0LLUQCF3PQsKD9O1f4matywZHay3k2NWPSUg7MWPS3S4tJWjHn6/ILQffud3pegYFuOl8KXw97KsPvGlH9wBQZUACwahSPf9AZpCr5pa5wi5mjWXiqueeBETR3dEavgc3tWrx3OoMTClVXMg0SJZW8O3zjs6FKokVdERxRYsD1an8Lcm0iDFU1gszFs8hBdW8NS0lNMRW83jGOEiu2au8dJS2wsA5jLqozONvQTGnCj8DJFiFlfFZCXdagqlEzM93zsmYhn4iwA3tCTP4p9RzOsnwlxEahmS0gKoeit77Rj9ekHTDAyC4IJ9HSH8j/TQx0XVME0npBr3CUnjEk40ZvynquF+R6PeLIn4+y+/oYVBINCawvV1DK8HzW3JDRMxBEdoY1Z+gsnGRV972Ojr03tYBjmniQmKPgiPyRfTKRH5QgkqgSz6qpSpHyslA8WMBciVZJr1PoegenMLyQtfyfAibUBzITLnsBSQU4Nr+D634CbK2pjU89NhyAzYrIDByRkE2as/587B8tbl+FEUYWcZD6DJvNzbLonS5QEXSef+K74+U6ISJKJ7CBU32Tn3aF+fGPtJL/gyG6Gz15Qgq7tvpcl3zEybKSpuW0V+xfKeJMIHy5ylx5GWrOb4Awg+1b99WonNZLNeo0uWBeun3/LuEF7IFVnqIDsPVo8WLN/mfCdYNwKTPNdDm3/3wod6Cv4e1DvboXLR234vHA4/XGAqkqid1T9/EO53+gE12iiPQ21siKr3oqMebOuBNRb4O6RrzTuRKwUFVgsBcgsyEY+CbvMgaLbLCCB8X89ujQyjH9D5ugN/eVmIdTfQDOl4LBQ472KP96VdtQgp8LnzjyAsY2hTGW+QkOCwopUg4Ft4301ip21wEwUlh+OiWeiUB1k1eUsFw2AekBquosa9LBpK/iGiF84cwpN6ydk37UFkOnL3hHK9YBQQL7nVRBLdW+v5U1BvIWnggEVSv3ZnW2DnqPVvGu+mqEWjN/2PFKgj/6RWMeEdETzeXZhPpYDF6ZFR3CVyFdZn4FOPkOP0Dt88KqDgaGLtF9JUSsKxqaORdrLt92uCuB69UwF2xslLo1qar1b4JFs0roPzm7N+L08EIGVyWSDiDEJNu0axMSrps+ev5kEIU2lhHoayvMG/xiJseFSz6/C4kVxrCY9TsyPryhD2JH3pmxw8yeYUU04RRnGju+6FfEK8wDjL40m8rfKta49yHTdtqCS2m7qWG5AN5TEq01MQZ1aIwUSLmLdhb0MLOBMHr1Dw0dStsFr9iIEPlk9MmDbh2qOUKYiS+Ro0dINFbdRHHYcYcwuXEsWoIgptlRo6K57QkuqWsAOwz3NR/V88Y8G8rsFT8MBuc4sJMt/2YBgvgl3msMD+76R3F/vWnSe8rlbLXCRhUWRi/X4yGlCVcAwnF+DnuyB/sC80MqYZNDNC5hx8D5IjNS3HtyG1rdhom/0jO0Yt3U9AXFsEgoet6XsQmhXxfptNSR5+JJ6OGWrPX5Gxd1sDuUIEi3n9++Sw1a8xcj2JtDrhUpWKpSLznjwtKB2BBrJMkzZq/udroj7Oc9sQDg3SXua2TG1NjRWwqGTZS2EKNkfovFS9l0wCoTFq+o8retyLP2j6pTmdJTVMOppaZ8H+DbLeXbNLP42ZhG75dkSBuf8lsFzaj7FncZICMSmwEYOkFOMSa+8gPiwE6sgyn653XfprONtUuSxo+4o8+vid0GYhWhi1ckmaQL3qxvJV27AkQ80nrxmFZhcVv14DzDtd4LY/Du3Kc4Og2zUKuX5KgdMU6rygrwE/106yVEZKRler+orLNjcCHSKDFQlrX4y5q9mamPDqNWo+ct3+LBuTYAASzm95Y0v65PzvCe1RhmVfMUvpqKadYABqhFN5suvW+w0BwHRC/LYvE3LVpYl2rTI23P23Kyp13aRKK1a7tjRVLJ2tVyB6YAl9Sq7T+bhiFZhhzzZXSJGEFJHeXdoQGJe3Pak2DIC16kzq3qr2LoOxnDhIsqkYakcVsyXU3Z6Vy64cKLdTlbS8JI/7+zKloJYuD7bgkRhTVefiz4G9cLpInGSpqnltgGJpSYEBjYc2OZr7bosvhIJ+ezaBFene02CzzIB/xXuVNytnmmATB5KnNI5D3LQClOJv5O4GUi68PrqqBv/zmYledJlEr2HUUFi+6M2XAcRPxwPjLivWVEFIUv9enVYDtuAu8YEX7ERSRXuEBWxai48oo/3BZ1kPQiD4XHYFgw3NJNVUcgs+odgLEAcb8AJmR93V+IZShaCffG//oSPVAGkRCeHE2HBYe9u1iptLmuroEYveJHaWME5tRMygNgpW0UhZmB9XV7oHL692IzEYtBQrzhSZD/nI02EWgwwJz8oOuab/FpczaIiKndx4hWi/ufgGH8K8YUBM+1+92wVkDfpA7gLvRiKgn05F7mBz/8Wlt4i68vGuaN4tEY99+hBJzJfEwScrZpoevUOVLlxNBWay/GeMLvzKzm7WHO2ocalYsFxhVSaBvv7GGOrJF5+X36CKTx4IoT0ZuFy0c+nBw/z/mfV1sVpP16z2tiVKfo42aq5tDRZ7GYe5TerUDnS7WZxEcaBt6NK159g9HeuzZoRUB0i+KnF0cS0S6AfdXH3BeLSogJTLKIV6wbdOibzA7Y3uIbc0DODRAPyMug1OiBp/PgUOocS6Qhlh5HtasH8SyzBNWzwbWgocVmtL2l6aOeJm+C/9EhBfHBDaW6WAoQ0ewLFkVqV0+5gmcsMkM2ThosO03fiDne8a+5KSVshYUdTpuNg0cYvO1tvqE3F8lqjj+9/4oLpgiiyXeidLWUC9NBpPB34kLs1Hk6D9Yy3te4Q2GJnwJ51R39fz5xn6vvZrku+Zj1PfHltMxKYKONaEJ2+Ec6xb+aHzg5Zq01/GuAgigOfW3m/HVd21IBP8ZUyKPccS9AnNE0J/B3CvT64nmsfgBwp+0Txv+jR2jIVMJ0/NYtQbU1np6vXvLa9RCSvh78RfiJowz7PnO+YJTfRpdVU2a4sHkmAzeCCvJWz/PSgvlaPo7KOF0mjK1K7OD2PihT8ozJHsLiUpoAYMjldkSsAjESV5pl6eC9RltnnpPK3O793tBTgCDm1CwdUl6r5ubINgKPFFQgxDBUAw4ByWl+yTCNySAyiLiRufWbOX2Ax62l0X5azwn3Y+Q5mHbS0RAxzedHY7orWyrrzFWOcqx9SXY8+hcqtf21f8QoBWNEmfoBHkCDqBLp/UIOZbRgqdH2ddNXrfiAzOSR80SZ4Dbn39RlanlLES70bAX16+6ePMmJmxRKywAcFf0/uBu820xcMm8eXaiwCAPVcuD51Uh7iA5Vbm7TW+/Kvaj3+tvIcu0RPf8m8jJm83Qy8BPIEOQTDIYNz0eUWTAqFhS9v952hCcgWzdxTgcpq5Xcf9C/Dr6mKNy/M7yBAN958pmGJ5FEmRzbzv4dzxuTXeo00T91EAClP+tFBZlaxiMyLprKmpDXun6Buj4eimAieS9KCEBlGi38Q6CouOvVALuvzkwO7j2zH/9b4uB1huvEMBnM6ERu7gMYvCs7C9JfzjMwJOdxw7CVUPtvpmhFqtPnF1J8l/X/+J/YmoMFYBTsD2CZtiQ9H6HstUP9/3C2Z3qfaNCn4bUbz2ztRGmMrhdtiECplR2l7CyyI6gJLmR2KwOBF7kyAllMyawmHGezlRUgiyWV9kGvuOEU/Vtx7ArL3CbbMCf9kx1frRKZWYDeCJKbXZmH4Bck1i6IusO6MhgLomJjF/y3AXLwxfU2bJwQZVwkge4OkiAlRgbBTjlw+xtWJx/S4984LeeV3UvexO84aqRbjsP/js+2Tsmg22q9hQ8O4a+yPPq+Aj8ZYtcWLvmpZUiV35rzY99H0uSh06B13wzeniAvshOO+1IbqqUHd2X42msvm+oCJwJ9vPZpegKWYzLQAX8dWvW2AkWoT91R6jfhOL/yyN9GxWeTnZ+iMWxX/gkDDN8fwCOgDGlZlFp4LURqsEz5J4+WCnQoA5FTroQmaSh5j1ai5dQbsoYl1Q0jTzHVUuUe4ahLHt2jD1zRyg+GCN6/yVPtCcEaBsNlGmYFSY7K8V8kbWPjcOxWnmefYVPhv4b6ix2W1tAtx7vEZPGN2KyNVln42jG3HhhiciyYHBH6HtQ3ZTGbH/TbJwflK66HpWkBhzMKYXTNaX19dQSSjepylR9/vLFN1X+45rFRkO+Ae4oNmZtQg2ITaDp3JJV/rDLb/XqK1cCaAjyv5IIjpYReGTFhsti9iKzzmByk+AWT6OYAAYDrVOlpFF7EQC5kh49upGeckqLoNMzxcdQcfY2Cr3TE7CJbYwNyDK1s60B/ujPm8zIGyBe2nu9LO6IgBnyK1wfYqTTXvC8tWbIuDC5yF7bsM/kv86uS3lmXdXaopQfII5Ji9w1OXkkVWRy8FR0J3tDksTz6kKquPXhBo3yVru4cz7oEsHW6ytbE+Ql4zhGvJPN17bmhEclJoMGLs89OgQ9T3QIJzBWe7GyKF7/GzJdFjkzWliO7HkOFVM50Kfpmnh87C8a3oBCAbKBdQfmDYdRdt5mISQoPXkgVkOAjeJ2CyJEoDR1uo8GxvlGBxC3qyvqjaL+SEGDzSmbrhahg0W+7EDZS1rAHFGdJNAVU19hg+FKmeRlYjVxROKvd151SNxCUS3J+JVJZXeDIYVR+rgbn8uS+PYQt7ffduzqwlKi/HPSmWxA/rPm7jXqWh6TAl6xQ3FKNt/5CBSd706z248ObR1McB5v6TG7UBnnpRDPYKlUlQanvVC8392WT+fKDpYSZdvj4CDKH8sR8XhFsuZR48NQUoYNZErdDhOEut/YLxaxkHYEdxLe2fXYbi17HBLy4krFreD2mWPidFE+g00X2LcHLm8ytGKs3LOnS8iE9272rpCsk5xI4U7EBEFUGSNzUexDlx2i+vaXX0NNyKI6VhFVUC2kDHpiQJOYIpMo7gVoEa4I+2JuHs8PR8F9tA4rYwzaML25FZojuYUMkYOfJrzOTGN0ZLaj8G4Tj+Q3i2DMmE1hMFzMGtV3NWM4pu4G2Jx7T1SK5x8r7WnUuCPwZcceYfKwvsLh11Q9Ye1vFi2YX+po6Plm8vp+SuDAw9gjddKcwJgpyBlqVzPn/n8WFG57O9MnHrQ3YhEqqCZjrQcTgQtW/OthKvUjkz0XfEaJ77fGO+6RkLB0Dld10RuOXwQtJg+EMWPaP8M0lPWIedmmAi8jF+sz+D0uqKfWclSkrKx3ACCT5Zj3dEAnbJ+Dr4AvYlljSjnObWytzwEtQpsCogfjCSkxcM99D055PZ4z6M10YYiLpzceXMXLLay9gqc2xIHqKJUhDib1sSZFfvyKNgu22NX2xz+523F/IWPNu6L8MbRJjNtDvtbnPtfzJIN2PC453cmwqLs/a2IwKvBccu1QS5wJ2jtb7RYRMRR5diYKqSldR4JG2AppgFTUopb2tSjmzNa21Im19DigeU+sOz8eKL6tVUykjvE4LLBlob6QlsIMsqarN5JbYWswAM4CJvvfTNc89eUt0nyylcADuNaBfNAWc1/O7L8YiFRbSTBRxWk4ljW1IXAz1wEQc95GPm/gMLFOTZojfatQ4ar7rZ/BPw2rcPPe6Tqol5Lewa+NYKRh4J73zNIfuq6uuD6tZTmak895aLrX4cJ21vDwGobaiWr6neLaont+0Gigd+n8/U7p7LkykQ3cCx8YY+jztSc+ngbts22TPrW6vWOyb+uuPKwi0xv94cgawdyhDB1G+/dcEEE7VLgMC14DycymgcvJZt2sfulc6p+7MfHILituIsY9OZ0MyFh/mqti2+q5723IYxYcjmkcINzeRzO0uJsVcuMg5MkB3OBqLoxHo8d301hvyEiin5x1Mwp0Y1Tx5HDep2gtjqEOhSbZegQq6O0T8RZazIU2iDUEt0WkjZ/lsr1lLjyRq2Fxuie48mMcJWFNjezKrliXmLD+9T2N1TauDQtsNhBxLyb6rdQwuJ2ZZ1vnRpHYtlHyItQLQ7KWVfsPxNGPSbjfgAvDLVaukFRR2YQIOhFtHP2KqJ1xhuMCMyz82UjArUiHFcZs0YoLKYH910Jvw3nXivlDAmFx/xVw+7397C2s2K8TlTr90+NeJIPr36K3FjNvWLsgz89mAGh+db98dK/Ji3dnfxBMVXZm48ci4XiZdl9/uRe9UZoZ2iewpKKps4vw/nrgSW7QADiuqpbO6l+31HT4Ph0zAvQ8rFh5xE8RHUZ/oS0QuGVUx9m7ea7amxnzea3wqN6yFDjLEbqsGAPqql86DAyHynNBYFNf3F/M6i9SFUB+EkbpdPVU7TFSPniuVfi17e7g2GFPeos1cB1h2HgBnTaFYN0LiKyq55C/FEbz5fTLvOHn5s1PCXi9ACYD/wuZQiZT7p5ha/xhlSQJVU6qb3D4tQfxu2xdVbPBmd9AJslYZ1oyQMERW85+/QRaaKAPYU1pbv36Xtg8RnCE44AqKqhCAjlS9DfuE2THk1ZR/Z80J7sm69SG+nFNS+pgb57rRtNjZX5F9bp8J6TwkvO1BLryHBTLy5sa4xw1oMTzLxX86piyInEIXDFrjgppghhAXu6zrB3tjLpoSKIVVtr8gB5NWmX3jAai3QR9iBwW4gkbqoBhNIz+dPvMI2nGBfKMAMeLnElqqPwSuSn0+BZaGbnrl7JvQMbX6cr/8JfmxatXIeCvYXkBSqmjN2hdxkk/mtXVdhxU7e2nhoZAG4B4AXqQXrqRRcdsREgDAuit5WZtlOf3D2z5ImOZR1k6oDSfs7zbEVByNbRHY+dMZFJFCzEPY3Xd/qNb0V+K3ECbFHQAs+gTksJ6m/r4e8jEvIjpPyOdkPu1Y/cItiQCBU0RxaLUhD59vEaieKLA2dVi0MF/7npMBW01NgX+GSJ5oaZzx0TAi87mrUod1QVM/yDfPxjCAtslDJBOlj33nJ8gAnKaCh4sLdjKHuL4zYRPWInwVHa0BySb/uB0ANDT6+8lZZ3WNCipThwhGMyY5rFw9EzfE/ON79QeHKlvX6YZ+TnBVxFucH0VPW0FUzkbz2c18FZ9/nsBSdDOMfY9SMY71xmrht9Ir0hQnL+YmTSQi5gdWLn7bYXBipu1BQqqg/6s/67mzT4jWcQLzShpvm2OUP9NXy3JzhQOJCuQ85nKMVlqR++0a3lnrC2kYbWOjikZw34ct1K+uB10oVzlwNK52LO54L2ywKvEnQnJWrHTaoaLwcv869EL4F8sBhL8+iJt52KGAnmh8th4Bevnm2UeciDcskR/nJr8ArJn16dE1HKJzvvGGicmhstgIpxXYldcvrgNSXCIJ5No6XGzOaS64oakq+pkP5f9wY6DsJcaftQi4NOy1+kqq2iIpe7sQdYAoot7wYt6Yl5O/u2PyCPX/Mo1M56g9YV0+WKwV8VPqonxEFyL0lvkqCx9lbWZBo2DHW3TGABuYV94gF6mQ1smdm1elcIfQodJgJnydOdnRxq18fT8K0TO/9I1xAdfs1aLAOuthRduhuQxP6TNolAi9/ZxhMpI6w9GOMGI3So52tejuwZ7rs01+0lQaBpXiDo6TIVswptW49iCw9C8+uOTlUY1J5/NXZYbZniJRdgP77y7JFkZwRmfaMAM2EkW52Lkxe8s0RuGu1O9oujjAZ6OK/WzQgdmx7w1FwWSb6/jkUQL17bDUoPkI0R2yXW2HXwVnfu7vpaTL3BZYnzZgno9arWGHaHlewhDWzwNxOttrcj5OjtnzyV4fr/MkqPgD4ujYgfcFtP3F14s4F/i0LCoL/cOU3TQZP4WpuFW9t+zE3J53VuquNNDG88oAf0N7kCznqneyN8CI3efDYT+B+y9FHcHiMwRHOwrFVpsj98upaQE0AC08v6KxpsjqHjl1OxEIrMwm7JNC8tKX1zP6xMOfhSumbLKWxgEDD4b56ArAOQdsegGuViG5GtVME0jbhRpX7yVIOk34waM4Jay25s3kHa84Qumg2/A6t/xYATHwJCDd/G3bPwAWJe1pjEdg49Nn3yHfxv3qTdX3gOZ4h3DVJ/Y+U6sWcT806zMWA6GwIe0zXRKtD8BP9dNJg62g0WfuTGIDSd3Ln7c76XSwac+z7XD17tzoW6BVpLqvAFDmtYyvCraDVJWAAjBxtvrhvx/UjdNb5z5rv0LUP32pHGIzOSali4uL4pKYBewfbQZhfe+m9KqfDFh/PvdoeSqW5fpoheaq2VYDEbwNTdRrdxFqLc50JMO2Zgz0beCbrRdk6lVk0mYzKRGjRotKZ2DobeU3BkPYsle8oWC8cNaKfQed1heEDxpvH4i/RZEb8UaJV6xIf/hp+3x4khf5VLIpPd6UOZImGIt7SCXRXTUlK0xt0gvO5I3hZHTq+7ZcmfX0WwVre94mvShdBFWmlVVlxattay+Xpqqy2813EyRmPMu5ZZLAV9ROXTWsa5d4E+rsHvqujaF1MdvigTaq1Yf4LhKfhschrYt6FweT5Js6RgB+4i/Zblj4RQBtvYwmIFavB8qgtgxoU2NjDcl314IR0dLdeKBw22/chdW/diG7aGdVq2cQVAMggMTo1wgqvMNYRFL+ZHLIhQjNENC1k5pUaEh0NojUQZhR+nefhr9evIyRS0YG2ymKPSPB9Yn3jtZZa76LRLFmXbFbxPIePis6C+sxL66P52UMMltliV8kzTvha0Qohs7U2OX+ffZK2swxaYr6b5R2ODJsomEFSOPUlEuwd5a1L35Dr6YjBbZcyPDKBoEtPn6Ued5ibfrZm4sUGROx+HUhUeeVPEJp2up+F6TjhOY4qq30H7vhZpN4MqsOofoc40MgN00bhePbMWgcuor5exVpU5gwuFPLAIQOIlnC1LuMIyyNwRCo6se4wQNrGf7v3u3FD1+/QnJE8P0+DDozDdmtxUjEEca7eZnpFD4/XBJtS/Xx6j1pguuR2SOHHNrKv4L3VbmP8TAFPoUx4eZvZ+lsZDTX/lJi5b3+5p9/GFhTLnrRHdKRHa1F1wH8P3M3fNRPx+ycCaKSywLGGaAXlM+AxhOTShz3UuysfnGJj2z8oNMwPgkmv0AokkIu673YPOFWQvuMGJqAk2UlJu+6YbPtYdH9NZDCtu1J312zdvTT1DJJmMUg69AhEPiR8wGjN64rA3WWleMekdNRLZ4nGHEv9HABiAzkBig8/PInSEd2HSlmsYglkHTKSeTAiATUFffeimhaHAcr5m4tOXV8ifHNbwi5qow9fBKzDz7CH7weZEA3PJBGMFpVodLGpdzFf6mgRwzb8cjX7YzxvYQKwPY1H4JnoLe/95D8axWCYyfhgIxWvVQKYhHU2ZyxnIWRIUOIXsKpuelBTcxgcftlDm20sVOxembL030MUAFptXMdN/x46TMikUTOZ1oHwArm1RbRphinUzG/j4ZRNvnTjwZoF3v3wLE+pfx1JntXSb5N0gJC+WOg899PWrmc1xFLUlafpKOMl58Far+Bd8UhqGp9WuLs9gUqXb1gE0St7wF4z3noSY/AXXlrDQEOK0MJYoj7Ae7NCRQChJzJQe++5Jimarh2i0e9w9Sy2cFoAGYDhxSEfApDqCg330W3v5bz2qjNmHD6nyDb4jF+rZ5toznVzKc+K0utfpb1b8fikMSV/4MO3eHbr3hZgpb57n2KF0TbZVP8M+NzSZGtNP1K9jhpCG+seCkwfyGrWiDT9ChdUEBgn83PP0jcszF51Y7/+ALl9DfazedGoc7Bjpn7+TRv/VT5IrM4otLBT2e8EAbol9uuBAsJCVn9V5j9CCSR9iiL5sL5ZmcpG6Ryn7m3BNQuaurLsesm6d6+BxWT5UwxZxWkXMhS8/wUBGk938QkMGrGaYSkxj7hZQ9TVDXLKGZ+pG625T9B5zq+a1NRVAOR2jBedAvu1upNxZxh03gNsZffRUpF15XpOjQlsl+XcJmKEFWNbFrg4SgILXF7vCoY+cZSi94PKBdVfCk0nCBC9cg9Df77W8CXMb3usl7UK1vUVKLoWrHGZd2Cl88gmkxY3mmvl84/oqFmDXsogERSfQJ4w/67JvGeUzgsCtFTQhykw9SwRNnX7LnRXCDDmNTNmkKMHW28yrv0OmXRWnECG0HkfxqiNmyyYTHW708WKJI6zhmM0+j+2GlhayrzuXPdt5teWFiaJynCuaMY4gdSEUe+jOR2wDs6XbA9PAgs6Jsa4LOO69IDkD4AQpmyuKMk/vDc9RKXqX7S3d7/U9LQLnv4YNhQCt6Qsh6tRNeM+nrIusg4fcCU8kFHOe0eKFeyGooawv5UlNmc1/tkQg2VeZZ5WdwSqqq7MX7gy4YYWcgZdRdog7tKTrjCykwjavhY4/vK1CEA5RrWEFI9c4JVNuNzALpiEcK3wCeByAWEdxth1jFeM6ZI4R3op0Eh5fAywGslX/1A5I37w2+MqOWe6b+jNPQOjhEjHjzlOQNucKZzPCPV/C3iozLT9w24F5Y6dZ+n7f3lUriUaaLafV/CVZqAPDtMYppBUqdwJfQrl8Hs+QXTLjEQGD2/n0XWUbG6pT+IqroNC9pqLru7jHFLiEIeTLp2vL3zw1O1/NfDcD/wBK/+nMTYWy2g/u6eDvt8FN1JCEhh6Nn7yWKeaR4DFSspoKWcm6Dp4UOFtWdzWJblyPSQnZsgqViYbOVCyFynu4otgrjLVjJXj+oDstyU+Mu7uThwOx/GgYngSM7kmiQnqlweMxAmIxhcw4Oe0Eb7vpUf+C+ERJByNVKvzR1j7usWngoyJ11f+2YT37zg1GJORWE5gw6g3ftoLffkC2PsKwisa2q3ExifJmKNStsLFHScVgSu4TTD75k2/fRRs8k7DJ2Roa/i6AU2Mf7K94HNL6+aizrAo49wQSntifKqqoam77HvcZ6GO3n/aqcKE29W3yY3uceJDV879EVffqSTEfQPaezQZ1qoa9G19wtRhK87nKgMPn01ocYkNqN7FkSlYxw13VcWamH/A/udH/W4UNT7kSVgybM5BkVQQ9LtJ9vjTz1en+a5dbbJArtpElDW0dXOwrSiT95kn3PAaxbFJacukWtRo353W4rgj2xNlu8ffe1ZG8PZlxL8wc+vNYcJj4+MoNtuOGDOYNmzAR475z13gR25D64u/ffbaU0i9ccLuV72VuDSupSnq/rY82BAmvAv8tzWZb3MInU1G09fyTNeyFMAwBvVmPiI4y8DxzK/jKxifcm2AmVWzAW1PiiHIHHenJVLOvIHR7UqfqWF25kFi9HzVO78cK+6DYQMSe3pWGc9MIlVh4dn7mBZSGQ4aG2HnPyXqqCzgiJIjDoaIO2YOKq3mGXHaxL7rl9rpHV2ysg+jIs28LiHTPcFmbPpBKer+JHbrBGQKOUmazpNAXe/pY2hOoOrEE0FUNDDSbp3hoJ32mk3CkA+Nq0A/BEvPkFgf325EOoxqgIGIT30BONel8TfqNh+uzAB91hdsEleYTmb3JyiOEcfy5JrL4ZAIaGlhzG8h3L0HaqJQF1GSb/J31JK3sVW0nys5VRvaguFSvqnsJe4m/EpAuP7MZTkSfs57bSt7h3gKLba+8F3uSnAZcMhlLV/56t2qQ2IFWYKUDCbIAKZ6BgmKh68wxdHBEUlSdr+Mv8FIY5wPusnSTyryKkGuEHMewjJ6l1B/lbG2NGLb3M3aHrjQVZIWRMAO2BZl+i7bdSoxQ==">
            <a:extLst>
              <a:ext uri="{FF2B5EF4-FFF2-40B4-BE49-F238E27FC236}">
                <a16:creationId xmlns:a16="http://schemas.microsoft.com/office/drawing/2014/main" id="{D54487CF-AEF7-4FE1-AA8B-9BFAD40632B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3493329" y="1242222"/>
            <a:ext cx="4917915" cy="2318395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0E15B4F-C11C-46C5-8AE7-69034298295E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1982365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ângulo 29">
            <a:extLst>
              <a:ext uri="{FF2B5EF4-FFF2-40B4-BE49-F238E27FC236}">
                <a16:creationId xmlns:a16="http://schemas.microsoft.com/office/drawing/2014/main" id="{15F25149-7E6A-4A35-9B5E-717E33D8DC6B}"/>
              </a:ext>
            </a:extLst>
          </p:cNvPr>
          <p:cNvSpPr/>
          <p:nvPr/>
        </p:nvSpPr>
        <p:spPr>
          <a:xfrm>
            <a:off x="184089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1593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RECEITA E LUCRO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Acompanhamento de faturamento de margem de lucro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67866D65-16F1-4483-87C5-AA442439330F}"/>
              </a:ext>
            </a:extLst>
          </p:cNvPr>
          <p:cNvCxnSpPr>
            <a:cxnSpLocks/>
          </p:cNvCxnSpPr>
          <p:nvPr/>
        </p:nvCxnSpPr>
        <p:spPr>
          <a:xfrm>
            <a:off x="805191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42D8791-50B3-4465-A0D0-FB6EB1A6C92A}"/>
              </a:ext>
            </a:extLst>
          </p:cNvPr>
          <p:cNvSpPr txBox="1"/>
          <p:nvPr/>
        </p:nvSpPr>
        <p:spPr>
          <a:xfrm>
            <a:off x="235847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1558506"/>
            <a:ext cx="251891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Nota-se que, com exceção da receita que apresentou pequena queda em 2015, o indicador apresentou crescimento de 51% no final do período analisad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omo visto na página anterior, existe uma sazonalidade nas vendas, o que também interfere na receita, que possui correlação direta com o número de pedidos e a quantidade de produtos vendid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hama a atenção a baixa margem de lucro, possuindo uma média de 12%. É interessante o estudo aprofundado nas despesas e custos da empresa, a fim de se encontrar gargalos.</a:t>
            </a:r>
          </a:p>
        </p:txBody>
      </p:sp>
      <p:sp>
        <p:nvSpPr>
          <p:cNvPr id="31" name="Retângulo 3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+G2O/KUlV8e02hjESVKBttZVG2MSge47AvO3csr7LqPwS0zqZqMRUoDbTsCHRULdRMUQb5hvvoEafKekxCbq2mHSyKuarqWlrhQ1sU0ha2AU8ezAuaWwUG6rgDDcPnnOFJnB82TlI9wyOYdM7zdzlDcKNcm3KohUHAJbRXqDby3QXSeri5ZQIRVXFK7zp1/cdvLuxSm3/cmuB/zkVGxXeysZgzXnJkevqo6pwTk1GhyUqU7zfGVPYMbSZ1nwjMk1xcpABFsUjm5kwrrpxtD7jXCdWXE3IYer4ab859JvlWti+PJxmaYBsyjyNdTL+XV6YKuGT4oPg5y6/is5dyZKGtGnexByvWDwmV62Of8/gi6p7IjfyrTuv2aTKBz+Vhs0IWriHETNKeujxc6kwjoUfvi9fezff1QQQ1PHW4UMUlzI0uieTThEfOJR4WNwY1DcHIzE2oU2jL+e6Aj7gJCMSoIlnXI64km/fLgn7fyjpC0/r2erFwodtPab7izEjiarAXqumgxU0mVNoEV2gW/M5Nxur3I7wxGsdunPyln+QNwEivjzeuCSbQL1vsh+WBWngAKkK7IfEzNWQwSJgducFlLS0uRS5arRi3Ov0Bav+y6B0BGb5+T6TkDk/8m0H7VLyOmipiWOlxCbS8eazn9MZaFC/DsqeabmU/ULsW0BwK5inpQggIfR3lli8C4ugzG4TXr+GeC5/uInwgxT0cWAENWKW2vb1rniNi12IFB8GVwYtgmk1g5MfSrXoWzr3m2d54MxQoucEmjp/sjTt05IsImWVrFFSS9WG5tQ0GdJGHmqYEom+yGoaHieTt90bnRLnRaV8fWGOx+zn+RDabFgRJm5SVLPK+Upam3t+j7Axg8JzC8fjxPnPJxrHjDMs4DZ4kZVRmpIpuA6eIssU3X+PV4s/qjC+MqT4cgf0T/TZJfIIGKZ1CvxxhKahtkbtdx7yEsRqOG+jb4+g4zX3s9cGQs+4xm4nGmdYbLI6nJR7l8ZfZCOBrxlTXWfv+zLcwnMrmQY0X5aeOgRGC7/Hzo+zt4LuvRXGBZv2rTwSClQngPx33DOSXzULt6pBOJ7fZBvLqAg1auTLUKu0YPRMLH34fHQlfFLGeWfEz4ug8ayB6ROpfW6XHQu0HFTnKWzCIgw3cngLe+E25TOpe43LSHXdR+gJUjuMl5kDH1IIKY8I1zY//KX5e6YCCYz5+pVfXkycKeKwcE5PWle+ugcCJF17gbHz3cPeiRhXB6VsxvL1ENNAIWzzNKvviLvGJF5u613BxsOeY4AilwdcJz3s4OotqqclwE726N3/Gb5+EPtgNrxy3IQivLCm983Elm2RRtsn5tXDdpStqjeu2uCKolLE6SyB8O32M11gjVf8T00GAkeSlHVBZR5XiUQGbB4ohEvumbp+bhHrOWquwZewrcQZQV3IgM8sqdp+dZGxQ0KDUi0Evt855HxFQ3RmOM8Mi1hnGAW+f9+Jyxy+BxayvGs3mvGhd742yVUsSnagPHMpx11oryfgkOE00trskf7MjPhYpr2sljaIaVWinCOf6vYzSRXMy85RX6fZCuIowrx7QKEqWITt1y/puSyYWFKyBqeMJB085wMGYVhcWUN51CNVOTKumZSymoOzU+QvCOppNh1yh2urL67giTZ4bSM451HQnpToWh4lOtPMNS6PeD0S0zcVEEkQTqlno7PXZtPZvCq9gqj5dTzHpgF62V1aCCnb/r0nakrPEi0zWj5uJaH5y5G9YXz3Uhn1zFjazPSaHg3uocZu28y3DHKmWpZ75mMIhwLhlMqIomdPhU7K/CAi4b7sz0aR/Gdwi0obleLAaySi/iviV/mc6CER1uvRppFEtO3fMpO65q8A1IrsLhlGPPQFu1FEOdHViQFtlC13WI7Jy1MMc9EXr3cpeuWsc+iXlyD+VpXipMhSghnk354J2stRqR96JB4np2ifp7XJAwq1odkRW0Sk3UD4lOxmfgQzl0JwE2hDyqnjX87qF3Ste7uRCvEz+EJCSlYLTio9usmbSi6nF37AtMUFLhwIDGopuf5dz/I3p3iDpSek+83juXTlpFdtWHXmKuix+eiFSN+jE/csBpjOPj8GUt9UFp67ppnDLLsxL09/TeNTv/FZDEAwr5Zf8gX2KtQ+FTQIstGrwoxdmflMauBLX3MfAXDdRO5D2H8+trPzY/HS8y8L+FRISd4YtUhhMkbeTG9T7GafBwrb2/Hxq3QWdFfb3QLVqZ3C160dUzHHS9CRuv41atjKPUglgMc40WI7tSOOSgno866LPVBPYL1eSIS6yWqRoTvfywHOCugqOojrJd4yQQbFLfkAR6D6pTL3DO0fntJxJk/ehrC75i1tGD+ZUVzxsJpEBU9Jrk+s8+YIMm5VzGqWi+wV/HsAK1LZ47nmxGTZIclZ1hsyL6J0jbb3vGoudWySFEDlnxk71wqBS3DRVpXky4D+BjHB+MP27BkHsRoUMyxbXni8/WEluQp1bRBgPpXH+oQiK54wjtZffb7PQEFmrQUm9qGm6GB85afq1uzGPA8bvgKPk/pKKrCwiBhahwC6BRzYcak+A+RD5SCqVaCmJ+7ohzuoDG9JOeph2XXYWJ6o4MllVsoyjFZCSVbAECpnI+t0H5XjrbTsI1D5b4Ibkj34iYwS5ZymARJM5ibIP4GeFSB8ZPF878cy8+swpJxfEmnuK6wrEEjPZ64JBOXF1FjAlpmROPcZ13Mm3EtidUGrl5KJgYBtsKj5x+/J517gToZ3tpPJ+f0QLu3PCI3lbDoR/ljbY9X/5ximU3H/TcThTbLAEaCKFbDcbjOBZsQfVC8tNC5mQ3X5ftSk+SURjN8u/1kB3hOxCwRjZKYRHW83xaDxgtyDNFVx9ClA6KCyVeCKbIM68qTyTUFzr+GTKr/rRQr4DZsFJza3rt5LlZVuYVpShp8m30Aa3MXeAhvNdtgzNF9B2iVZXzACmcv1fXQOo7H2PCvIRiBn21ZeHl4Soj/1KiLpikXic5uS/9syGBZMiLJML1b9TxOT675CXc2WIqxdm56738YwERkSeTxaX3uYiVZhJr3adTgG2P3FcLGxtXOjjNX2rc1ttwveSVC/7SukyeMf8YOZXho4dAjOFq4Z2qnlCnJwBcWFIUrPyd7HGsywWUu7fUzFF3016AJJLvqOQ+Nhyk2/6l22s76zmfP0oAbp3oEqYg39n8VK494puC8jyczOSsoas4BOdIIjayeLqi/r8qUyCCMMNybvc8a16T6inpV1+P7kDdzDXiSnkjO2dfzCkky5AAIGzlP3mAvdlPX6rthjED/9snE5kjqphxrJUxW2nFodmgfPnS/mb/PR+ktM1jItrAfaahAhK3KyuXfCuLcnL29NCVSwhXswCByJ71nXfn0BrfXI4qC2X7sFcI6v1Y3Gm7KvHHECnv0T2/+bPSdt1OVgADfoM/wdtcxOMYk6JT243OZtZDD98ypU32N6WChZOA408QWc5QigEgRh960uePUADmkWdxpw7fHYdMJGoNQ5YKgUVB+oDqWlYeQ+8Jan40MpmBADkTaarNKxT0Qf53QAZVqb+ZNlCJ0R+CUCH9nexkIFzGF57Os8LHq8E9FzK3T+i16oL17DtRXJTD8IhQwmnTMtymgENYBMD8ob6WElnvyp3A1mA5/wxWlZBVKjxjxubuL1lQrK0rJXKHvM70jReU/w1O7+KbPj7ZOBXMsx2zsduvfnn8faBtFRUPhaIAg5I88/uGhwKR6ax0+EFnoXqEKCSAQ+DxgT8QZ/TR49wvxB4zOlYL+S8bqoqD+03r0dRJGi5lVgg1sSEJ4bzQhMevEi1YcLrRYBKFxUVPXOYsM8hFkERiXl9GkV204DKTyhrjTAsmebnSwCCy638gZyoJDsrTjhBF3QRBPSWFr3NOfanpJazD0bAc3M0dT3U4jeR/aiOaRuTm5PeazrosBxOIJhx/Gzd3b2u9HZpOojGh9z06u98/NQtNUZLassv7ZQq/51RZdo+4QVj81KX84uU8q0BuiBThesE6950GlMcS58KtXklK7XHm3ZhcCz/zSvUL82yJp4iQ7sbdBsW/d1Jk3qZakhr1MEt6K3xqpGqnjDfOXxK7XYgA7yU5WGX0T9Og6QBqXjFDtex9gVrwyr4edp/NBRu1cRQKR+lB/20Rz46fl20CxTRt5PEpZ3Z10NZXVOhAM763pSkwez1YkZ+MQAbRu8zqzxruOpCzNI3G7UVzD7iZqqVdxifyiMCekuQXsSZGjc4FnEJ7ERj/+/8iurmacue3o6SEs+r4nK6iRV9Pxvhli3YOnoC47K38+PmiMQNjUf1mli1luwfw9epbfw0tzQHZqWZQrd8NvUYX7ku9+GZjHRULWsEvy/BjKLSou+4nYBoGY/LgGvw6DywaXnWaiDmh86DbFqcLGbvS+4rvVlReExRyjv4Ni8iyz/FM2asdCMBl2N6t8Ndsq91kl5pGCADxmCu0cDWtNuS6suT5qGGgYHHCaIWRTXnVd7vNCSBwJXSUiO4f8JZK7zCv1J4FYQNobiAqNiyK9TwAXhVlFP/ahGNus4B/BESt8pfisVYvQnc/8YWVD/BNAj6yZm1lg3UPTx3imRQARMZVVkQvCTnfQX62Nl5ZdTq0reW48ezys7+t3PYijOjG7mfV3tDKiVdu0j6bcal4NQFxl6krziFuyj5u8iNApsDLPdfmoJvw9f+9z3t4YtyZNjfsU+fw/j3xt6QthgQbTvd0xIdQo+/+U7yzgBVjxreRjqzbXY4fDrReE8rONZ94R1C24gK9E5i1ZpSx7Q4cMkT/Q+C+D7/wF9jV5pKrtnArXf68B7eAkf351nhiZ6ozPu8TQP+N8UxDRQz06UFKiGM0RLPCVNafCRETYS+TjSJ81vYGyyt6ux9/bpgXcc5yrkIyS7ZktgnOIjI+PW4TJTyxrnbD2g6sD1BQhAy21AEIQL18pX8NUrYBK1dR1GlhLIzULqy7vVxwWONNxctJpzdrFka2x6Ji/OJ9NANo9qUm9pyeQoTSmpRcm6GPSD67qMcvAwVBI+zzq7Q9VvXYiBAjIKJu9adqEgXdiJ1JXNFuILfUXfCcrM1nXmPfUeEFHItVx5nMIvOLdaTmU0BO2hjzh0E8ggSYaq/NeiWw8ReOKlxRmqJW74rXCyQi8sL0MQVwEiSnUvJg1NBXuLPaFjF7REQMLhc2XuzBOOU4BreJfHidY4ETDOd05lJC7qSkcSEMZW9faT5cJQc73xcjYyCKiEBlOqpi9POL247Mi34GJCAW11nAxhTpBfPw1xFElcBXZ0v4DlhA7N3DSm8R7nAD0xVWz/Zk32ntZsJYHoPDrVLalS+25WiP+0d8e6MuCXYdO9k4+sg96djaQZI6Rg2sbV04W5tZXFfIe1LS0EQaApqsIcDtSxIm+Evt5mpMlcl9Lj2weY6SjoaLGdEnS5gCwB0l7Yrv7hk1F8g02Nm5VVN9Vdw20ZMzeo8m5eQfMDbChKiccaYd3FgTQNUNx7DtNem0qmp4OXWez8xckq+4qccmU+k8ZMmPcnMOYv3XRlxuv9PbhwycNkFCaNjqpqhOhavAdCwpffv71HfflWViwr6KM3KzLt5QjOVmPIsnkIE1i1UZwVDjAVrtXb0+RnVpmRFDvNsbNUU7fVrUsXlkuZwmVXNgNjXs6asGWbEDQLMctl38Miz360nheNYyxkFqvzT8amer8S0Ypzx8KLI1MY8/A/gR7vb0oBGCmYi87qoJcEA6tHZXASv2dhYQ/thFyxX0YYKnbpKazYN8hUhymScEPmzj1aRQE9w0FyU3F6LoCY6evQnkqRFC+Z4Oq11zSAKtT3/pbminknJCnCy1om30DWYyJyn9EMNYwt+bH9hXqIHm7CuoCrWEg1rPxtLQT5MMQpy92xpeXJGp4KW7h3bYXjjEPVUQpLsM8Vb2cszWWorChVYP6IArqDo9OrYYbegKRAIKTsVL/HpZX90x2IwGwCh2zySFvEJNNC1xLUqo4ni0vbohFtX9+lGkYMMQw0bPHDknZdLyja42wsJ6a29ZPOVMrspuEeWkKsjV8rcd38T9orDsqHFRTvcXuAnx3lprIXM8WZIUXq56w4Aau95VEYIWEx6lf5tzKVueBARehUBvAm9/06/5y20IEzl/NJUgnxV6ZAIe/iR19it2TWF7ovYefdu7iSagU2W802DZseTSUgLJSdUWO60WGSIA9jsCvt3Ivf/RvOVUKPIb1BBOnw8mqpbnrBf6tA7PD+FDwvgJ5JYOVWcCou8BNiRiknqxx0a8qxl8MK/cwNBaKD6X9LwanxZECTp7f7XgRDvXF6iDDepepWURsA5isfi96L5Xl31vG1OW/SnpZkYyhBZxEELVZSUf74OltYd6P34UCaXfe71d7P84/j5FuV2hO0piWAvjlNvH7BtyECvAWZjYdSG4W78G10KhbETeddhUMqdU0A+T6jEJtL/XmXRSdOPv95mRT+GsjU8RUji7GshnGTE5TF79mCl1nH/PLVV4PKrmi0FKOhfj7H0lsr4QThgACM6mHm1o1y+tf60KfuP7Hl0W/cBcJujpw2wNsqsVXPSJDQHHIuhp7xyGkDXW9fEKWV8Y7OG7IoutCzM54IMayPG6UXMSmWUh4cxL3ksmIAGnvpBs8GA/Gp2/Nd6zlPmq/ulJgQi3SVqEAQGnm3Y3e/0BvuFH9y4rk6p4DOZrj0W+iQw+lBtmMxv1chlFH+InG8iGEbfSa+tQ+lDOZyqB7jq5ErZWQdGxGlJbi+cHRoB2N+xoRcjzkfjx/KWFibHWOR8i6zwCcl/uLcOHYl5cCXovyBehkz8OlPWweDDHD4ybypToyeuvnb5rhd0wbCwD7KuPCqwK3onrbGlDtoAf7JyZfgfQfnRI1SjogFn5MR8i5G0MtqQW2axWHsgCnZ9NCUyenjC6iRNeGXKwQH7jlo9Cmx+kx7w9kvHFl+Zb77V4vF5huGmq/mdt2wJwnujyBtkbPIRM9I02s/EfDTRnxZGMP+oAtcFHXO+Ufwr8tZPNOUPBIUv5gU/vELAw9CTw2qH9zA7JXFaFcq006Zi+4/+tJUnpuihXGKbuR7+RW3E1GNECaM/qfH4wCF841jjMhz+EFW2FxjnYaQjPxD2JetdDePbpp12M5IaWAO++ITcfcRyS5SxAkGdBy8dtqDrW/eeozoW6cwCZVNw0WRG4gkhdsIRxIUcXrfIyCkZ1NUZVTnmRX6J+8L2qE5JED4J2TeB44lUQIPNGGreMFqn0KGFe2CABgTvlBLJGpiiOzwXrio0ep1tTj+9aeU+yTMFTKEThpkVQXS/q0Lz8gqRxHlzI6YOaIfP+xvauP/Es5ll4HkUzDzTdPLQuvFyPX3h+JFSkMy1UbEl6EQpovrZl0hrMuTO/lPp6F/MVyjDjOs4oyztsJnTb16t6vVSXJ3PlxKzdbY1uT4ESske0zDj06S4HdlS7oF3+xpkKHqRcP5/Vdc3afJNKetuxYdOU1F8KDMksWJkXxzxqALaqS5Db1RPuVR9Qk9/ReEW/1L4HOVGWP7LAeHm9fC5+cVaxFMiyDLmZPthpXD1L9Mua2BRl4HZHYZBaY/Mw8Eccm7vbglaCoFB2BwFx94D3bJ0GGrwMEVedBvlCpfQumk42JZhEGfFfTNOiD9qp57r9/IL+jiqt9CbJwzkbY8WrUrkgrW6rDdE0iXkg4r79IzTtDdFdsjR+2PS5NTvZJLxg8g6xGIbUpWvRBMH+TSxA1NM8o7ymnx5Hb8hHWAVdehgEvIvfXf1RR6uSnVh6wF7af9CR/KlsjJ0WYluw601hQCTCvgpVHyqrNaPVN9hN6cQEXu7TtrXJP6Lob+3j8m+Jo6YyQRfKxqs0gI5QQEJRQK2enyGY2u+9c49cirCGkaovFnvyUJnXGgKM6s/Y1/6KGUicpkz6wUxsuqcV/7UCJ9+5dOjOeB1oZthrWk+hHmwqspgcjfxaeAM5vRM0WxQGbaMLshO3c5sQa1bspIS+bidFcc7G0SaCP/gtLimLCED7WYL8lDoz1vZtdpA/mor+6iNUM5oPu+m99I34+bB4km0v5Nqh/vek94yvKlfhFmr2bNRb4kNqZ9PRt4Pd279ugJ7X7FhRNg5gaGU0lkfu40ZekV2OS0SlkXsIjZYEt4zqPyyG2qljDHvkb0DHyZmwFO2VOhHOtMUc596+M1mrkFQ/Nd48l1Reu7Ym8I15xs3tXv7+rCDigU9gn0nMLL3bbkZW5sUzeDTZ/+/UcuGYZ0HsXw5CiHURE/YgT3IZRo7l9Ngv82lq6qk32CwS0qIlyz0wSdP5csyKr0L+BTG+ZzNaDxdN8cAx5X9aNb9KfiWcJnLUy87V/W1RXMKgZO+VKcEI1pdRZnr4JKChobVOJxYTPdCh16hDogeyl75uW668+Wr+zuAgI8ZpCa6bKtrfgUJHtPvCb5PlIr/rFoi502tQcOMi8Y+Ad62C4980PBWdI7Hf3eigVlWGeXwGZJYVHKjzriAwve3uLgIP4eZb4C2re1F1Rvx4PHM5g7IvsTsE6g/l0kMv9EzKaOOoWrNBhR3SuHh7GHnmgwbbMrgd72JZRthdEvVSMKitY0ZLWSZfey8KOHlxmsWuDJnktgV7WtOqWMcWUaltGe6TiXeL8IttcapAjwYbjBfpvWUr+Vu7RJeUXjBPvzUJsiF7WElOCyLmnrPrXtmzp6x4zOKWr0EJbkHY5KN3v8FWx60nCDQcSk+9BCxvQPnhRjlUw1RHAXinbMGoUI0UR4g85Xwlf/RV6pFTVRNKzX8lLTGUo1JBBj4X2Cc1McT5VwclhSI+NlDhbfEdhRJnD+SgYElgEP45V1b1x2nKBD2Bk5Wywumxy6ug3dTeVfaRoHr1UIojAYvVIz3vSiUoDdIlN0L7bfZkgGWHo4OG9oEG8nvztJe+cD6t0/X2QKTzAgdOrz3wFLzEyhWqwNBAP4p1PstoN5atxaYGRuMZroUHyCeZYnKdMCJVcP0EZ01NHNxt7BSu4zUAWVZ3nD8C9OJP4ngtpUNEVPBSvXLWb/HHxsjgVdzPqqMNBFKA88vs19ZzLU1BPX0WgBke2+dI6ekLmxo7yJi03syGRM4nfxCeBHKhJMqG0judymXVHghyVrJJexSttg3n97T1mYvkzIJRVvV9b4umr4oMCEtKFgM882ZY9UYZ1wxcZJaJR+ITSgNds0Q40jTl+DXU7yS1Jg4+OqZKBka0A3mVJCqi8gNHMcIEItSP+GJfcAx91mh335Z1E6htiHs9hmpAyCjUMOju/4mMbW9F+nrZUGa0KVij8jgfdL73g7ZycAPm9xW2RMeq4choiaqrfmrKHXGby3cL1GbmXGwZ0UXRp+TdR/N0t7HsqKlTZY5YVFTXfbifv/RtPE/jIGn0Md0XAiBTJwx9YGrp5zq5eBlCocdk9kd6tBy2jvqM7Rp/Orr7zfL9esQe2KAhTz8HP6+PliMum2zXKxgzoAPXzQEV/aFUSgZIsjWNyZSDesrJ8OpCSfpXGzebiO8MUVsVmMkpDf5XW3z4+5XTCB6XQHnO/B5NcNig2dsgJ2DBY6wnuxj0jaJ+ZmDTzumxaP8rk3Eml4LEl3glHegsAnwyljlOYrmQw5My9KUPnIFEbo5U/A/okq4MXF4yBtwqLPDC1NrS2mzLC0h4Y2Ug/iXHxQKhtHdxx50vsNS2zAg8WzZptlSowTvT7CrFi1TLdy527Ii/cO0ZdfpTJ7n1Qe1i4o90zGd+uctDYmHy0aSYzJ+/I556sNLZ4J/U8sUMAwKlXU14qOsjOBg8EAAm34M4f/SI/kk6+KnheHZbi3WcSaZUTxLFzpR4Ygi2oHBEKwyw4NoGZZnofYark3OSYdqZVnrysEPiKM1v0121j1xOJHCHSCkrF1PgR9YExTQAx8eMakEcfnqq+xha+HLpDBlC1Zji4IlRRhjN59jtlMn5pnX4mvz37XDO1+FYH9uxrM1IeNJQa3pIlPBLqvK7exyf0Gm4Lo1yOdjQo9Dg9NUqbJJF4iQg7/kehvfHDtY5fYqXtbCWFR5e5DlvmzRZ9wsZ393AGuKzUMz9ldx6ywdZsjZ1msCXuPDWgksVn1ftcIq7K8n4NIwQSqWMw6j20FYQH7y+CuTe7TQMUqz8RYqAx07aUpf6H+lBgcR0sbxUezTepb8LsXnzomUSIZsUFdPdPcosaClejaRTizbD4VbE/nIrPupHueEBP0ghH5hb0Ir+6lokLpzGB51A6Ghn83M3aUFDh2F36hAFXOzjhV3HSBEh9PcPHwubzW9GRR0vkyEch7UjRYlP8ThiZqRRtkrXrf+2csup6CYWihGeloxkX+4wgLKdHyE7nJat2MrY4+CKlI7IWnyifeXFGNg8A5d9wvwhq4+OLdB5NUDa+qTZbmS2zGk9wgH5QMIGEnu0IiI7M6kxaFWAL+uWLOqAvo9E6GhmYCFPKF0QryxMlwdB3mUJKPVj4Cr4K1QZwb8F6mU0s0uppw1y9zrCjcMOCHrTeFzXQ8VNm3WF4iXPtIJLIqkTubR/R8siE7pueLIpEkZvCWoyyXDolFGqZ8t2vUzfXhFHYUjt/pzcHQVmjt6yPe7hpV6MbMuDiA2A1CHjexj7GP9fpErrj7P3n5JTeccLQo458tCRvtR67PdLddlwbbPzm0YinlqCAh2lH/3NHDgV26ikzL3bUtI9kuHaEnoY+g1OSGwOL0IEBU0vsENCmIt1igJH3n4Gs1H/S2bs3ZoXyPI9ruF1xOz/C35x8LY5GhvIt069wxjmIs1KlUuuYvFNTmHhT1Z6/6gW0CSkuQj6NroOux8nEvrsbvj7k6Uxdfxpqx9I2jyO2fRzAzF8RMFQI/oFN0H4XRx1cWQxA4v7DywkuQp4Wivdh+0V+SPaod4f/b7efS8HHEhA3+qSqKIAPUHEX8V7skpXsbR+LqaM8jq4HYULJNudPcNX0v/rxEKrsMcQGOikHLFd3/qGFqC6ttKnGcSw+CjSTmbT6U8rxULFXD3UD8OlZVNw0lGsehvJId96A4vrUJE0yb+s77yIitA86Ijb/H8kFm21CH/5bOJNQiv/Ek+R9Qzfv3vdMDvAcwF8+2X7hTKVSKIBAC2mQrv2+3Jbc8XCKrOCQt2CRvBsrYR9c6Mpf+8pQ0SpZoR0+bPWBfmUPzfwG8BIokobFdZPEYWg3cuyyY8S7z2S0MJ8fudPKVZTTwlfq7o0VVbqIF1WfJCWxFIlg8H9XaCicHjidryaYAAQYA8F/lty0U9iH4ppjZirjjLAAQoRTzcutj2BlCU3McFtkEdYjvbdj8mtrXhpPdJku4G/z4XYdDuL6lgx4o3qTIlWnAilpeVfjOIy4iiINmXw55Beu1BPwE2yAixR8jlRl1AXi6FJJvydYJbki5m4tHtNq+DP2iViRbbZk7zVsby5lyckCdV8ukCfdJIVFsf0YXcCypA1kNloL0WPyVCgqPfFOm1V2XdC2kMKWgGWBVR1S0E5+crcpWN7X98l3qxmCBNTq5TYvAQSks5a8MZd9iCD8qys7WvliWSL9zqNuCv2e/w5YZnir/jo6/KRmT6pm3wN40nLsfCK7h/VuT35MBm4+AB/h4+XzXgzb7M/OftM81W8bIa+bDgy+DusiJjSMI/nnJi45u8yQEPuVhT0ZTxAVB0nUSV79f3DH5zzynirxgvxmU1DKOlxnOlha3IkLVDMW8X7D8LEJKgQCi10rK5K2rLLxJIu1p0ZKb6G65EnWHF5pGiSbDkUyMMssCFy2kHRzgsC/EkrAvwvUQ6PB44dkcItbxvIRBuH9Jqn7jYbt3xFr/6D1guOl+PB8OyLSlMvYEQjLnknDRNXO0vvA/54L8aZrzVevqb4QE4FPjkppm4/zhcSXk+kIyIpqrGXiM0dkXI2SrSqvEDHtl1Qwa2hgdSijyvgpu2o0TwqOSaeij0r4/9tt2JA51K3arFMiALyduI86Bi0tlIj6h8TZHSIS/B45JEWjA1GWA6kz1e+hhRYzufDQURpPIsDHQzVKapcvovVJED2TkXzlPy66PIArnkjjWX3kklsB8Iw/1c9CtSzPprn2Dm7dUuy32N3pW/UcwBcpscjIn8owK0GLVkpJ8Gu6Tiyp8Pjwi4/AUVqiC0yUIHS+eV79j4ejVagGo1x0kBwkKDmVVV8HppNbwjjA3O/lLWBVC5KGQrMkqi8w1Ph59F6S2BaA3A1copLE7RA5FEqK6Uprj2jFljDYFKe7luIzzePJ6Q2c2f2CaaWh7ao0JQwdd0gmPzv/bxTrpbrWA/e6Xf9wyOEG2+iAig1lvfsGqxm9VkN1d13mRE1OG+3p+yBBnJ7jGu0FABEQKqeJWe3iXMgxp+GHOW4RMK7QDVL0o6zboUPRVAliETkIanj0Vl2vD3fh5Hj6kHAAWRLwVuQ+/EJUR+DYYO0wIz06A0t9wNVVgA4ZdswnDqwtaAEMi29LmU/sI+LxhwdAHJFKd9n4yonllqk11ISVyAX2soM+xvxephNjag42SVvIKDe/2GfcPzOIhoeWaLRwCTRzx+fBI0x6qk66HNl42tmAr5HEOZrV/dGyHsYuMvB/2mzBxc53S1GvmYzRm8wm3pSnQ6ZYBOHeNJ0aZYProAWiEPaU8+7OvgS4PyLXZBt1BjWTUwZdAR7pj7t7nwTav6yZW8dswEfnZFzu80f+8Rt5hrtDL1NEuhrqr3chADz8sfc6fSMTpWWpvj9cZOQ16KEotuM32xnphcItznGJIX+m29svi2ZtHfOdE44n6MiEVBr7nZlvr6NuEhmIdfEATMeaTnfeSFqn1ShvCuE/dER/F/JfgxI13qd8WTJwSXwt1RSXuJO5J06nNcmuMa2uTRGIe0d+Np/3ofZz9aesilAGk1KqYFSWBiklxegUxi6ibRZKEo8WrO8EvACRFTbYHUOQ0LLeDcvrmnwQxZp8624nwXEJCDw6KoyqsDBmWtHwifhXvVQj2EslWqjhJrkZCmxponqX0Ub0uwmErAGgWzJ2A0fl43LHNBv3bDe5f3+c8yC9PYKqz5l+pGA5SXUiyQDLzkX1X/jPXioWlxXL75cP8U8PGxzQs4HLDKkryg0ctdpLXjylDV6dIDSfjNObEaab2oL2K9Y5M9Cjwx4GvjgCi5hXsMJClhO9UIE5Mqwidxu2zQe/f6oDiW6DhBZLChtuuLCoGhs2L5KkHvB/DGVIWJpkt95jKC1qoNvBbOgbPQmk9SsLeR6PSbH71qqEdBVJ4ZKMNZCVqoXm7lcg1ODje/gIoqn2yCxUjC/+S2P4JA9NiTk/Nwman6WDoWKa3JX+/UN2jpf7tMVadWJYPDMJg7A5NMT80hOWJL9eqfBuBQuLP/H7Z8zD0D23zXM/bX9JZFzIxqPRe9iFAt0sIV9Vg4KB7nMA3LM4wwIK6Q3DgzoK/50D3tAdJasXQjF0+m/tqAcg+qqCNznwGMlaXux8Xc/Ve0BKhrL9yx3tHdixUJP+j1zksjORf720SiP/VlsYtGbjx2MKS+LmtTYSnr6yBN16wcPD3y62lgXSsR3EZOY+RbvooY2vsLcB8gYRBMc8IH9QbvBkqi4E6vyS5ikcMSSVV3zvnPaIDveg/SgavDXiAKQQlKtbVlDy94RgnHZAQOwixWe4RqkJ1vi5AW2zz6zZM2uQkTEl5AvN9RA7M3iSHuWwVL0Fv0PCH7RKzISY3K0KgVmX4UcUBELtbi8liUL/Lp4TudcuRkS/J6AYA7ZfXIOJ6EbRTrzF5wswJyE1O8FGb4eomwKLrTIO1dPMlwTJbvJ0R+p45zFZsc8GSUtE2g+D+JqsZTsyOvUDRdB7dfh6B5mFgonpVeDnOqQNSuCxxriNHYJynDiNVU5vG/6IV8mlH2kTpKrmG/qKFD4lzhB52eds2RIc2V5Bom/RJjPWrVibseV99JZ1FwcJZ76dyB3r53FLf2UGIiEyp3eqQbHd1fRGrmw5NcMuhGTiecjE4o/Ckw/f2stZSMHs7ROOCXM1vgdZGAEr0R+rH41viF5QzZz3xPQoRSy7n2a7Yoa47YKRADdYhtvyFbRi2j0Xp54YYWmgg06hALkl7JO7IUjEjH19T6qnl+8yp9cGlIwRZ1+ZhEhQX55sBC/lHmj71T+aJYvDiaUogdXpNTYxOCLz2nFOfKGMMMTGgNVGJtjN/x0dqvcbgeX8uwF5DfVNxO9Qc3d5Wq3d4PWksnUtPQYXcqtFyreltIQuRiUwRKqBj5nkWFh+pc8/4qIXEGOi1UPKGBR/5+hhaZoKEAcMWsMq4zneuKBdiBCqRFHrG+Sfw9DBgsQam9MnLlsXEoWrPtNUkVOiBDsA+ab1ccKoW1+83g8ECVLpSBzpupG4LScMppEk5FrJNZ8+m7Gk0AVy5lcltt+0U8Bd+q/LXzzKwNULgEaLMjkhFbAGC/a960tXmRi5D2/6a4e+WD2M48SRKpnJCRd1gGrR0JZsY8OW5nBa21P8rS/fZwlBW3X8wVBhjMcOr1CBHKmUI1mrYMty0RSroxaz5MUFcHD9iMk9pj70a0cAxMBHzOb2z5Zqr3b+vD8qexLoA4TXzatisQplWWVb1jMVczoUckxPq+HfioOQnzERrXQHwe3LYwql3oNiDze5ez8xENjce4LZecOe8/+Dm1htNbHvHn5Ml0zUqdSbymFDsBGT+r0jbgCDhrkyf0BOB/O66XM33/tylSR8gHR9twM6M+vbCNlVGbRQgG/CuesBKdIyEQ/+flKl6niECGG49XZuJRJ/eD9YKR5VNCSy0HUmHfflli08mhznTf4p3oQKxQGPoM3rIt8ruYzX/b25Ci07Uov6YoN/0BGYktwfCZfefIZRzCPY1r5V5YKb2j0PKIFE54qhDa5G6ja7YtVSLYHZ4/S86j+gcSqtoyDMWlyE85+KtIW6VzWdUCVOSSEqkmYJowQRESDsc8x8co1ZN4L/Gw48TYqhe3uDsuSDTPKuKr/aaY/63mVL4UZQ4BSl0DC0P0Nag7qNVAOyK20r7ODWIQBe1baWN5I4tpsb10f5j0VU8+0wYBQVkW7s7ECDegfAUsX6PVpnRtqt57430ezPiwiVADMii6RM6JLsaW8uvtjRNXzx4eOwzQptmpJ4lAz75/TnDmB48zHspzGgv/oDx1Njcgt3eSnuQmaEHz1KpyXl+yQBNuWcfoUpykm2HxG7eNRfqVtF30vbyEYILdcvdvfcw+R0HzmwrSshUyxmQs+fEdrfiOdc2uZlIlnAKCa4frk8eJzcGGsGEK8tU6Bwv2lfNK04uPGfmg64x4f9Z0iX+zC+wlNwnl+2iSh39N5vBuooIsW8wCiIaJzsh7f6JrrmCrtle5MPntrksicrUMx01WVwCewhmoqt7FzhouZSip3XuTngvZyWkp2P2txpDnfxS0cYsTEbuwP3ocNyAMdd4Mvu6r0ziFPuaHfwm1MtEa8+qepsqNinjfA/iEKtb3+vRojn2V0JrehyBqVvGEKMSsxcBoCBKO0yI+tkiDOL7oKTNYx/29es4tn8dG5w8q1XIwvP3WHTivZucvQdXNUp9AnKhAgmkDxnPFBspcR+YyRGfy4/9OwfOA6nStAdqu/Awh7XV+k4VxkyQ9PieUCgtOAMeAO7CmUzs0vJumAhsdaT/d0afcJzh5WxyH7cbjW2hg44ts2CX05emtvyil3ssX/3hoknJno5+SsBoAM+9PpJ0Pw4rJGpFuK7915uAESqkxzbxFwHCtAZq/z3p1bV5GxsMcIKk7fWxI3UVCemGk9Xy1Fd52sX9BnSqknhiDJz17fQ+tcfhtAvoHqAWn9LEqBjxPkrOeqPSwKqSizGzxKMlM8w4ErS4f/xRr4fvoBcAkSHT0uwfIpfXzcmoDOl6oZPF78tWFYIGKa5ymtOt7D/avjB4kOhSZ91K80mt47lBWvZFJb73A5X3tLBqQBDr6lo3ZD7U3iSyN/eNqa0z3ZXsvuzMbfKQGCJSkuvQHwqtR3rm2wUP+9vfjUtRVQnwVj3y4z5P9OqtnWgbkem2qmhGk3l2q191ShQM3kQygFlpbwghltUnoPLwpcTEXPaK4+a/TrokeRWP9Lln0sQRTy4n83ebwYoez+ckcTlcF2ma7cCGB4c42ZjKVVJdyJt/wINEY02RrLst0vjjMuSwrSXY8vafA0cwsPArCRJbDvYpzVTcuIIrS6/7bDNTY4WyXaaIx5KxkXEUbwaS6hrynMlMneyvi4wIiUIJEfyw1407+UEgg+3OiCj7K68n/2bFw6ccZTVoGKJ+XLKb4kPp1W1icf6mqIEe9yxDi1oL4Efl+EVdaVP+3eYRo6iaEmfROTd0n2HZbY8KDS6LjtRzLINCbtQvnj7DDhA3RWerz35Bq7mrGLo8MrE9fjMUPZApSfi4qxYoxqlkda90QvAlm8pz2PuXy8ojkSV2LBwCtL/XRo8mZr7PKdASyN0rImfP15P69cSgWJe+31VQCQfq4YQg85SqSnHvt+pomYDI220+5W4fvQy9/4AwVcHUWbCbgrRhVa+ZrlYcnN+9H01gfY+IgVtZ0sCPi5rQrAsVtvKQpKgTpNX1OY3leyWyvLWltVxkKMohJWXLsS978REM9OjR7yxkNVxg4ZGQL3ks3IGke5vPBx5Ws5EpsZ8q0krx8UmhjEyuFV1lnMhT8ReRTifwm6RKrDd9zkCwVKvTrCG8HOeEH4z+R42fCZcgfu740D1McQcvjzi4HXSPe1tMzP1iaQUmkBypZIAhJ+AiY+JBYS2RgXyjSHfC2gn/q+81MhYCGE85tbw41A3ziQ5FHC7jwPGwMFH2xGNLg327Jk4abCpb4smcZF0Zp9yPlZbXz+AmWWnHbOn4AasnFRFN7d/UA1nDtXI4z4iC+VF7pA9XWCekZcYn/+H7jg8WUZGy8Fl8+1NUfxngKWSKLPZxNDwg6SdwIE5mxpeP4/Xc8VQqEElN/c0/L16PewFZSC72ucdcV2/+dRNLJ/bw4QncauTDnvqN40jZhrATXGfnzfOcfPd3snuP7rUKDiv3aVKvc6IN8mUeczadN8HgTJOuhwYnwKa5PvCa80g8St8i9uKx87Msox++KzKlxlEIAllzoGaX0ou7ziaj8oJORShpRHld4JQnjSzhTlnW49O9sJuuW9248Izpo2tcySa1xvdTE7ipJfatv0YDCqgfIXkJUaUYW9NxwaQGg/TfPTw7GY84MR3QcdBg09EsB/loWf8qlFiHCzMT+UN8Xpgo56SJkXBKfnqTtrV6eE9Hs51V+p6kgVzA4CWiAEzO2ZJZNJbkPgXaR4TJiNB6hMbglOwo2F3rcgq42UMA/0YDmCDYt8WaNc4arEdkRPPWTwPrX8d5eYPIuLfW9yXSXOUgXDdp7Pxh5rY3lwc2aFbwEVwKokGA5nLO36mJbKe8hGGSQ4765f9aNlL2v4E/3A6GHjneGzqgHOKCHkB9Ly+FOVSK3Xr8ry76c70sZ2/wIzpJrkGvMMwH8l6e+TYvC/EZd1MKQ0Jau2V21aYmV9UIF9HuMow50FVjCoAbS2344aCk+UTP7B7rhvVk41xGjNSgQpUkP4byGIiaBb35sCwvY4NqknKiosSQCMosArY63cpYY2U9Qvf5/prWiVE5rvQSD5+vkyS0yyvfRa6ifgRLTgYxFsPO6xB0yvnUwWSlP28roOZMHCH8HlLjJiRifq+lSY+V+kjuh8l68jaVtPMBI6vwTtEp6tyOOeHaVZ35r4VodTTxKoVL/y8Xx42Ufr4UE2KAqrm/0yqOSFErVD2QniHScxkP6qy6dgsJUqd0XeK9pAAE/xVboyGn/6GerGnTq5YS2Pn7ByEf8tIOjHVAMf3fo8SUf13FZIs4hvcy0NqbyexoF+S5eP4ITl97gRgnHY/9oWqkP3tGXnKHGhcUwetOgh5ik86/Qb3PtgkrRkF3fep4RyIXjmmw0Hlbutn+hXYzwCYCUS8qPjxYxc+uWwAKqPj1rsaTvaPbGox9JyzbUDvLxpldUr0wTd8y47NsYH3C4GZ5U3510+7Ork8yKzSb5n+1/sI0P97tF3Zkfj7KJXRiv4LyNnPJ7XYl9rYG8OxQ9TXj8cbHEwfvrSGgdVdi9qLKCop7HeKz5NTzSq2Aas8JDyMpjx4J3e4DRVOA8jVe+ffa5oMSSZ0651UcHjnjxRN2tno1HMsYr1VpkoAhzYvzHCrg6Fp1FA0pF0upXm0DYExSr3MrUWEK+/OUQxrE5qeIN/phQEunqZZ9AhxzvuGjCx4qjJZnjPj/tcAOsTDUh09y7qI6HuNc/elx39p2beZhorX9hr7OUuFRGqY7V2QGkrJ8SWyzCtuP/VDARxoDqV43LqQuYgx2QhyVGQS0B0h8mwjmh/HL+tJ7/HFke0VVrihqTCUC3ijHw3NGm+Cv6wRNNraWApDzRf3OZTTwu5MkQgIcMsoaonGMisq4K+CFOdq2gfqTMdXR39BJGtawGNEWqxshtJIe4uezya84YstoegVGWO8TrFDXgG1exb3DG+5du72SFGf32iYYwyC90v8FZr44hnDvnmtJ6+LpiMEP7BK/yGaMoPVloXWfna8y8EYg5hNDXaB/KOiNxrpgCGW++uyTOorz5lYRsEsIoBlc2oV1reBjXH27NoR+79rYOYrcy71vTK92LwhrUMoXVZH4Klq61hs0V1GahKIO1SqCiU+CfuMoUqD75/O5yV2QjyJodm+9hY3dAVsgzL1NoIpiSRi7sw5E6uup1pw2fhDhaD9lm1RZgKhvNLFwCjyQj4YabhKLg4F0nQ9P6XTNB7h5hVDIS1Q7AHbMzIO83ifna/CQsPsP5+OsEcN5mf0Oz5k/RNQzG7aCcOZcC9pFTzH58KFJ/+8jlIIKtsP5AMAM/YQoR/ootzvsTLnlzomwRJ9xnBCMatiVoh5ZcxY2HOYsonrZkOA6Ig9i/APM9Uc6uzvhSvWNRyzSwXkNZSD1218gEhruN967ztkwnCQmMtD/auPQCSZ3lDvbQqrXyoQxG4uWKHXPttUiLjE5pr+jAXva77VlgSkS8Wjsng+4BJ72fO4NqGAkLr2nWGX+Z/lQPpB9T9a5a6CJvInq/RkqNTfoXXue9QJcUR5NwNjq1cRCKbrymJbJcCtLba5E/Ik52gk4sOosVU+w+S3he/7uRfS1E/tNaazkKexvY5O4to2lY5NnEzYHhyBGg3R1m/uBXbr6c1ib+EaX1yzplmLAm6ScgJ7tGyedaJTIErU07+CDl5YJk0T8ukEFCHh/pXbpcmq5LlYab9dj4ZZbEkxzcoEvvlIBgR7GEmWKaOIsV4GDRqSO3Uyu7nrSf2kisOTpkyK2ivJSpxXYH+PIepRHy9lAf7Gc6CQOS86Dn6oFjPjtQU7aNMk+OniguBw6b37W1XjEL21fn5htpDI4haHqcgCzmT+nECnF3vRiU7hwamNq/pC1qEfeROtYh3sHD+PF7tBxXW8+FyfVx2ZAQUv9haYYJKBJ7QlQvBiSsE3tPK2WzYvyXAI6/Kt1ppr78COjPqsCTpw3iTqnMQWIVHO+d1bGTX2Let8Mof7oHdP+Sz9QdVirmruSyY11PAFYe6X+rwKZZ6ZlxHKBvAHoEuGdDWK80l9OPwDGSf/vsCwm8tSQUqq9sVEfBLrFPFivNUxpqfloJqfiLtMtb9+z0jh/IfJUlnm3wCM8ZM9RX5wDPVyHLaNLe4DgYGe1Ks6YbPkWabMgfIOdB/WywG029uALrPHDUQQhIY3fvZL2imUBkXWhOp5yriVuyDEvuPYpMFKtdtbHhsn1IK2FWY8Ucv2Bptjv2t8pjY8R1v/ddVYwUjstvYUsajc92x6Xyjf//wcpE/Ay6JvD5pZXB5z48vDfBgd0Co76xWIzRnYhc1SgDFhXr17MTLOi32px7GsbuwBN1P3wkbf8Vcoz6mLbL8LrakIjKrQbk2S2WWOu4pAWhIIrBjK8jN7TI9W9RtNyaKbfeDKS9KSvoHlWPfJJGJKfWIIelEkmBAUm1TrrFWVyacIZmwQEJ6qksg4bEFRkIpMmyNRM58Bcqm5yQ6PM5hVLxx5Nq0tYvrHzl80hNY5O7ZdK/6mjuecr7PHiUcUac93zF8dN+Wp434YnlwARCMiO5Sy4zgVE6yMnyNC46LtdU47pg2TCEdkMGPZ974ZZ9QPohkwcvJMnh2+FHgEmaFCp+o1JXdMms0G9bBLfRf2oey76aEymen1PczxNsk/dXYY86N0/yDnddabWVk7WM3HjDDc2SvpfjiazZIxNIPY5KXWfIh4lQST4HdJAm4qkp/e/9+A+F9pnk9HUJ0KQjC5BYdBPqDEDr/T8gwQd2znopaGSrBS/t0NNEP6bv7fva8oKPhlo1cfaPxuY/mrnxE6HKOLiC3EE02Ly4iCV5GZ2DAQs3XpWvn1CB8WZcVBP5nK7NrseH9ep9UuMuoZI9qrS0nods0YG1shVr/4Aa3Z4Fgy4J8T+WrO2HfujEbnCm9I6q8xt+F4zLV0poothd/li6GNWeIhd1PW6SICG1f2rTEiDPTrpFrr7YZ1FWMQE1Y2PRqfWpWTod4CmjZMGd19sukrE3/LRaUBSA8sQSgtC7hz+T2H6rMMISoazemk0MjHpMidFKYUUKNUSKMvbgQIy5MRLuvJ1GmZceP/U9PqcT0h9O/Ld7cQkXm60E1mU41fAN/1wkccMLImpijPmN2v3HSBq2ogqO6bupwLQVvnxQrS7Hw0Gsw9KLpQlcTiev5Jbc25dU4nXQuhrPqMwtuvjp8ZmZOvYxrDH5e16XXqt3hRP9MoObHvfMRvewBPpo/TSTGlGvGj+JfZr1o8nWvhe1GalTUPNdBeNtRtWRgZOViCycDdbAOF8HcideR/Abr6y0+Hz9E1pR3in2JzlNtblHv3v3yJHRP4OEqLqPhYv40gkzyrO4Ucq7w/DV/J788zJV88q574I9ZxT6t/AlET14/woqGzeYDbXHKyJhJVqf4k+getRvmKiUpyrZtjOGZgiaJ+PcZAZ9Fsz6gQJ5Cvftjtqmt0NtQSExHyqSTZ/2lJZnyJSniB6hwqmumuVkxMJFVT1grFRHwy0kKPtFM0uKuLqbzBbXlOxBKhgWyWgzMdHe0yVngAbWp1Qz7lrnIIe3VF/vJjCcHcgPHiAcgaiycHWDQTD1AwTe7M1BDCQsBCRTjoYwbvwly92F6nA8nRZ3FAKnXaLUcbU0HqeCwwhnG5f3R0RCP3vlwnWHdQumdrySpu2Qf2KORAEXk0LH7ogKQ3YZKns2GE7G1jdqrXmJuyA74Du2s0tCWidARYnj49k1DgBXuCTFHs9SHxx+Y3Q6ja7d7ezOvsi6uT9jesEi5kfaMweapARYBooqWLpwaAZfG55M7sv/OUwHUUmPiZ3OTr7RcyQhmdKx0tNsCUoTXCabrCC4Rcamd7ZclyybzCXcFZFIrHwLnHWOPFWQ//zOY8DeikR2+ym6iKO8fzt1j2IuvbGl4p/MMAG3whqYxINFTg9xwNTFZL0JSM3Od73ZP1hpn+KQzGHKIu7DyO5sqA1Yy0SjlmwtU4Z0rxLa13mrQ83oZk7pmHAHCzVezTrtYuQkaom+IoZdaD8Y+f/HzM0zAcbN3C4GqUTeFZYVLvp7n4Ux5mfRdeK1cU37RLQuzEExoCKjgaYn35Tox3KMQUO2XQsMT5yrHACHd5J0kTTlbThNTLVVO8ojQYMka7wtD/6MdM6o+0aX+77IVYTpVkbIrtS9/emC0mzorg8GkNrnFK3JCab2RrKhQP0MBxP/t4Dzf5ssI7Ty2Z74+smdWCkgkFxRIbuwlvOSrHYgn9wm6gLV3M2uO+7IBM9bZC7nUCo9qJ72Gj/TxHaj7bLmgDC62//LDFuWsdaIXxryOAM4de9Pnjm35fzhnzC7neqkZWCg/IjXLYznJ1TB7PhCIghsTm8NvOlKdW6A+2pKHa6AYDZbj+19QacnaHF4BdayC1zHY8cvwUnkPhqmzN1FXReAttmdvEVw0u97uNkG4SjWpWudgEuZpVrcwvMt5obc0XNi4wZUWMCjSmU3b1lTXApydn28wMoCwNulT9gyf3Z5q70IVnfyrqEaB0WYF59gjvBO/HFGDi7n0A/OJwSmkEJLPFnLD1sRgVaOCyP7UCegHjLXP5cnup6VKXWBlm+VGz+bTO5f9bWpWMI7HkvtrviXwwC8Lsfo+OkUqj2WWSTGo4PkQKo4IXGrWBo+DMwBr042Aih/q/MoxAs1vCSKzKfPWpGDZcNGgd7+yBbkk+KYalXaUDO/dKOweYe1At/EfxFzGL+qv8XBVhisCSijAngp/9iQ8OPJJZOzToia9Vi0suU+m2DDHi8jnRZ+ERUggg0BrPdBs6q5ssxFWKwWv/Umg+HSPHoseIQo/2SAa3jc9lPNdJYtnXlA0fHIyARTn+gM2UIbAwc939KiSHWJ50876m+Wgj1SBkCR7i4k5ZPFrkkTTIbmyLoSuUrWDfsKiV8efNY8nkoc0GsZDvRgFCPJ1eFRZ0EQAlAFzki7lmFNrMEa4buu++lt5ycX8w0HYgrjl8UbWdjtDNiL9kkGzOBKUGr08v7VpagtSHiTFVRtgD6xWmLyjsac/ANMEi8Q31UxEtLf03yy5wDFtm5z86syksZlRJ8Wv5UcEDk/30gLsrTm9R7WJCYBiL1zHt1ln4NZnDqniLUYccEh3XDv0KxllZB6pu+nGi5fNqLT4REU+vL/6s3YV5JcrnCnNDe9h2rcXYitxXXZXEvzVf7X/Ly4atUmV1+ZIbljVGC0B3g+Q+sx6J84muuQABUvl6dKRv+uoAoSPJH582k7J1scGdoYooG1NvfnaxxRD2Uw7HdS6/YmlZB99rIAMeRAfhNWxQO/aGNLCs9s/VnGaIKQtZWmM2kttkN8sL4gWo5xKCdS87fHEXfzELHthF0MJMOlO6j6GpuglJ/Do6LYp+JwA973FD7RUBEpfRiyGcRLrxZLAlXOXH+lEruKbqXd42tp9xjJ3+SzEVA90W4SP7XRjd9Cyde3KxNQ/IKmBPQWZqtuP7BX1vZsl9l1HtPm+OmliSaYP/csejpoLdYh9EhuMBs7iDLEh+fAvlIlDaT9LnNnx75UZ0d8tTnrZ7soXwhI5/cdurF/tm+gKIVxIjAcHkCWsFtmTXrJcQZHu/VHrmHx4Mw6cDb2jlqrGNp0Sp01lYKRcaC6csUEG9K/raMwIM4m8i0ZZBym63MVhl0EjYi6/BWeLRifTy+CwM4ImSFcLc0zZoP//LhXycMv1MDsiKaaMXfRAhfGhVE45XvhEZKzPYiGgsYljEXf5PuvGAj8r6DXP3dVIp3QYXwL42+Bar4EEmJqM7KrRzlLUAWYmRrvi6T4TqQ7Vx+ZOM+cbgUsWEwb48FmEkrzV8te8+NKmYKWMeRvmE25P3iv3Ioqu9R7glJQCbGbsU/e+cpa0kGS4438Gs5nWFJTM6f8LOMD+K6wMgKcdZBLreYFtDrNPJK/3EAXi7wj9cFPQ+1B5ykrgWeMSSfKfW3/fBaY0d4MLz/DK8X4Orj14uvV2muVP52OdNsSB3Vv+PzgWL4ZUg7ey97Eptk4ymrSBhYn3EShBPk70Fs1a61AcDf9DhWG8bs1NC8sBx18bsTuOYu1biAedl5Ey6+CKHb8hd1qIT0px5qVIZ9Sa22IM5na9khIuS4bbNh/0KmFsHFPeiE7TuyCJ4DUJMPvpw8ApPhUdgempOqAhT1LkopI7zE+u4Vo6tzr16/8+rGMpRQFavZ7GHyFWyQyyBPjWOvYvm1i2u0kIjL4cUzlXaDctoVdTtYmCbzObj5mP1wETt0G4rafHvsUEEZt2vtpUI2uxFWipyHl6jIKq0rMTi/aFskuIzuf6CA8Addji6KWr6hisd57TAMYIijmX5NyFl0jHn8oFSAYFDcfs+aW3nWtDk8Ns+MqjDBvfOGxVy4UVw1x+u5SWdKnmMz/vmqTPVvAplpOIstISJ1Tc7RQEnErIDIGqrw8/5Yxgpkwr2S5zb/v8TVsL05PbKvtlKqi5ebAY9047/OskemYKKHZ0xJaXhvVvTvPBZtLmL78IUkX0sz/e1voTxWCZGwyrFWm0LxYPyRf4aoBP1rSRufw/CC8oz7S7FfPC2/zHttobO4MA2SkSJJtXZo7T8GgKSIK3XPm25Um0O3wntH01jPh5C0N11pp5xGQXHMFSQtAYN+LSKcC76JYwk6sORSDfr8wvRVLsqpX6A6oVBhA3wBMTK5Zsk1dBKe4lGrP/hX3rtg+rFKRAO3rYse+oF5YtE1TgnGruZdjvSg+N77W2l5vr3V4rP6kcm2mqTLiLjydIunEk3TjPaAlOsJs7ZI1BfOhiMqOprwMgaKWQ/buETUgy+d+vhchFkLOrodfZADWsJTM1H4vXYaI2jzV54FL4KnyR32pgPE4hBmpbpvuILHzslneMXbK3Biz4Ij8LcDysBDeYjXdYklMTsIJNoj+hbcgkDSF7xnjiqSkYnmAoMi3r6hVGZfrvyBmJCYKuCRN6wqGx7pfBGcL7KHXFKwogkWh3Ztd8GR4t+H3v2XrT/EHMcwt9L7cRA2fEBuFlsPtk/yPcZ7rewtWxfWHxVZHkAMYNzsZpKhAf5SL8JgpeyPEfE66gMeRUfbToA3iJSqRcYISqeO8Thl5YIb6j+U4m6HClHIHsWv5y8b+bOn/5uADbutiIA1yuTvU2d0ogZoNtVY9w/YaD3sGsJw387zawkkqa37DZSWpqSZkTJcKXWttjRde9tYSb/mf8v95ia3IJ/2MH+DZYKMlKEdpVHk5ullgMiQy/mFGO2pkrk10BSHckmceH/1vDR+RHe32iZE6vIf6r4tJgEcytAdIFNLokFvNR8wZJ8wKsMXLucB4MgTCKE+a8mPFCYoeiuO2PMZF7ofTC+ONB3ejV7PCcXYDmpQnIMiDy+2VjjZxJ/IN4yH7YzySr8xAcef5yf6FAvuslZHf99YCZtqzoGKw/4njTrQORU3UPQoxDg9xL5cVlhHy6wDTDY8s564NsnYnEFHyWKkvmzWfWqOiomTidMpzJve3R/UDu+8Z3dVIPgsUDwETLlkJKBiDDIkaPpPQH3Bo16+fpPfH7Ghx+9P+6Fbeau3JZSNVBr2bhN1t5XHK9drInBkU1Ou21yx6QnzB8ml+ViJnzm2h17Gt5BP1KIkeuePwjjxyz4kpVX2GncP+zAvj6BIzgN8Mpp98Kp4WbD46WkFIqLpnsQUEDiVdQ1h6YR98gElClneqPG1bZvYReCDxKfqQ9A8ADeDyEnxb9LrSeC1dg2P3refA00DpEckbPd7QPtC03AlPVstGP7tICcCGPi/pCnp6yKfdh/DI6YgUJBp0oTP+FgLBd3tiIakRfhf+yrtgFVcNwFIgim9GWqKCEBM3/5xJcLEpCel3A3hz4yiJ8hJB2v/kBhiKFp4nKfgTwOiXkwNu8yWKfJeqhHttr9f574vNrvtpfPkpbac1H7KjEK2BHHpIgpAqq6XRMYaGBgAwYvMIUY0zqNR6GYw5ss6jshFO9erF9BCFl1YbTkuLPjZGo6DPA+s4KRpn3j+Mj4U7LK/RbAdPfmrl0pTfMFc/gmquAONDm6INOil7FQQabpBPTItuUd/Ma2CByhDOz5+UHk6+/XHaQCrnWNu55gl9+W45KB8GbVs+WJkxn0TyZBMIUGITt5Q2z6JtE+fwbfkYxoQ5PHcg7swis2NR/EbKN/vMCE1Gw2GEkIR0GpY39wYCYneqtoZvYx4S508h84E5r/GS7SPdBRgrFQoGa0MsmQw7ZhdXGnlLxahgDlDTUavVXsWuU0yFlOma4HRfOamR37wKs3fFbY9KlgpgMp7gCPNMSUURlZyl2knecgcRJ5N0ezYDIkPy8vlLslvWbovo2oOXWkUZlMc3N1wuGi5dYrFuw4qrZ0yO7qYS59EkHwpkH8VupknHwtw64dWSJIcqAZpEBK+H1OLy9RoNQ8yKwrb5lDxu5+nh2qCufKssRXlGj0Gxz/s07LMb2TTf07W2e40e53BMqFzNIRjpyddc1X+HkrFlI8vuwgkfQw6LAnKnp+vWfQFfsz2h3MvtsbnUY7MfCB4anQosVSg98QbVT6AZHXTM65Mz8CZNl2Gy9l4lc7icer/aKzJ2kbKmLxTXkf7RXREoydNa54BkBTobcCqQMCoEuy5znDXBM70EavqJUU95MXmBLAKpudFmUZsrl8VCHQINgzSjIVag2OXbwhKYlJWwZ3o8JwtdET2vEe/hvqD10C1eijVHr/5uTUHiJIbSR67bOzn/g+DguS1I25QjtbaR1TINHslK4kNqjEcRfG7Rkr40Z7nW0G1+rXzlgh6VCzoemB7wnjFW2MRkdjZzEESqupkwlNjYRUl7tLlFBrRqHK9njCp4PJ3L/MabZP7DxAtef5SCpXhGTsb6KlfTUQLfxb9TO4yfgZzAJUrIaCHO6+X9Ml74xKOtPT4CWPEpoa4PVIGpswCJPHTqEYkK2I6LYN28KknKXS9IunpeihyUQ7RBMkHJU38Twlr2Pp3Dihe2xtl9ING2KvIKDPBj3LnbC/JIQ7CYGv8GO9YZ65PsXxPcap/ZnbWzD6hKUG7zYjyZ/IuFOXKAECZD5MgyGNGlKEnjj9d0eC0K3eW86WFK+mjPjmxmA1CXtYVwzGZzmT6QGMZJB5T6VPkDIOQ/TBN1v7ibIIXkbVAquUblr7hEpGLbC2NZOfBQeEOVE5/0hDaHaQgdU/AedIGPeI/mfWBRCsAkfyQl4kCzVqGNezmZb1YfIF4kF0B2501Nq3th2dv/4suwYlR9NZKRuAn+1IQA7Ma6MTKpWb5qNki5lSvMjzzYvatDIeHtPOVmv+P34jFb95Q2oGzCt1oBn7mygaYDSZm33t6lvbwysGH7ewTaJaIB/Kqi7K13WczU4epmX4I2BlH4uqx8borEK1mEOMIgpId4in4J5WDjnLHFf9G13ZxxNVOUB2ZtvcWlW+EdRJIY+7/ACqegM0ABfp5BXbW50AyC//Qj7Ghu6VBX4CYE/4Akd3e533w93A8eCsASsfWWcyH4igurODH2ZHotW1jcCT2/3Lj7QBL0SWmWzjGa/30XRfMLv5chSvcxrYAcRNpGdX5OrhE5WL1hrFEhyL5t5j1R1csz5i94fFxMlBCjmvtE37ZCVzjFYC8SP5KqkMJTAsO0V90mDqrUpEg0+OLf2LAuPtwMUEFPifDst46Fu9/lVfGGt5vu/muv/v9hmrWD2aKaPt0WR+s/AB0JN0XnAgbdiXy0Z2Tydd8VtY7M/Ly3HdrLVQwfc40in7ABKH4efnI63/2DdhC2xByoLowQ3zgTJme2HcLqPHRo3GRAW/u29cEe+0qlwQteXawDcZbm+HSIWYenzj+RjPks66eruDgMM6Rio+r0fDIksHPnQ7hUIJULiZlmtQHsH4U8Kyj/rUY4t8+akq1oZ2yeVmARfG0xFMacW9W0EjTrFfm4ZhtIoAEC20VH5LC10tzS9MkgxmMC5hYwHCKp3P/rketQPQS+C3mZZbRnjXVi1fiY8pIM/xjrNlhpS6X1ckYFwXrC/9UDdK99h7dXXnzRPC6R5a2jS8cwT4GG8yR41sm4A6pCK4P9VD2+QhSMqnCz+Vp8j4YFWK+1ocCbFdpMATdmgstCPn+leG1XBQBEMWd+bryWNvigc5sA8YxTnMzObTpNzet7xVTFgN7SaqXvnLdkD8oUYM5g4wLjGwqkMuSYJxqdLwURVLtGErKGDdKAEUvEKuEok/KJOCfxnBUXwTJDTyU8eK70kNNmbBMJjMj8B1/3x73F6KGaKi87SyjLXoYkKi5hKsTAotkc/r4V8hMTSFl0u11ZF+N9tlg+j2Ek1cC57yaq3Ktmy9HvF630nvTGsE8wjZQlG134ilOV24wJ7GuvUsFksE5PYIUJLsUyX1wLh76AdN/5KiA38C6OqphZETMM3RsvVIbyAM9ZVArJofVHhQya6yVeFlFsizinErIEHLG/0Ki3J9KQnqiXXIsQB9H58qyteoHa0Y1pZRKo+9d70qZuor5JPWtx6xA14pR+xfLpVpUpbZIVOhZ9e7SJ0waGD/DXd1Wuq4MH074YSMS+BOU6rwdDwCMX5Jr7oqdZTwem4f0HdQ4aODSs077i4sPV+Qbl9J6aoAWjrvTE+4pXN0OG5BkuylIrwBm1HwN/Cp9aYDRLraS2WwWvzvnlS3P95o5o48Z/zSOaAvR6WZ1Ss0zk4SRZrPkY+i1Hpxo7e2TmJJ/7kjIbxU53UxvXlO4WM2GI6W2xneB9atdXrCd+erGPoYvvkseTXToruOfWIwLQaqw5CLwINvxsATx2xF8bp6DCh/o6WHNPFAITg4UGNp+iawOr8FXun10xAnC+epG0C3k3FmGLRvSY0of+MhS597svs5FP00CAdWvLZRnCYxWQgXqXGqpZEwfEqL5DX4Ofhjs9bqm6xr/h1XL1GLxd2GO5FmDdRVMIRsJ2NFb5sZ3FPhNR8/5e3IsiHJxhKyyRmhR3FIJ1dy4OBqCNNmpunWaUfWV8mUymL6vD4N/it+aP+JqgW8AN0kT5LK94eblcOtbPVAHX3kISVLO9GR85VGG1zw5C70QnCx0/x4w7vH3F6O6r0p5tP4wdYUt7l6obn/+17xo7u+u7wJ06qHK+T7vhvrBG/7bJaUGvJ8ml2nNbj4b+TrTQE9Cm4ujoma2/XTG1h9fIimu8BBCKvGMkMchC+u8CuKmfDruoN6nd717siBtASOVCbzXjv2GQGPjxcuDvO30ccpD5KbeLTZvI10V6rxxmQQEFm+RS6j2E5Ziz/+Ngou+rNp4Z+6uUCFyZIE8LDdpfVhY6QBSb3qDa7uxpVbMpLZC/Wyx1U2rfbUxT8l2qucwJrLwxTacqDLJuGO6CRhX4bcJIcsUsRK5YPc3ky3CpS8sVvupEqMkznYx+MxDmwzdlF2P7aTPuzB8v79bJ6rU0kUpGY5e9xUfebsVLvYlZBSUvWLogaj+9mQV9M/XWx6+lZtsnNDKZ+li4bYMjTD/YGMx4o3IMMxYFijLfQC/tHe4L2C48XGLNc3QdWodKwhaGOScONVeekOklgf1JDMB6zGx2dPkh69E5V9GB5hZg6u3MAYSyMkghSRuoNEzZjkZOWVgb3BJkAtBlQ3+KEIjf47/IhUYn+LP2WklMhqjfypDrhkQkwQHTBcqmoPtIlQ3U0Ru/FHLiLMZGaGf7u4NqW6A+OcGJL1pIlqpfIa+uWeZ3GjZE58zHk/5FYZB5NeCdWdev/B2G8Y5t9VqBYUpo0Qu4i/w/0/jFB56iFrcB0lGlSq/aHlA40zCKhCPAEtk4ZLEG8AdumgqSgtFloPoiQmnY9nW80q+EHeOxNHM0KsOxiV8RaqOo+FCXbILdat4uekbwgV0DHANmxjPN6TaEgGnr3XqjNV252D4QQY/Q/AYUXXc+zb2vFDtv4iz1zErNFpz00ntCYsiTjv7+5cjhiuLNQu4HtU7xsH75aj9G92mlorbag8A6TcuO2Rhky95e9zMie96Inf2VdDs0ngs8Vd0eYnPIHwsxLu06SH+ealTVr0n1Fz2oKZDDBUYSjKQL5qL/CZDW+hJcOM4IKAVDaBTu/CAhTlz00+rQ+CTksdpLWn2OdqCszWjuyAJRPnF4gCBsnbnypL2Yl97Bbkc4+EHi6nGSB6c0RtH9lohUA7D/lCqh79jLpuKoj0+MAtfVaN3AVDkmVGG/HGVWmvPV1MUg0wv+LmiXyoB6gX6ux49rMMdBNR0Jc9BKYJBb1+JId4sInkfneTX7RUn9ktdTDJaUN+9HYlG/2BNxNmA84WckVBVtmTt5J9/CXm7swULqGAHJWyFfu4GyKK9t1BdIG3ohfSJA5wVdKrT43K9I6j/JGCJ2CcKMLqBq8u+k3anr8CYrTVLQyRO+o1xAOIAMJ/al+8p5JhQ3e0Z8cb8ukJfeU3wix6hfYE0iaOh53Msc5a8JZAedXEszAMaut6/FUREbGrC0H81RgCcjkx8KSFUmEbH/UbW0bDOrOdbSGDAOIgxiOE7pY18wHpTt6XkJ/GosZr4BbOQofsNPIOquoOzNlcP81tMeenNY3QNF5OOo81uThB+ecLESK8OrP14K5WJHsscvi+stW3hm9b1XcsNtfhhl2kuhKntntXhOpLQglR3tj+FhnApkftRm4AMhDjEdOvB2g9UCOfTmSw5N6+44ucKS1AKGYqaN5LrxOSHYTiB7ZvIUzWh+tdc8r8pf4fdNFsQ512QFMPv7qtodS0GOww1+vvQ+/iAf3sjNbloHBJGxWw95u+kUmAvHUal6+zjH7IaR4Vs7+Iq6fKZ3UDPGmrApcsHp/M6c5kGjHS1Keo6Lk1knmWLzdVQY0x7xVd9mL2X4oxwq6Y0v4wbmvf2hR+TvczknzvU7C+Gi+jXhahyDyPhqrX9XUDOo5Rs5vi/Mh7Puam0NR3ToTKmKx20fKVnKPhxfTP2MoufrRu+4LzEpt+22g8PysIkuQlgfaB/Bc/ZsiBwsenTteN5sR4kwyy9GPYZYstsq7Uu5wfO9+cjAXnVqYxe09dxwZib83ei7VYoGeeVocEBjsy2EbAC3VftmNnFYQpJvv2KUWAyhaekR/yYDZNIix+0kGL8C0RiRJEZLPk6a/9RSrMbJ+nMVmoTH3IkrzskEQ2M/GXtCgBHwrUR0t/QozugHdOGivqSY63C4Z9iC5SJNVply+833ceWYgV7sHiF5y4rg2OUuXu5eYuK+qCqkUsAO7JrKwlC18itwJ5h+r48Ki0Tm1JuKTndaTXojQp2x9ZwfkGaKiTevbSvkuS1khN2pXAO/NOZ2JJxZDE3D/7Cw14l0arTr5/lLbNaN7ZFUNGFBFK1g8fUdeebUFlHex7X/HYAtCfZGqsP6XWeQad2eLceUEwFz4j8jXOWs3oyCdDrGnPyzC4yQryOr3B4bErOntBFGWIB5ksmZR84Q2jNaf97F/05keof44IVufWf4EoXQI+7vU2lwCFAlEzxOL3gk32KMuqqgdH42Hd9vQZ8N1EUdRt5GwhFRI7IgC+c6/G9m4MwHvtwPrfk8T96OWGvU+DTbwKpTwIr2O+wSJE4cJCD59Ux9fgKxUQo71pMuYOjZWjZfF4+M1Nfjuphhibd+2eZFCl2SHYQgcbQVCqcr8Mz2kibpedswbBDnW11STHXOQPLvaoKgp5Krab95RYfqfu/l6AW1ndyQtG6XkdH/ojY6KpMOQL/Pm+sOnm534986tD5HBEpyboKoujmEox//KDIruzoB4bcwN1mojWxPRf7uo51JOachiNeqZzjcdDLtfdqSb80+MgsW6MdKMYCGwtmCyeH0+wHuR7si142yNTMDwei16ZiOshXoEkV/Uiqv1npoYTS+E2Jko9JFYPnooK2eCCnTH+AZCQf7+aaPahu/sIdgOGxgntVDpBhWEISbjBcQ7Yev5YiVrexIz/8ThQ37WPM2zcQWhnVj9DRbYvKpq9kUBuGQGiXjfuydXEiF7W1PDgT+0VYgCzcJ+ilaHdBrvprZ0x4hRVEKsbmP5QcAzRWj1zUwAGWaKgKRnE9wJWxB5MM4nGr+H6nchSm959636/w/gBgwV8oH3oEeOOoDiAIHy0ycdEyH4eSvGou76FwPLkvZBJT4xoRQhAVqf1vQcCTft9ED+wTCB5/V9wDr+QvvTd+wsdXJgDxHpq0WuaBHLxqhs12IaURhRXG6xeoVrJ8iohTKyDRO2b2yRBEh6Y7CFJq26zeCCo1ga9+OdmjJZ5OyTLc5E5j7zORh5Rag9+duymkMaE8vFe2Ddhj1qaeQueo2JjFdDQ6D/0cul7vGLkNdsaz4cqh70HnCFn7SB0sx9CAq9FzAypgXCVZ8DdwqI0ZtqqYl/dB//sfHglgodWjFWz4OWHol3VhdlZY5cuLQZjxKawnpHh7mYcZtKCOcRKcZiNCXCCtXRaA4x77DkhN4TrGIFNOdsP5Ca0CsVSExwUnz0agkJJ3sEmB1kNS+h5deQIW0Rnmpq3NmHm+YxaQCASYpSl301kmSmvNSajdISy2B9TASn+K00Yd2sqnVVu8CEHmkKvXaekPuh0qG7aGvl59fq33shNcg2rCOUGGOLQqftIrlL1JuXmnYTpCABBMK2KPTcm2HbDaNuoWkz4ZgMmazF0VgWTSOSW4st+XxaZt0o4ZTz1KFphFOZjJ4hjov9VQLyp7lindWZcGZALJxAx5z6yV5JIi66RBq61VkFuKGuf7acVR1Ca8S6/TMxrI3jVtCmR8wsJ9kB9PNgGefjxGf1w7Avss27DbGoLHUnZoMgPUyAHp67OCOJVUb2GxWWqwlZ3tU6aEkUhm9ulESEQFco+/dkxFgAQrvfI+hhehVzCtOZbCuOPJrM425ZHkiRIzysnQ5rte9QozLtUqj3CqEtMwmMhJqbv39nwKGYOMDfYsQaTs0d6Lb30x3oWKHtbVAG4DGtro4Bn1CPRB3Tk+I+vMnRmP8cJL/xxefo6nC8sP0s0SBFypw8gcpuUGKiNz1z7CMs73+mLdQSxwWHJUsVU7ecuvIG1CoTZsyYQL7vjrYaLtjNcO4OyUsnmAIVRMaoJIlD8LcUhEzAeBySHd0I8znx1tLeDq0JLil5af2rI/THuiEwTD0+xXRSyyNmzEvg249M8GIfLghzfNb9gZ4sXXSn2P55zf+UcaOQ93pDi5nGDNsmjXOjcz/lBXNfpHsef6Mc47d7LerrzNf632flF9j1mvqUzxhUxSLbzL64RGKc1nnA9indn6hHIKfnCbWDP5Qi+8i4JbfqYDacRTA35ikDLD98tgCpgZWgZe3NoUpBxDeqjTUcyl38Dz5+vlUlSxu/3gMAw3IYqxpMgqsQppcqTwJgBrxznd2zw7qTnRC8PaWfwt7PPuqgKbxfSHjViwApvXrZAQeXqOdTIE+kbXXaPsyRgJ5HOiDlWBGo/xdAylCZd6m+ErDPgs+BSf/qH9fOcvcy8SwB+/5Iz17DqWZbnOuDjcDqU/dDmMV8bTFgBTg3ktTjEWSlHn2FtDIa+vtXKbRPsXzDXxdY4FJvbFT3IaqmqoQhidKjA+glhL+Mug1tHujOm5BfRpPfYOC7HFfYbAECz4bE5SmhQfw0VbcG1B++EAUMjnpBPnkmo9FboVB79V5KXIHZkRaKdHdMvF1uepC0jRFJExRKzDU9fDDA2Kqow5Rggji0vsJKnFVFbsxmvc8unzBrjYgjlkuZ3idS1iCNh5eexZBnger2NT2/weuOrn/IkNb8y/36U97hLUXOyc1/MX4ybPbyeUWe6zmcOSK3jv40bnFhjKalnb9/7dnUa+SEv6UvOP5qjhpFgBTU1gItH4ZkvrFks9vFm0QtvYrCsXiAxkH1t890sxk8ZkDSs7koDXNenclZGBR8WX86/25U26Bn7e0emHl5kjDQNmDnRE9iZOmYEM53F4u614bBoaeGO9kttuzBuRp4IWrwsuBGDTjr69WdXx8agm7iIgq8wNnZWVKoLMCnQKcI+J1E/cjF1+2Bds/HH/zlGmlJKg5DojJ/Br/OFTcB8EA22cPfVPWjArDAB74EQFp2uNTmMIBvK0wIYHoeAFVNiZxVkCdyHxn/7DDC+vZe7le7PoajXuM43YeHJtPkqUS5H1X51aUMlSZ65OOGMztsCkLrAlTwIuvB6lntahVaryG7/reYkrGHdrNigWkw8T/k99MJutqyNwpkwWCTKlF5bIJmyq/d6tdVrF9t24sWdx/G9gGF3uBxzl+KMvs27UB5nlzOSytYd2FiHHf5WN1X82zZKHY8qtHH/x453QIxoUEj2e6EdWr2KW/nEFoCI4qgwonB2FzlaURTWbPN+ZBsXHYYSitupuSgl1tRVmrn4e85sTzggTZ2ttAxBbZzqx6REypmpmBvtB+z5Lla5d3RviDxgS8hZ41MyHT49/oOwHfcftsJRQYKVszXeNV5beHuR2MGp9LrRyqF8munlbYbKlEdUG4knBnqQKinewaxgIqvB7vRxuQOAvWIXewU0r9t+iYgsQ5OzAl+r4WbM4H+6YwIEi///m1+0AgGyUE5sRaqh5YIHXopYEvO4JnttFnJ4hbbXjxUR9C9oHKKLnJwxcTWSRF6k/Bru7zc504ZRbAA0Re5S18MVlxRT9cv52KwFhPzLM7ACux5IjJSF98ooOF+QJGV+10gSI5lbia9Oc/nbV68lC9rJMFHjSFsHHQYWCDVGF4QxumGTuChn2euV6FdMOfrT9gKk1bXZS1mDVMTVqNBM5LVScYs9BQa7DpVIjKzXiVd1b7V/Ggc3hHc16buTcghgmL3W+Yl0ar1Uo6Ho/DmQieITGo5DOebN40fDkmbjwviOagLKMmWIMFTz79oOccZoUphaacB6gw1++ZUqoVN1Iat8l6F60wyIDTmlmW8pEFFiSn3tUkYiecT6XWfeymvyd06P+rwFObdHvrnU5LNsXSJCF6KCR4zTpM4l/u8+YTWaNf2N/q6ulGaZ12jY9x1S653ZpjP6zNGkVl8eRVdr0yWAeMV9pm+gEYi6pGJRy2AC6NGcVUnPTaHz2aPZXXoJxGIW9f7e/5Hntpe8fwMhusR+pZNMKOdNRzlilhnBdprPK/ZoczUnvB8+O78noRVS8Zm7DEsfkBLiQ8UXeqkfNypUXvtrajR+wRjn1f56nCWiltXtkD0Eqv8zEBkAgzdePYK7z1s6i7WA2ZKAD9pGvcuM2e9kAwEc6VSwD2w5SPcmhHkRChrHQS1JUMf2fqZTArlBKLFEDo8QOynjaTCI6rD/t2gEJEafaQZGN9ulBZM9xZuYumKCSsMjl1vrGHDoZV83GahhCqmhUOegzZSe8JWor4yEDnLj9+9GGh9a/rExPDgNw/875nza0YOwkJuKUTvjRcN9r6mwnaaAo1nEkG2u3fUaw9N9k+9lTMIKeQWXDGQaZ6dEsn7BT+ePy+kTpFBDZoO0OL0XXTZaujcuxe0LISVLpagN3+qSZzEPFOlIiUdU0+op7jFbc4wM+eHup+8CBbWJYLeuju1WG3XzC3U3N4g17AfBj00sDbUgSnMKo1gWWMPYLlC6OznKSll7t3HjPm4JDyLUbJFoHLzOkzuMQf2yMdjrBORAxwwq++9Zrz21wPceHLL+E4TNZkxe/RYvYEtaZkP2Z5pXh7rdFJxIh6w5c9WuR0PeMFr75a6cuJwQ4AZnyA4rnZuGZcV3RgzXXUgGiE1KR5LDnVo7CwiByPR062a6+mYIkVT3/mllIopkSE8QOiFqP1hxl1XuU1b8Iu9VkCgASeEnWnrjId3WZVuEICi1H5Vn4w8EGdAquwVD4sPYi9t3dtx8buHAt3cM6xe3QETyMirOA1bRyxEeRklYP4PDCa5bj+g7grjK0zMWfGcmUiw4lzQjpCQrOOUZ29uLKdL91GjS+ZuDnHCGvJ1ZYt1FFhoenoxrC7GYOLUDAN9z3bsoXM3BWz0dLAj/W5yVmlEBzrH/+BERpb5KP50tp5ByQjNmmHDTang7KAK/qdB9RtWyuyh620uPcgKEpqpwcqS/rpb4KLZcSFJaFSRDt4GZ8jGWHUXxQ3qpRTaWL0cQB0Bep5NUXljl59Kru+qDG8F0EITusna6xnyL3t7l6wGsRgBArOtAsvhTi6kSdkvaWX7rY79eHLbrA86hLAHSXLrImWszPXZ37gkJFlLD2+UKHKtLRaZjzPqjzOnx5uhKjxVykHEKrnv162umimKCHCZTrW30kXbDkExrf+zlFs6YTKejpiRCfNL/9DIg2lnno5tefeK7tGc30lM1G9VNTmIJMscMZAMl1AQ1ahWAJ97Ae79TJSjVUGEX2jVlzAzHcrrUZM7Obmdb5KW65CFipQmTvmW5619oqLGeL4GBJHwZeyc1Yuj6byTTIlL0waD9SKmvYzJZNxNOslg0P56jNPdUtCCRhEgYFn2XgLu5HuDARtps4ySkbs9xAWsj64JF4b1sISWsOZT94qz2Koab+5wOshPZbmE1Nv3/8lCtavGJ/NcsDW2lBloGmPkhEBEk8DNKp8zuAHyirLr/C6HLH0q+RyW7NQoMb5Rmx3tSZ4Ef5yVDSuNGTpjZ3CIyOVjovtQrM5tRxfX/LGKdPHIGTm1EYrgV9I2TuYu8L5wJuEZtFLQuf2xd9c64QxZ6PdeJFNNZc7BOLXsvPIl64Bi8Xm/jSSF8qr17rVcTnign3K3WqSphVhO3kXQrP5h+9C+xHKvYMQBv4k92U/d0k2mvrjyUJoVvOkgkHlYBDIY49HbUw0n5bJlYxtQzLUtO1AAIMlpXLdIrRfc2PlG6Eb9/Dw9hV807ryR3H39fOh2FVEONTtjQENoRx/3BQB6RYvJBunf6wJYym2zaz0npH3vDhhDjxAf8UiAojRwsh5qhS+YUWZ7VE0eDKXnk7S0jhNh7OaziNW09m0SV2hx9IgY9Aohc9IlhlU1H61j5jjACQCnfQAiw+ujdgHIdZtckSXfnXpLTO/tmTUk8RlSgpPGPm96SkQ9aMc2p/flMHwpbVEqkfJX3hpm1UqrIRP35TtbFlQcIKLhrPPotIewtevUJIBv6SOLf9q8yNZxkvGZkfQgZDoKhQ/oJkbmHDWAE3GC8PlCMQDmj1rL6TgdIzOHtieAzP9lKG7LSO+jFEJBaQazGBwB14Rw7sjdBYNxmUHPbWp1BZiUqb12m3Ws+jfvJi9v5VuwykgnSxhuWofGxp5QBcke54xmdIraE76ySHIqbotW4mO7xOoBGzplqUvMIK7jZ27igbOgk03xTS6X4uyeiE2WGaSmkMT09xPVaJfTbg2tRnZ5KK5HwSegSR8viyoMzyPMG+6VhA+hBqAUVUozXnGZxT1D+FQDQNaHdqOE+tBERxIcimjLfT4yNcttrT/6xn75XhfD4MtJ41shRAE3Pvmvz3AZGF2HEwsQq5rz2iGcEqecdVx1YDMxkz3I7y4EoJByIwQT4VhGkUlXcMbpuUaUox8IlUmLCcIClT9IUPMxKpLhZE7FFbjxQL9wFWHhjx4kFKZpV38zk75V3gGf17g40Q0WFF+OQHn4Z1w/pBxUbCl6xwISK8DxGk8kJh05H+jlRGLmN5XD1VuBxIoHrjr/b6Iar/efvxOia5b5AmjaSIpZ6Epx+s9qgJrsn138K7XP8UnQwqqwIk7GjXgFPuGihJJqNW5xUarmwFFCoTIzJpEd9iIhUV+ec4I8nni2DsYH9FYeuwBIzw7ToG5ouOPqk7wT2Lu8SgVo6wmu9puXAlBUA18uD7wty341ETbFX8zUjPYpV2CB0kyMHtj8wZqgWkR+iadJfGx+xoCufvClEwN2urjUB3D2Hym5I2dNzhC3cptIaXtVIE85i5aW/j26J0XGvWOObsocWRHtabb/2ckr/MF4HN2GW6skn/khcqDlS/Z55WBxn0hnTYGwsecgKt5SZYjUrdAz6Nsw/zakHNmL8LFtmc1p4S+F61yETQUftRJ8WgWeZrdEdwsKA2q1iISu9lqM3KEjV+m3+YmAl3tem3U8ey+TH8wAydCVVB5B4WT5k5xP2B6FtI0g8jjIurIGwChlCvFbDvAmFZq9d4+Q+gOW16xtHEHQ1VIAjVdHrAh10zMCaWDe1JWZ9q/YKEF0PdmVs+Z6qBRrZPEmRhCVIxUmqgHQGPUFhIBqgt/CB172GECV5LSB47iX6NSnnN2+nVHdM/T4RENhTq0kiruqxRlW8yVPwI5kAd27tTqd4k2BkLX8jA8XSG3twd8gxy8dHxxt5/pNeFCIN2doURg1gpWCP66NRdo1x0YV4BJTPQOChjkSYUxyPnzvNdDHAXNsWH+ntk4k/iVUkEsaQIzk46/MPrg1Ak6VaXD7OfVf54cSBGz0EcUZ1OFHKTz3do4hcWkjYDSF3y35DX2qvGm2m2nKtjGcTWNtTzfpqRvAV3A62T30Ld+dXP2G4vpScsCKUQb5BLkRnvUH3i7bzk9S+VWCr56Sy5469Al0IhZuiz0wIoWzBohnf8iRHsm4ABDKOMKpWtTh8wEZyRYpD4zSzUxJLzIaFhk+e4e1GfNxdFX+ODEMAkXU4jJS66oCfuP5BRdkcQ7TOV3G6xjZa3bfv9R7ZDv4EnuqYh5n3xc4dK3Y4/5D3482lckUGianWc+j/1zyfZ9Oc3ZzsSw5ousNxxZnBk8mcVReuDIRVvbrdGVmIhPNNZdqTvvUPW13ry8PW6Vhhc4YH0if87N1+/K1CL9+mgWQc38KE4lQ07KD7ueumOpnxOK47cILDntSSwmpbwnlX/bLFxc4zMTdVCy3lPVCmf9qThI3EZeFeHYkrl8Nw3Gex/DiqiyMOxS2us+rcZyNYXDA8ptiLzsq4Kyvi9Bp2GxhsoJbah2c8ERxkS2h9JrNoDwkmBYTM8tFUQ+4Fqy9qNJMM3IiPZmCRe3+HuttX/z8ko8iVlPdnQ9SMHUrLChiyEL2f0ePFUJlOGsGoKWeXn57yrpHYqNr6RZjzZhjO2VnqK0NZhDaz45ScGnYqZqy5j+FeQHErlnkpNDXm9Ef3TL68hihs7xpT6G3gwo3RbgSuUjtk16WLtUegVr/HMF4ZHKs5X7y3CG64xN0Pr++cQTc4ewgglLhzCnlO1nhjEuyOzuoLKdwiYbVj0+2IoCGxU3efVz30y0lyd+mTIVPzXxRvOkfgE+8f2npp06qnO5x5ZVKfIphzvUZrJWQQp07M84hcWwUAWSkbrgZPyzVSWTX8RiOZjIPeVqaAMkKKYKFlNa6CKSoi+FIfXD5KdvSFsBf6emZj3u1Qqo7W5L6ibOpH7z9Aw9maQUmY6o3l971wHe5ob80vhZfT6UFzLVVzP6sCrnW91XQ/OvLqX97+Yqo+oBpAQLhzVUj+G3TBwZMaj9MKrT5o+vqimbT0XhTubJA3l7AC/WiTvswdup2DUHm0+46nzeB2vrbg3ocbkuH5LCHPQYolA14REudNUfFCEauku0VvSBThVix3cjE7k30P6VI1T9dA0gLanApuB7niHbErRB9P0YnAs7u8VyCGcL9bvJTYvKrQqb0vqmKaSiXYFkokxLL/s5f25fBuaOdmRhmyLwE83PC3Iaj2d+Ygh+2GOLfWTh94HRrvrDVqMvDE3BttKre7ZiIkNB+v30AuaDI5WXF5/UuTSTVlpXOX4lAevVGoN/vQj6DcvmjtjRLQFdN/6st/OExrl17MFYsWpzpaIsPFO09x1a1j0Hd+FMb9n8C9/4CJWDZCCgLeBXE1SIU/lXEuZZZfs+brvFqkrYZPuRFXpzImnXiz3KL3/cHJZgAMc6wuRqxOa0NXVvdrwAh/jtsHn1rFISiIb/LWcBgUsy3I1z7EFj7BoBIOQ0Ehhk5NkniXfjuLHhqbPG30benRbbUtXJVJ6JfKDhJYGUAeRbu/PGjjKgMXLeKBvjZjoNAYYuL5aSPxpYmFgo++pJ68D3ShUeTXkHn53jXkVVqlbclgnpgiEYpye/vCTBnkqRAInCKmdMISFPmUOPptEMVlmV7lSeyWnG7H+w1+ASM4xBResvZ+GhOxf8JLUcmhn8EsQOJb8T9ljGoNuJMclSvdMmfz2Wu2yZkzy7LWiKIesggnNFXXAbLlOu252mGpRJeWpJz8YreRtsg04zZB2jttK/clUyTsxj3P9gmdg58fKRYHuRlK/DvfBwtM8i0t8pTV/9brC1594ujHNKrYBbTFAZfYS8CaylFTd7gul4NHHnRgfFLwPOotCy3KFMgwNzsaRpzBnaDdhBLq0SjZ/lAx8BuobxaOTU40+6i+bUb57vd3hMSYJnSIrpz0clTWsmEaCF2xg3WlkIYNFZ7wqRED2QHcCdXGpechww9JOlyxBXtSbSkHLzjwYJIxMHz5VZDogcAKxwL5KZmtMYMUg8BBSjJEtliCCF0ANoG1BCBxob03VuxlUKLIizk0tfeDjJZj5MWwSTd7USbUpnnhKhTpt0+xVWvBCJVLY05cZWz08zxi6GQaobdwMG7TZ3XF478twEy+9u33ImK1ag/x1AFKD8OKp5zBVM000DFaLU0EmijblvxAIq5LdEYogr/jtvCumeI2DPGl+BIKnmDPzSLoicX6ZN5/X/6AytRDdOxnLkA1sprIbvSGoAzkUQTFbQGD4QtpbdbiVyNQmNAVor7bBsLK/SERflGCaZLmjwOKv2FLcN8sDxcyE/0GEkt11ZFr4J96pDXmaV/cDxMoleJHM7SHUNcqqPtamcCWCzzpWVflUKBwBSDWBRgrKDU0H1D07JwnwGd25CFvE5McZXa6tOBSjQECHKiYdJL8dailhE6x9gVbP2yao7UY9szA3NfmhmJUUhl1qL/BYX6AXpfRtsG9DmIZnVO1ENhc6rqh+p/nU6abdqZtTdNUcsNVrnLSzqEVWvbWCIbH/bq6wV5D5cxt1I49qYcs9xLW49stmTHy4Eus4swXejXiCMmOBvwJ0n9YMK6xsV8nJdsTvrx7TE/6C87dQhJwZbMHruqnGQQXIjAjVC5lohEE5DkJSY6wFolInIRkbmi7WFUgtIFP/zWrkunngBDgrn8DOi4G7UyohMDh+itoPyy1bDckSWtgQeBmvbXeaI668kHQGQwV03snY7Z/8i0+VthHCrr3ptuoS9hRcJQFFb1LGmPkc/IX5vwgTd6T0GM08yndKn5wNQUXS8rjcuVydWx6Ku6vUEURfeurV244DWsEfWA2bv8wr3kZE5jpn/xx2jZbVVoR36iniSoS2TQDTFE/jOsXlemzfBOskMqjZ6V8ZDeaS2g3pf25bPT6nttLrdT0bTW/jQAI3Mm2GtGNQE7x7YUM/6osoi3MuXLB13kz8o+eL5NeZx8f2ENbt7iXO4sbjdoLSDR7MU6qfJ9QOqk5Wa73pya72HiXFDeQ0g4fWGnQyI003S9sad8jDmqEoNxt9uvEZuiDKl0r2OXuPh/1PjrP3u/pP53HyuG4l+uDRdIOpo632FRZsP/PGRlNKhjTkBTd2bsj2ylxl1YcbnaLK35KuQNAKSsxJnFKCQC0GVe5DkcKaYLWNvjckojexEm4wSMiIDzIpLoRFb25sZCR4Tnalxv5TO7WNKUulwqfx9uwHnN2t7AnVhv5KGCD2hjju8oOhfkBSIV9WjtBWh6YxUHsiCfUy1EhxyoCd9qEPBuTTvbQD/pbgyIpHrknN/NLxfPFNqzWuWaTAtQsEltgBqlv41gal+QZxQDbIq5gLehA3kc4iXATx3TYpHcHQDGLbSpE9pI78btt6FcP3+RpqvyUaVm75KKKN0bxNuAog12O6gnLnVVzR9e4Ru6DBmVXi0hcBDrZSvDdbmuobLUaotc1geGyI80vyHEQZ2hVqEYNcHzaD2SISM6tF5oIZQyFge7Pc6bVsTLzXvvwxihcVrDU9cPqd5df+1B8gxndcMrnnlzqwyGULvdM/fGaObGmvB6uiL856XsyfOG1lL/fk1btvN0C0izOZlFcSRvlRnZuHW1N3N0VqShE2CY9LEurqXheo8UmuJt/WVddXpaQtlgyNnWcCNohvT+lB59I5+yWPBKZDD5JmhIV6OxXFkGFaWmcLngCTT4WlKZEv4RpgNRmCuQx8UowDz86w7iC/akdXNHcA2bDvh8IFlhmIexNA/HdUCnX7mRq+SeeHWfTKNpEB6emCGTojKKXiMctzguXvuY8vn9ffaX92F/w+UZexqE9OgE5mUqo2PlS/sQBBkDaxCVZrJen5JAGIvVVjmVL8K1vzTOYYLKXNKeDuuFVekJ+muJR95RLWQI+rtlmaNv2rVa/udJrDp0n26syG1xH/LxErIHCzY+kKtS72+s9AzEDkNRX8h4eVpx2jWGafiL/l/ynMixyQaHTTG48nreiZCfMPReDLudOuMBqNjhptQvbd2DuW3kJEIy5i4q9eLHK8aU0+B0gsfAk6o5GJo52n/w6b5pGiKbxhyjJIrBtgUGLCrQn3rd9fxIRB4klFSd6CqAYGx+usYqmHqy0l1BE/VVNA6CP4As/r8FoMEKn+aW+37ujq7v/r/M99L2gkGtHXjViXPa4XS2zvIgJ/A69e1kSZ6G5QQuN8fpQc8ZHJ2ueNHKMQqkw75C51fS13VOR8dhWZ1ZqhqMPIKl1XSMBVqWntopuKr1DbFQU2MudFZAShU0JkxoWBAHbwYY2XKSk6iHkkLvvnbmxRdqJY2smfIMxJRNxPhemrNOzhQ4KBNMcehvQ+GMfbkucGrukqihDVykP0XyqAkV612/BXYMWhU7rf2NuMQHEAzVNrl6esAt4QryffL4yXjnyjHxo0XJe5hEECoH8SB2QTqXXnbpVlIHC+3Ctq/fOtPsoCbCkeugmKm6+43feXNtE+uvWoPyEs1kcbRhZdftmhDRqSD4D/6wXmI6p3kK3lv1UE9XHomVTsbpYpi/fdDE1UdzhHgADUUm2U5tuytwQ2aMqcEM4wyAnyM537bANWm9GFHi8uxMVEXtg5EBwZGk2eosEIWwlSH/TNNzZFaOfRAYfTrp6mddLyR9CWRdgCwhU18YFDLoAgMOWEmev0TYKkp6wMI9116Xm+FJ6C3CLJgx8yDtb7V/SebYEEMOq5M7uh1icvEqEGQzBNC8VeTs+IvPx5wv/YBmykt5qkxJFlvTHnJjCs+b9IRvTBNjV0BCm7jXCwu205FgAztkPG431ugWS6dETnbUujK3hqx8QNbphTXkA7XhpfrJxNIDC30TcFD2Gq0/xicAlCvSiygB/5F1mFUc/41GPyE/6AdTpfqqLNihqOzUnrQ8bwGzHJNUXhc2i3cfSSE/Uc0fV9NaxUK9dscXmeZw76JMR6YLxP1caIX/52eM1r3tR3wj5hGXYlzwNHjz5rEXywX5gSuz4f+Gr3S4jYtIAdabfBf13tn2XDjbdSkrL5qLlyhY2A7Nrrlej0EfXUPM+U4g+N73VpL+xxf1pJIEDilQPURU2/WCot+lGlN/Fnv9uk6Az2kM5DbhSBFLv6W6zaTDepnWFgf60bY1DPoZ+MHavUMU35kBBPaRAkDWPhLxRRG+Y+YHG49i6ihjhyS81KAMJJuabzCivP8CgHqYbcXJiuO3EkxCHWXkQbRhiBNCziYfcXtPNxtShhjsV9CcdusmD3V9ML9h/4Jw9TbABv7svhM+miq+2lJilTPHBH9NrnvKZ2zXi+/RfGW7DspoikZWg6fGUfMpzKVSaJ/zIs3JZ8GZsT9nX5zoA2yqixOao9E7UnSbC4JCY/5sNhifH27zv/RlpYKlYpQrbIdVxW5/d0vX8cNWp0bXS/m45jB57rWlEUVcH8XMpx17hbHJI37lflaYXmYZiww0TCCdQ9HizCsvqu9ToRlv2ZSpqucVZtZHk1JQ8Nzb2GmEs0VL+iMAwdT0RK/W8+3rv4SsZ+nV0XRmekYd2VfmGKT0orPrzA8yadRnTKrRMz5gwepLQgC7yHonr90RQU2s6dyP7sPHPSzyTz1AKZ6KWej3GG4DiYCnwVdpNGpk8rAsTPKssDojGPVUwLbJ+vuse+fJSZXe6XDSexWBkv0Ga+fIzzxd3axA0slT2D6py6opOpksAPJbCK1S5yjup7n1pxxdHkksxKsy2+l/URl7ifzrDva97yMOH52TVmgwuNE6YfOfIE/KaQkLassC6yPiteSqX2Vio3nJ9Vvgo5Q8oDlInx5uyg1/bcX0/ESw7oQesxBajurYYjxWp64zdjBX1qVkfPmzGqgQcbmSpn0k0tb6UOcasylLfbuqupvpeTEPWANOV3pCGLwZOeRZnWHHsbT3+h6cNop1tnXty+AfIqH6LyM+cy+W610PLQwvijI/+91rhcS5EJBJ/PQABZhSy57hLx9x4C8vC84lM9ngNDRWwi9p+5qrI1h+EXRnZ9wxIMr/rx3sfP3gspcJnAdQPsM5VUkue8ITleK3u05eP56Yh1HwZoC4Rla5nK5wymZ7N8GMB0oHRDVe5x9md5l0tfVnZLLxceGp4glJPZegOrY8vKKzh/r7ssFnsFMKFFwuv7wJmiRn9SJnfAgcHAZ894m33FMYeTVppkTQdJOAJZENWmM2oW+YkGMmDQIVGe7riWiWLFNVdj5odds1iV7QqKGCw1ezHIczStRLE7MGjM8X6gsjlyPiER9pNK4eQOqjPby+0wJiyhVLUXkIzIC/2WAXhFVitpHfZLHsr4eVBwbagzLRAvKc1dlpWXYYiQB7SXdxNmGrzegLUTN85X8iBZZJlLFcI6Ubjp4IaZI60YB7I2aLQplXYxxTBgp3x/Eq4dodhbjaZ+ChUduYIVDsHpEgdVJdi4PuP2ZNKU8dHnq+rL7UAW+y9L2udDMWjx7JDjtxWeRn6eSn4P54gj5Uc3HARsUJUfh3MmFE3KOgHSkmS7tRMxag9A+a2etTdovtzN2x1IsZSDFrStigPoO4yYO8WTe2A5s1w8D3aMRKLty72n9bYHOeuxa+y1H7Jscu5TaaO4Eo2nxDHNiN6NZpTpjw2TaUjAifVuGfIAD6fjMEzCK3xCVbF7Di56+zGUl86Sl0CA7HM3jrBd665kq84l38PybEtAQCsD987u+FrKLklvv1ar0ddolgc+tasNNefY4h9UHecIww31BAC6fXHyFKCg9Xdxr9pKVDuSokshyGGVFuTJzK7jIle4n84bzRJPPIgE2W2IRogPKiLQySky7W3ebjAYCNhO7uV2KAi80STEpaIqR9z6FqENpe+TniXiOf6JDCKtAt0iU+Lh8J7Cv8J/uvCEL1aZt1ZCmGB5k5lPubsYk7JnIuJNcygsqGAVejnoR74nHiiCJZn48+Nf8QB0adJZIoG5mNX6L2UDUnClQXvoxb/NRbt2Y4fUKqWI8misz0iQkX0jVsSRPeU5qquMpaXatI8cg2kvfoGuuNzeHbXUnbuFL4CQBiDySZcvghSZXZQ2yYXopuMAekvgcFN+Ryq/6AySA7avdHFfVLwOoGs6HJLMwutb9pqagKTbEUOvpDAylxsbZW7Nyhkgm8L0hwbiAIA81Lj9tGBliuW9u1Ce22aiW7nGXkX1JZMdNGPr6HIv9CfMIZUcMyS2n2bN1HK46HLePjDBfOZBlwl2g==">
            <a:extLst>
              <a:ext uri="{FF2B5EF4-FFF2-40B4-BE49-F238E27FC236}">
                <a16:creationId xmlns:a16="http://schemas.microsoft.com/office/drawing/2014/main" id="{56D19E7F-4F92-42FD-AE3B-B288657E131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714445" y="3877076"/>
            <a:ext cx="9224691" cy="2877177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2ADAC93B-00E1-4E2D-BAFE-F1B4A22C1429}"/>
              </a:ext>
            </a:extLst>
          </p:cNvPr>
          <p:cNvSpPr txBox="1"/>
          <p:nvPr/>
        </p:nvSpPr>
        <p:spPr>
          <a:xfrm>
            <a:off x="6156790" y="3970230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Margem de Lucro (%) por semestre</a:t>
            </a:r>
          </a:p>
        </p:txBody>
      </p:sp>
      <p:sp>
        <p:nvSpPr>
          <p:cNvPr id="46" name="Retângulo 4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rQv2mO1593fHEOOPfNctWczFk27wvtXf5zQzjGpc8dnImRxFOqkpWje5dHEWbwuuVAuIvsuyTPARCMKSyESVPg4DJLdzueZADGtlk26pEqFUU5AMdcqyFP0106F+P1rHGxXl57stBSPbfgbDaTdA8qj58wctWedzjL0Y0gBuygkt+J421RKxEoS+5/at8eh1ayt0Xp+KHY1AQh7xdB0nLinGfr6ovNfE1mOsLMAfJC7Y48T+vnpN24g5FlrAjItq7rp5AYyX6j8E7uhjaHKdWgokAldbA74PoxvTlrOQHaxPw/VfxQA9NwayKGI2VSdFHxdIh9W56zj5CWvFrmec7Vh8xkswczcNeaxM5k/EjzH9/myQYn35oPhpwz212n1+bjOX+NIfklE2fVrL/TIX2YB4s0/8w2zOAte6/arU1XcTHT/w9V8wYZaj3ahXXzga3gmRg0QTC0pDfeSrbEKtsIVfUkniV4mLlEf4vG/wvm13lrWhwYxO5MDIcBUin5ypu/fXfRX9qjBbuiQMm4A36Vsi9Sd2Ptm+1eA9tMdJBfSULaE6PV1I4YISI3Ai9mWpfiqw5IQoMFVzzkHnT929sUGS22D3R7MEVtWgfg7xC1d3VUfQlVifnn+45znj9NzPYdTTAvVXLRJCe/vqoww15nKcJqJQSF6ka9WmFDjWGjqDxGkx5zKZZWDfgTn6Rw0sQUez3aUTswIwnLcZzoExxNLNVZzrSGyYR9RkDva2wJzojTeBsw358a4WwGe93bK8IgI24YiqWQqQouxi7MoL76btCu4JY+98D+aPMXKK5VdD/uV8ChUWRxGt6ShhDPfjCAe4fg7hiq9isOqF4Xe585SE6zOhLwmgFbgqe2kU/n8UaIB5ymIS4T0zA5dRnEE4gl0VxyHUAhk6hPKqoY5/N+hJPAvfJkIUAWs8AlM03xPDG5Hldyw3AlsEE1rohu093tiXPIZ/A16PbO/5R4Z08pTonALYPcRvkSgnUB2deUJIkBzjCLRRSEPui9fMb1k/1/FnGDOCEZrsW3G5Ruxs15zhsNsvrKzxQ5fn7Y2G86ucf7URiIHT4LRFLQ6sUm6i6bAbhXJRThyvrmWyO7rnht01nwMMqKFXB3y15XqkqPCSojG6k3kHH1QyO+GoYXUJRzlV9RE4W1YeHroLtCGhLTprcDk05wiowd3MJIY5pAg6PIJROkWbAhzbvgMyow2WS2vVkyIbnsc/htEUK3yObbKqmVJAP7YmiL65txnfQRfdHOnQd9ZDid7MTFgNh3j4pyqs6HhzMr7OCZD/uEnrQg+/49IpbxDKiMsy5C4XT/mMHs5pFUGY6kY87Lm/YWThbfOthY7x7G78U9RE1TaqgkbGIDcOyjzdIHiPEeUyXJNl/5MHhEzzWWD1x8OQKaTW9b1KsLqtthYNM5AB+yVu7686pBYIoG575SMOMEF4QB8AsjDUEhryWQjYMpXceotBRSE/BdmyX4fMssWqn9Y5wIb7NTmClBl67kH7jpeTzyiXpOPqlsRAYQEPAtrSxKmd2t2eEEPLrGHet1PGQGVXFnTgFQiXnx7irmHPK8G5/cavjLiGRvW5VNMocozBZyVPQjH2X67g1ynRxU4j5ki5fuIe5/vufq0mENlDvpR6WPd+h4yfMmIx/0le02kevIBX53uX0gAFkwxmIe3sTZCFSujsHDdTrYoxWqcFGu/b7tkeqBB4ZkiA5R5u4wWxyPN391k8TosOiQ2x9pRRtriF6Svhewd10mOtQsanLn6D6w8CuRSbGN5f5OGlU/43lMSw/1Xybkynh0U5SSKLQ2t3rFTBxTu872EjE92U47F6oPegR/Hh7pOgLJRRlegzM1J5hOkz4PgfI0jOftw7oUlN4CqwMbQL6UFp2iXdazOjkOy6VaLbQq7QdHynhXeQfiMCitpbCH0jGrIgnaK7WHTPxgb0u4NXALe0wiHV65Qp6VZc1CCnR4GQdI+jYtMabLG0DdPZaSGF8rQs0DmPimwMFhyBBD0Xzw2x60n7x7XpnbuarFEKrIYfens5Fp4IZATwHtwQjEvRpudDoh4jWhECl1oRVhOiJnbBk/Ur8E1lNk+E66Zai2H4aRAZW7/mj+iAXPZMBAtgFxiEmWHYPMuDj0DPD6MSsuCJfN8F8M++a4jcYHmWHE3xeGtVWj1E7UU3jsc9AHJLNiVdOe0bzSOPjFM1UzBSM7BhO6kpYgrmuXIpmm06ARVmVkISqgSqk4DtEm7giT8P74Gnt/vt0/DpehagA9dJGbehnDNoPSJE4VKtht1QsHKjHxHg77M5m9/qqg77EtRCJML7Qhk/XL6LzHi8U0AAtmzANc1T1GSlvXTFMzLY8ksnD/HGH4xBqQJA1bSJO9Fm/vX71wCLQ02Ciwsc/gGEkyEyiXO+BQ1x9YVB4wDkOakR743Hf5WZz+ROPyHR0XqVxYtBdhPxLYY8FimJre2UNr9SpBQ802sPpU5+EXDQ+2W9zpmS3jQiloZzE1JfcIuztiUqzHpQr964Y04XjUrtohpM7NR3lwhWSSiCnV9CWRsxS1Ruv0NJ76pOp4kJVqDyOgc0xKbZ9zjfaYa8DOOpBbb0/sRnp7alILNXN1syG16sGl/HSfpS0imYzUiMr2hXM67lhUGAyNJX2mlvChxLIFrcXDIu22XIC0MWhBdXXAapnRNE5+A4gBEEqhETtIdNIZY/0+vfp1/evtE6dem6AS9YqpXzxl6zTBDfD8cEnv0HmDW2pisC47ljLuderDaCpBZ054z8/hXGbUA8XLMXCETso56IJyqtLyWd+fdGbvCoaK+Xs6WypBZE1h6d+wm08EirMGDFBbcXnl67pEJFieSpE3ygvD8xIMOa2QulsTqYS1RRZwkxo7WJde17eVJwb5OJxMvjGhGmWwOxJxcs3cP+Ea5peJ1r0OP2YBXWHHGEGw6XkrDtUsAQrKS+kWPU7XhTNO3Rkt/KqA/HsPUA2PHwAxvorHm7hoYnZ6MNKKDWevU29XRa/BNkSlaQ4RUTqApWJ2dpmf0qf+HFbZ0RUdXvuD5d86lkFMTwTmB6ORQju02UMIDJZAGX5L6a/OABeBG3U9TeE+dBJ+6FVlRbZKwdkkSLH1KVA7yXV8ExD68nTuHn9tK6l0mQ8Zfby/D93XbvgPCuVTYkz2FvaCDTz0zv7JWiDCDO0DgnDabI2zBIFltdkhOQrH0oJZzruo7uRz+8tELlJFzlza3EJLSFh9J5PNR+DdSVnWpJ0gFXtCx4JrHV7fmZLdS/BHfuz4nRnDw8CF1NqBcQbyq+sS8NtAXYlo3ruEVEsMLb/MZNYyNsE74uF65XoTr04ufo0wQ+wo7G1U/qQSbIY0ibFLbKoSAa9T7iyV1bZslZ+4ZByS8QVneMZ+Ow2yq6jhtBOh7gPAbK4wOQdUOv3lEjwLZsfhS88SM/G8vsi/qPpFrsVSkHmfQCluQTQj4dCxUHsJ3j6DJv+OnH1fAO5Dl9/oa0LLI2Fs1/Nv7RRycvlZaEKpRlroI6Y8MscNreAHa+5zFJg3MAJdGiS58eB0lnIidJek4exBC6YjV+YbB48X1N7fy6CZwGP94YzYpDxJS6WCVdio3MD5P/UuztrnIZq7LFb62e29wzPVXQVprGQgfDNHFkKtpK+jAiimCZ2Cg+4b3TojJO8c1K09bi+uC1XA7GL5dvNPDevAaGVi20ub7C8QnVW2dNAl1I6D078A3bMc1fogxmu4JQ64VDCaeuYVlhkgt171Giyj2Fsln2J06drcGAs04YJOifvDjn4JBjal+WXiO3zjc5TJij0cL748/XxVQljXjskNWASKdpRYyF4JrJjLAsfKrTFh4oyYzPsVMoZciCE1Wi0unyAchg5yABDoXoCTgZaqM1Oz5sZQCGFJL2EVvevWoq6mTN20+Qe9Os1LAom3Q94zPGlEFtSRYdE8gLirMpCATBK7pxaDI1L2R/DqwOAC4xCFZCBLZNlAu+z3z6QrjN2Xysz+Y+savprnReCoVqKKGmSQJ4ykgFAQlNwuuH84T0p7EnXxDt5tnzoogT+FWXLxb4kb4wzmYrGWXjb1kmtivVMbI53W8iwVORfvb0ZsIjzVwIq87BrD+IyzhJ+YfPLf7BPdvqN5SRpaKxlaEBsAjs+5SCr21RceI9Wn+qvn0Dw9H7PW8kwnqikpQB8Rx2emMHIWvZ70MhY4ykENaY7+eCMMYqWran6AU8Atl7EzQokFA55NExcrIRJJZVTTTjDUpcp49j4Qwo8ItcCIj3u5URSZVSk+ek4hBKMfJk3zfL29r8hchkb7WsqKKPDrGPVQwxZNCp3UKaYoiVgSffMVKNB4ZviHnqoA4N4F6nWrzzhP6612AY1P5XNVJtrFFLrHaqamvIp2g+z7pYpzBLBbbyN8XJy7l8J68n7HSffKWEMsfIoIKVHEofro+yIFkNewPzJ1MX92duwFQNkXESGURea9UbUzojfXz4T73OkmTryKZ6KugKcfxIqFeirsnCFdeacFgMR5Bf4e6Fmj5eLx48XpwSowHa2GmHziYJt3oPXcbP9Iwt3k4uZF0kLNG4ec9d4q9Hn0HcVjXjSK04QXxYnhoeQ0APZNXq4dJhdwPEUc/fLI5uaCNS9HVs4KCSGkXqcf1XB8Nd8987otnrHykxRlVen0CNK/8wrSksdR/1TrPdQzS9p3x9d56mdMrK+gAln1GjbGTHBCGPpWdDqSSI+1uLQjMnuSrhpOyfF8fsPkkDszb/s0tLVj6y6au5bYqbI3ctF8SEpxBkooIKYY65jjIn4x0pVzYycJO6YUv0JDeUBPMUJ/oRle8vaQWKIowIedCSKs0KASnar7E9y17RKj/tqZ1CcnSi3ajOTqTxH1K3zwxmK9pYKEcpeORKS5azwGL2AKkHUZ2BMqfoeIMFaFu0ksjXSZ0hiovNj7Ml/F8gJ2L3Hxt/95JkK9LydQNil8vg6Q7mHO6NXEmJazfnfDn+8eiZq/ibf1p6AJR8CWRVzZs/PiK6DRGuVBygMfM7f+CbeEYYwyEaVpuiCV3RO9x7988Hx2gSfIqA+MrEDsevPqvEJRZ07N+ocF8YOSV+wzcRuo/t6xZfLWtZ5GpvSO4VD2ifJ8kKoL/6hPiRxAlpZs0NxhKzSPVKv3MCuwp8hvLXl8yK1xstFSrOsMPYbb5nRGMYWBHEVeKImcWlv6WyVzKkPWa+s4lrjn6zSuMzPX2BKXcV2H8469YFc4PYdC5yXO45leEINF5lTAz6dIuHu/IhR/h7d1OzS5FhMpOcTNDCDqE2QJ2doT1rxLNzDZF1gvuLMD5wFkPf0fGKFj57xCdcbF/qx/O/Wg3KM5MtIb599vTLByKaiK/aBdvH456dv042Im9cBjk2q59Jurg511GXVi0DY/raWS5XFMBmk6p850DSGHkcjOEgJrZmNjN9DBFh6rN7eFQmb93njJuoL41V3kvCRv16reQgTyAnp65q7DNHpxtlNOKXPHKNvjZ9Yop1m/mL5At9AcHeWTxY3oYWIkmLtIN2mcAgwWXT2Dnlmqd+K9OpT/OwWxGJVPffwlOvGR47UvtnlNhNf23S79uehbrV/aIsrMRfrsYaeNOA8KAEKx2r4PGsKquHQ8aDI4L6tR/mH5f18rYkdmMaFmrscQiLd9f4GhzH1f9giPK6o/2aaPyNvW/CudZ8EWQn6Vbj2AB7XuZ/YCBQdfPsSt9hOeJMzJobnOvddO0dTfs4Ugoxyv6N4aTy6Ub3YYfU2A2fDHR0ZZHVleJzmydXCZZitf303pwo9nmZQOtEPQmkfL76Bueylf4Lbzov/vUP6mKuKJL2T8SKVWaiXoMe+gdBDkHEkShDSR2+UIZz6SMvO8usosu8YlftrG2i3qnosnRIKkYq8ntMsGWVL+6ekdelvxvXYJzJ4nghL2T+4Ol2KAPldYFZ4nv1kDjp16WPGlvQdhr47xHjTf2umS1Urv1CkLk+YhVBVwMAVc4OaowtPL2MWSyQ+Dx9eFgiaDZ3ohbGgmZ5/m+r/eJHnipIYIUa2xqEvAXMagjRUOQdzNCmdcKLrA6uXHpLiXh7yyLSQRXK6VPMS9JgKW8xiSBvmvDT+ryxUPh+YEnJWcIUT9B8zlIiQ8xHriLq6VmjkKT0YfSTbL09GVSk7fHY+Ndc23x8HhNdL7QrgW665wYj4q/6tu595X0EYX4hbJbI9ayk1a3KOmQ9Y/r3jF2I/QPp/tIVYH7Ka/JBtVjdVMUtRhxQjtA2KfRhF8Xzccad0JOonXvObRWlZqfwunBG8JRAnbEQ3gALvjGz7go5uB9k2PSszVTROiABb8kzvD9uY8EyKELwy9q4WIQm1799PuVJph14jJZsBPwBugpJJVZ6jEpnsyvvkam7xxbsq4zg6KDvzWZ/cCRXDwbmL7s4Y0nX0wGWUP6jU847quccATE062JWapf4gHFPJHp/5EfvBo/40TPn+ME44CwL15wIFUEuwA5CSR5Zc3vNV8gsFJW+cbOI8d3o0BkO4jSWr7bueMtxBOkOt155810U181v6F+FkxlXK5BIBMsbIJkeU/7yGtZvgmmr+YUGbCNh4+eR+m9ek+y3GmNA1rqRSBEdQX76rwuVEKTa8eCMm9n+tM5yPptdfx5nGsMgmFLiy1qmtOVqMt106tx4kVh2mYuD0K9BgNstz8opsNzP2HHtxVbHtv+jKzAGZGQKDHdUaJ6AWV0gwmm8JvJJGPEkLjpdAMFE3fGXGpej0xQMZCu3Tjw9fPz7/bnk/ayZM5Khs2Xl3OxXyrE9zPy+Hpf5B2YE8yvHZ8GrXIyNdTA0nFx0hrVauFAsZWh0KM+JidP7jgLW8Owg3Ro4ETHuEeIxGtDRkA5SxV5pDYtwJX+R/EPLpSz5LT36NDguD3cNFqvqcCWtTs3Gzdc/SOluML/c3glk7GaeOZd7t8V0PYbezkCeRPaSbotCKD+PypPCkYdZNnCIiU3zcFMAKfjh51UEkqlX2QSW78CUdG6ELHDdtKQAc0nSwCHvTfGWvaR+YVrZWOYlMtlZOD/N06s7htYd6ZPNuL571N4MxWSnOHdbMEU1lBXwTUUwJpR3wfbZl1ndPF9jkbP7IiChy+ky1wfpSYLM+/wqxzVL4WsTdHUoHqXNieBhb723YZxcrONxsgWF+pzra5+9zC+u8ZgZTmyuxy8L//zTrnPke2xduQQqUzabIy1MCNvtgnFJy6G4QW1ap1PHn8bWJ78N9KZ3zeHbCI16FHHejUL795VYIgNA+VTW7rPaBI712j8xkhEXM/PZ6DF/CvGk4IKXQWBQ5oD4EMKOn8gFsy43J/0Sh932ms0tYhnb6a+ZXle13cEqz01eMqImgWMqYYPdsLWkUzdHu+3ZivCIJi9lYsaoPbmQrJKvlal9lrUBfC5ia40/6+qqhk2PY5oB0uYo+bz4oGKq7bElZBG7VCJ7jMaKAt5UNCu4rUFu/B5x3jmm4Nh9EGcU0FgZREo/vo3IxBhw3QaX5k/cYo4zOEhTpjV52QTyDT37X8uKPt3+YHBaaMpmFyQ7G4xzVGPhWEf9spOZRWLaj+aA2qrYw5PKpfZAFqdvldnLt0OdoIsD/dbf8AFG9uuCE9+yg+GsAdba0/8Gw3cZZg6Vy87u/sj1meLlkpjQgPdDA95jl+/xAqACE2zA54nF6tUo9ksCpai9Fkxtg5keHL+Evf5Y2G1kAyZBQyVxvcb3iWUbEzIlmxR+Syu9JQPHvSQP88+8iMzGI8ID+xScMVwYVkUiyK7BGI/AE2bkC3qvV/cxB3UthL/07fiymunSzO2QNR2BjccX6R7MavZmyltIC/cp1iELC2TqL5vEBTOpK9VwoHKlrrYHovEJewu8dxHYpVgWXgZhROobAzDVkNXKKmmYWmZFsvrEedJJ37R0YBtAXFOp8b2sAY8v3Hb1uP8tQaGvbZAa1ap+/uewu4a0QnYes2/GaCxUS86pvWdNKUZH/5O/joCnnp9CBCtdvtVgD5vGA0RZZHUh6K3JgcGVzYQQeBmXcUfE0TKGPavAz/73XNfOQPHq4he6SJdGVXj4ijfMmfDza7LhNw3+XZN0pOz+FRAuS9dOEkLqsZKYo0387zPPShQXc0mSIAuovjqbjsP6A0VJ0DU+4tXGnXtzoP2anQtk7A0py7TYAv2wutuxBKi1U6OKIZmBH690JF4YaTAevFotyt4dGoqTX6u7Nwnb+By05fq0XdU6VmHd6OfZ6WgAx1A/TJyTp6tQ8Ae4KjL+fmuPxCuzH/u/XN/aCwsMUrLPOrsQcD25DQzMGA4RqU4amyFzJGUwPR/FAM3ZoW05LMYQuwUUFUTTpe3DfbalRUu04ncHYmsmi/rHvvIuZN3CRf+VmTMCgK7RfjCxEFufy6QM1TuM4ya2YhPfrzzrr3c5Ii2pf7Fjbydj93oQGedWt9JyxGEa2dqCnD4Ch37Sb95qsWOLDNDG5H+Vdoc6C8/9x1C0wgDHXHBSX2vVFeZi0nIHyP0SEUWESaV8JWZUJjXhoM8pK9c8cE3KJbrEEG9dStR/qiK0kjgE0pVU0/2lcEj9fFlVwseda45duVzmMcNBkRR9ne6e6eAwRuQmtBTig3sJeiRCAOjUn//ptanuI9PSHVc/EGsXI/SXQMqPRCl08bF5+tr+PgGxpCWBOtPHC+nh4NIYlT4aldOmd+a3KFI+2T3zBXAI8aFc++8TR5bADCuiR+9Af28LE1gBI5GwgTBVmiTsksQx/fT0wib0oR0CFux5eGiYu/1UvsWNaUxMqrsHL2YSiIeC+GwymLJcTjdGqJO/mxdPL97cx7WzT+RdHtj/AyDsnsTiaXyJXtpOS79XNjFJS7ULR9TSkHtLFpZvr0GmdWsDpi0eBy/Br2HoxlsRvEVY6zxKTVydjNlF4n6aFMgVjWoUfEpVY+2BpFnnlV75WJae/TFuJEMYn4BZ/f5T9dvaAGr35YzFC8abiR1qTQbasv/oQ2FKE/cs4c6o539wPvFp9pzzrEO6Eiaaf0P1M9cJTN8K/QLiSp5LgJFGCx/8OXaPZGXsz7rFW+94Sh3heoe0y1TE5/EuIOzoRrPblryBR2Rg1CFzlkYL4F/LbaJcRWt19vjeWV3ru3ruSHTFHuM7yGUGvqaHFkOsWqG7Z9vLs4IbM9MXWAUNEY3n3u2aE0p6p1nmjh5i8wI61t6nxvhCpWUwAA7QuXfiVaByq3LLuDjJDzBjsHRMP4ohb3Dy6lEvA/ovBXYGEapiqphZ/4J9Vo0NsZsvvdhwvvpVzM2sUo+MJv11BnGrHeHNboIF4oDgu7GVCjEL9r9v9j9+58rzZFpPbyS9ZQiMTflJQInPFUdijjtBHeiU9LH8mFVV+49RecGr7slsg6svuKyuKI5hrfLu5XqBkLQ4Fcwqw/p7EVmnI9NOwpZadU5RszlNJIFoNwhKlnt+2UQXs1Sk55roC9xs14HSdgUh1SpM+JMzydkILclhe2qpHm+OCHOm6nunU0UrCT4wlQK/xgPJagwYajj9ogT8e+TxahqjX5njiSOsOFodJADhOT+f7EcX/GdVzbmZpH6ptO1JxvPTb47TacVH5qqYLjDS6x2ZvaFCFY5Ff0vLTk46kSJqeor7Gj3vZCDTq4tT7MbK/YXhDcGwQzxbhyGiQnFKeOxRuxwt0WqwIGw2Dl8qaAMfwDuMvt/UijQa8YkkUGkV7NqD2XY5OrVpt50SBD3xq5gDzqu3We0a66HyvhQhOf8xnFjNS+/aHFXslB5nhitK7Czun6YhWHmoCuohY2pkioL+nbmhrCaPZmPaCoglWZJ9TYebQ0eKkS/JQfp5jdomkQIPZF4mjElDJ131Wd1kkQZExBVquD5tqsAIeXyeMI1jzGGgnr5WMAj22ijbtXHjq4QzglyHXoBbNfDVP6bFQw7cdN5p8JSXvk9Dy+n9SxsYZPT8urPjy2cggamIakty1ri07rVyG5f+2FqNmRCluCT1+itlDk2I3dxcCIXftvBKTAmQ2TPEPbEDWWR566F1Na7kBwq0pN/+x9ao+9/tTZRrken1hu9e1ZQN2+MmLFGB0MFF+fv1grN03brpA/hnHB53VXpuuHzlaNphbtHkRGJV1xhJD7gyQNq87n81LCuPV/yBGQjum/sjvtLf+tLTfSGHZl4jlQIwJZ/eaLYt430zpWwsVCRPe4wG01BVglx44NRmxSnHYBS+Ldcd5xRx5Cprt+COpSSCipjcTjTUi7n4GNPvnWETOG7fD3FVITOVvIFj3AS3hQu4jUnAJMrFsLmhwUsCTUpd8ni0i3T1acxIZy2TDBLxs69EYlvAomiY083uyv+q74lAYulwocwSp6kTH4nUAG+zriwpsmhLVBzYQN1gFL5oyVG3oHC1bgavfeCw9McmV89Ev0Udo6KA5uuMCg0zWqwN1M6ZNx/TxECxgjH3Um2GQhdGaoT9vfYz/YubGcw1X/3F/ERNUsdOgscETp4PY/uMiYdy7EXxanLNaJ+g9m0zvnn5BsOf0+OnckRPsmwq/qKu9CWmpgQ1nbFLsfTOk2Jebo7Y9Vpz/IrdopZ+gwAXutZmwjXKW7W0CAgJW7dd5U/4mDfMEbw0DDemqSBK/fCP20ouihDnbUX0os/XCDHQnLVJreeIUXM45fJSb+8A+riBVgvPphMCsetCMtYEzpk6P3E6g49su6PKzaW/3KeGc3ownzO1IGBxFZ4NVCM+1FCOYS65D9rppGbkKmu5d+GtV2RV4TLKpAZ2EJSJCx2MPRVDbsfeNliEsRUYNhtCJHvzBDhQPiWUpMgPikR2VGWtmDd0u3NDqiYeWdenSiJtiBoNT2KIGjXCPKvTP3n2I3DLATMmVqsC5szeIwZMRFHwoY+xr19y0C96yTD2uG35sL9xMB3/gOnNx9sUPJt9BXScDELAjySUQs6SJdEyeBnLKZPpsPDnRxWCLDAsauwnazrGfgJHVzodNEpT6GzuPojp20vl6OyW9PZ6fweTi/sYal86TmtovMR1uWaz1vgqXZzMKqPYKugWgpZGganY59+ZRiI+wKET40EVFetY3EwJtaIp2toBydfKCzzRhAYLSSawVTZ9so4/MVSYEqV2nXqYPzD3JjWVSCH3i9mGg9HkXdTFr/19GuJgtxIvT6Lt1AYDrKf9MuC2zgvKOGeXJt0/641jAXuI+nSepD8vRrd+RO1Uh+7YDhDkfn88ZoijgqHcK9/7gcUiRga4rJTEGphaXiZ7ZU0uOsO/LJM/Ncc+nj+DJK/qm1+O5eOARqXxc+sDnGWgnRNJzTUYUTfQ8vMmH9vNU6ZWeq6SKcTUf0brTanj6FII2CVnOubxeB8z0iO40YS6HMZ5ZD1t+sn+slh05L84PvWB++9lxMzUaBzx1s1sNREKKEgmnBzQgVBtZll7CtlGfa7ghExmZVNAadHikadApZXduKrS7eqnEL7kICFyjJsQe4yybfthHubnnoZUrRXZsY4R7fnuIti4aVJZuubcJE9r+7xxdMCbi5w80ucyrO24Zy0+JcNUpcoRCCJP0MdkKSM+X9sj/9I19exj/XBgsfimXPd9o9ZHRLrUiLTyS4+Ete2Vz9hoEKqYjyqcUqUEch2FYHgsGXc2yTvh3QClJ+C4iSmSJiaTWKPx1dr4h4NLjbIC9LILG5h7LQLjZMZCyboMHOOLR6eApP12/F/+9KKnwkWZZ5lWA5G3UtKwLCuRpmJcsm1f3Ht17ooVZ1BxB3yxwXZUxYl6tvJduOWf/UzOze63rYWZ2Xyein0E/m6KkkzyLDwWnJW5NopRRbGYTY2236kMhQQAdp3U4ijw1fklsRP+UOqPZbjVezOSoV5zUIQDbvNMPkhp503eALVVNaG21xSwKqSuqFshQPiaLOXCCYvt2NxeH5UWh8rY7gKMtMzk5g2jJDgUYYvSjs1FfTYGplFwxSKpr7/7zfKHCFRdJgKUxXTQtxSxygl+a6Vrrbn53397F36348kWfhaQfL+CGe9LZrX0yzRX2pv3VJd2VwOWYb4jT7jLX8VThM2R9Tz4O8O4tLLJZb8dMIu8bEAm8Di3AGAAso55LEt7acSzP6XGumdaVLxjpnapfDRSXuDcp4tkzW3uvzPD++akj2hXDwIaOK3rRqLcXmkXMZjvuKJewF8bJ4nHktcadHL1xHCi2w2LaU1o+lnv+wbpO4jW9+XRhMkYjsXxLrWi4dBdA72D2onrHrcF2bmynlEiMlVRV2+06+NQmFVvPvcQbosVzMym7+vI+b+bDu8mhKXfnTrLswk3gTsEHCIfZqsFI9bypMMADDuFXX8VE1nP3Ml6fpwkQxsghGlu5pVR2elkkzHBFgVSzp09JhHLr8Az5EIok39Ue3VOxgLviymYlvORVBLpembTBR38Yh+MTv5K5+hza1Z9jEQ9rygAqVdaMUe3MFXKHVW/0rOQL6214YkY7MTJ3xmhcas+zwPvFAE/97lfO88GkiYTM/PiUVLFwpv6bF+O7l7T2Z3uyUaKejjw+e1FSom65JgBsIiw7BbMJjmaTd46vg3Z9xudf4Yg15Xuek2EZUJNRpf59zGHg+GL2KVtQurzEQr2aDuprylzoKJn/ud8mBWf1w/253Rlrukn8LfWPklhiy0A6sDV5z9+aYKSDvjef7rzvObw2Qp+Ws59NEkJ9K64IZoPgADM98nb+GChZTFvfggEeQr2XkwewdF2gjdX1jUDiiXZ0jWfHg3Tjc7evA0gN05+aVygsnIDVxjV0KkIktb5svJYXHg3cpzYKuA2IV7jspNOeWhl1AurXEggfnaw59xxhjX4gG7Mb8qjil4HprTvJ6sorcBJg3rqL5vgWY8F2m79iDiwZoE98ayLrGBgfC46e//4BaIAKT7u10UdvodTzZQSsAr9//iDOx0+qXpRLo6xptbZxt1Ugm5QZtoI0S0jabKqnBH6ENZdUJ3adwvi56/cZ8AXc1EWgS2qQVrcsNriKJSWPicuGujfEGskiV9SfVSpb+PtfvOpL4IiDgQWVHrpXp7XZ8V6i8tHIahwUWM/iBb0dJRIxMx1u6buZp8NHYpa83IXDpsca2vG35sfBh2HVm36VrlXKewpWABvzyvpvbfTPI8XN16HNBM7V3kSQIbY0Zvqi/bM8YSQhljKAukX2+AhS9ZzzK4K2bsPRBS4KQxtTs/SRz84AHymYUGZg7KfRzYq+0pEuJs7ih39z2kSiGRjjPN+5GZ93RRPYscmfJKR5f9Bb29vc9099KLqWurk1OzR2UdNxvooGyly/Bg0H1mwjlwKPtINaoXTq+wXL94WU4VMgHl0srlVfuvuDKiBZlUrZIeSKGIlMUYLylgY/7htQtJVTSYU0MTg9qHPc6daxsiCGqxBD1EwY1L9deTvVF5egQdy+XjLDb65PGJ2jjujJS3II6p3pbJjZ2cmaT9u95Z4cNhdXsudt1oS9rEW/5UWbmomkCfU3O1H1UB9xjtXpjYa6lwPWvaI7iQ66R3hfGRGyDps1OsdK4ykJomMdGI5YzNWaxmMhxuu8qvhmegnL5qBfdjTzERNireZKgxcjpw8kSWbZCRp13sKE9aZ04V2eUm4AKadjdd9wAeqnJvucFL6mxn8jYUducsgPtAAmLybH0C8tpA2EUfjUmwbyMnef8aoPOhULtK0ykK12dGYl43LhYlYyMD4crdlfvAqi2s4rUTiWpSM4lvDBMnkQnsdAE3IqDtrETCN2Ak5bPYY8x+yjLKRj6BFVohC4BGM/xaHVLslB8/WGuBUDPI51SbdAdQ5dTWdm0HMqaK208okUdCFtd5YUoSJ2CIqFEW/Z9KfANxc6yuTYDKbtav0qF4zpMLMc1ZiegMhPsRuUj0B80bw+0oomEH58MpBKO2K7Th/fqXUK8ySxz9ps6rlXjrzDzsfIKGmD5CRFxSIRAfRy2RsAYtPqlvM8+b5ti0R+5lzTYyUJmszhjMQGb+47zKElv0KWNt/Tsud6IdgsQC2ncjpJErvIhK8OD3j0AXrYfbJ4/zad/U8UF6d+RAZk1w5hHX2D5004OsZKaiKjYAN2NUBIVO/ONagChTmfQzu4el8CXunyjh2HlR7jmZ+XdTm3G3XUNUFLa4t2gRvo3+OkV1e/m4rTRT0MyPf20xbmK9d3IMXe3gPnNNJm0yAAvWkzhjrmrxvZlPr2Yq0CYpiHMG24ONSOEFL5TDOQPtWfDBx1GLxK/JaTzl8hV7VeSWNU6K6S8q8fQkfgyxtrmLd1MAzWtoaBXxy3eTYS/rErK6KSbzliwVD9oZM4JNLUNgMfHficVdvcasEwYiztpfpmFleGWHRrA2UZ8fCuEp8t4caZy9GtVvxDrQb/+ZKihoyolOfnPKmyqS8Vdo4JVeq32zE2CUFBj0xqE6o1Yh9UXhjeRLzvY7MNrETPCnl0Fp8fYBDIr2JSje91VNSHQjkbhSQ82AA1swIYJFnhVhG3pAJecxe0qbT49hKaq1S/ScU4R+7/KQjW2It57pK2nif7o5N5UaE2dp6haT23r9SmnBqBG/RW0Ku392ntODhNmye7nd7OTCt52HF3+21QlSRsmdQvUbwYUzvFPK0w1mpCtFax5o3131o2ZnSQu4+ZqugfynV/en/IkhDTW4q/WR4xzCHuY+KEgVbX7+22Dn++wygxK3UQDYqJf1mKNZ+FlnPP+oCKSsXjv8HHomyxkSWQAHZGNMxFECONShuzYUQ4qNACv3YDOCCIMF0d2PanjIxC00tHbxgG1lBig5MiXDMlmoTKZ4dCaLBXJ52u/tfYCZCTpG8JrSD30aJeYzrf1XojvnT9MOGOU5+7B9KILQndQtuQRPI6BKyHBFTYuRSuyNIdKuC7tgyDrAf/iSuQVehvXGtAFSx0ql4rHyd5+Fz1YGeYmdc0Atw7RYH5Pr+3eM8l8L5pqOpj8VzpdfWM6C89WFqGpeH82ULGEE4O9CElHgwU3ZaJa+SqfkYQ9cl4k8ojOhBcy7q5vdUSCVWdtjuhbV8VCIG34xfJm8TyAfNMyhR/e6l/tjEycTSfQki33kCtVqZE6ivKVsaJyjVfa93zbc2j5ELcOsuRvIQFxySm04e+FH7cNJwarpaSMrzNi67FWlAksKJQmfuIcyIswNyoQ00CVa5ieUUfWds08K2KwkN08V3IiqcHxYaNyUUxlR9wcs6QLquLSyJWp0v7LLbptNgBnGknkNGiI5gEwuZyhM+ApLx7rTMUyDoJ/dFEaHd50nXODRvoweRlJTPp2nnxHgaWskk9BA06A6umfQ86muavzEQ2tJLE11phOOAkuy01cX3db4JIoXJskzvxEykPHbL5IGIZK9T40wYxd3t74JB2krsLzieDwigmH4Q4j4LeA44GZekcusEURlEmiXgzRsB39orJttKxDVlHSMV3TTmon4agYfFEbemP7/W79s0y/3maudWEWWw6vxPWFBylFtu1ey55kEnU0a+Qc1uInlsJrjvEOCxujLiDdLCI45NDgUZGMRD/9Sd6ZfF0XbhPCfr6t/iSq6/z4UTjjdfSpYYaMPHxmw4lQhxIZWvgrd2ppANMvt3kehFAGx2AcYCk0WB/UDESyfLUKIYXEmmjnQNqpAxe6QXO3utpUf3feI5TaiNvWIjJjlm4fozwMj4PKU6H1cEEvLJuaTRaIcPlSsF/t/e3bAM4MzXOZjwWy6jlHO0jQ3olcfC7g+/xFdPo5DdeqO0yYs+UPkqjDBaH4VvV6oSgzhrKCjYvdCJKJzT4gjNLYdKFZFVDdjHWOnbC/POiR1TfsjN8n+t+gCOKKnYY2nnnvhAS4by3mvZ+elrMbDomS5M3UErziB3hBhZI2QPhIGu4Oz1B97r38xDF0aACcZklDeG8zB2mRWlGMjJPXC/QeoMbFijauNypZm30iMvCbE26ZqpT5C7Nofb061/7PY6C5uwi9zmze6Gd8/slqjhCW0ztYQHuZFwcoDUmAuTNeO8N7Q7iDuuLJX4d7CfUk4lmxhKLY+Z7R4OIZ0LXxPSpiLHm/2mnZDuKMYcS5c9IgqG4aiuvEbC+cS5pwOSa/bnAZsHbeLVsDdfV6BfqfeLpJ3RbvS3UqcZ3YG81yBx9Ecm+VpupNFsAVKiWuJKHdpG3/2bleBofNOY6Z48+ySkaBPcHzENmfe8FLNPd0o1izDh6zu4JVUl8veffylIk5hAE+fGjUHgCpFXuzHbfQnfeVsadtK+1F/KoI46TFS4LwGFLNloFURtUr2uZHiwUU1LIni4tUMmejBEmpLWOsNA45Cm1CuMbMiAspAs4iX/4urSwjSrijMNowfd//ULimylcVz5TVihvt3VmDi6zyUEvx45882xaBD/JaEegaDC/Bt9/JpRWQWsexXLGH7BK2Z7FGnlIYU8gdyZ/oSq1CwDSc3Hh2YchDH8wL0r+zwfTz7vlGPMFj95iDnvvKhXrUVv1BpdmpqsAkCFr++b3W+4R5pmHM7JwNUsph5LiUx4YVOMuIn2+KTkDtGydsS336i8p2baUNT0PC8OxbN1K5FsccFOezfAz1Z0vVM9ZpcGzNM5gXVkqemF2fqUxNzjwfZubd2ipFgCXG6TKMGxeng9dFM4nQIZRzAWKtpKoAx6vQkbmLca88k06HDUZqvqIQ+em/b8COZ3iYtVEJxk7hYBvcsT0Nby6M4ynvGHyY9FBOH0Tvv2/Kc6E7gbjsfwtLWgeMkxx5IpabFy3DIkNiXrWOgwqDN5SWljgKknEU4n/IPE/MISt77dDvEK6Z2Oi/ry3p+f87drun/2kA7a9hiLJ4C9FntnfLZsJDMxJgvYFV7RzNYKThpFHQJUHLs+m7JeGEf3R+J9b69PyzgK4712MLNMSAagH5ZZOLmGcMmYr56N0YV5h5QYMF01lt6uPuLWRoL2hGaGg/rhpzocp6GCFCJt/tViqfIIuxPufRxAu7RG3/RMOtDNftNHYaKWpU58bAG+qNQUsk9SV1i2qXEgJV1gUAvOqFvzMAD0t8lAhWvlAer/Ytqqh6BM+NeG5hvPOZCnkY4pgOGDixhXQakNLdf1Gop7rTrwobcAbqKriPqybyqsm8Y1EMoNZ+3L1I228q7NtXvYf6qIkfbhOPOq7QmaChh651AnwCbmdeQ251eePh2BRbVHU73ryWFw7cxRje0pKS80JsRO/+Sq+yQ50r7k2LIWGyrTZboASXWHwp/UUPAg/XgFbqI3V34GTQp4vw7L/Ug2tgbcxmajRw3ZYerawzTF24HBxqo3LAsi2NUPl03Cnbw0D76sqZmh5itDkhIR3GqBHoePvoXFB8JM+LKFzlbihbTnmFMxttijzLp4zDW0e64nokW/OWcce+HB9X7OHTHNXs8KaLmOkkXkb0+Dldz2ITQYEtQt7ky4myAM9DZ25ojLvFJHipz1ZdnfODoIi99ZqlJgWuHo+UNuii/ILIHuLYnlk6nRj1HKS6WJPNfuNgct7/HEP1nfqymP+ol1pzE2h3Dhymyy9fRYmNzKGAOucTHiMcdmYr/13+AFEMqemUscGpWh7fjVpZ0szy3ssU/1M9AY3tfvhwCqQY/bhEzu0+yQeyiE+OEzdGNExKra3C4tesdBJjOk8VKw6jW+Xq1C7d0rYreMTewww/5WAzMXEBIeoZ6qQBYNGqTeJhcNi6kFkDxiWRM+VAaBKAX3MdtLNgwpF+/aUFhMgBwHBlfwX1SDtseN0EKGVUkWJbJYY9PVWSvBwSoAoBA57pRtcdkI1Zj9LcB8M3rk9dIkXrcHyi8ZuqWwXmkrlWHtvtvDAy60vbJ7Z2DcO0OHXxgF6cji2VpvPF6DALIB1Cyu4/hJeJzdK0DjFbZYtpbj31/0OolwFUHpa5+Igl+UOwmgadkVN+nRCAP8VVsRuu5TcRZYc0fy1JRWBlNMc8G0UB51c8O2RkFzekbvX4AMjgzHSmwux1jjRO9hoL0Vhxn5svsqvPw4Rbqo7XIWQL2dSLr93ayiR3kwLka8K1+YtN25CCMQ215d2ZzgG/FuocGyviOVzfZFkWfpjWSTxLLSmVHoYAZWsX42tn2AF84Sy45Iq5SXGI2epT+rfgrqPkY5Ca2FQv+7cqmjU2VJf0qpSNvZnNG2iJOwiqccVkT8sEaH1PMEdk0p028dB4YLZi50+1FV29V4rTH/iuXIr4zujUKKYx8zd7R5wRxtdXoZ5Qz2u7uetjwSsV6W89qog/3gjftY4oY4Rj2pcrFpwrY5AoPmkEaAN6PS6Ym12I7yY99YYEu1pN/JkPp0b7xGzMnetBiQPo1KLi167mNZ29JMW4Ffh8TxkvReKUXSkhtdpcQE9Ngld5VkVLtnPc7LGCjgWARFcRmgnwQgLunXwp+lCqBihmIMoOYcAUUB4zcfFeLvU12CZ/dliqoobC+96rEXlvLN03aNLIg1hchRbkEX769k4cQhqMtpZRvJDEV1KFFYxQRLuRPYNcDiKLIiMk3dGF+m0lSEqwY3zdgkYOauJwWvdM6oBcabwvXMA1M/lwE2eCYXR4t4+ea4TzkwEkrQxNmHymf7BhpYn5oNr7kW0mFAJbhDbJLnId+xbuAhWGzjGpFf+fpa3iJJbw0wz+xtpQsQc9vgWjmt2NktPrFowuBeiwKDJ2WD40RM0YaqrPIl7ETs/x4xBiPqFnjYX9Dci4fndHJqcBTzRMI+bkvSSl+y5jNy+uo5pLqSyL8exNRTKYPAo4MGMkGy/eXIO+96ci8bGRQHVyEuRSG5bzuFKmX6RadOQQqI/7+RuHuSalnk1gUP4rzE1ynSrZbT7VOhQK4ieDo0PmquVZK6w80cK1r7gmicmep2CDC+rZYOWk7OtgTeJocJZTjaVlzAJAY0/q3TP75LGX/A1imXKAsIOffDG5Rwmv67QJuqzGtF7+MU3N3bHBdd8lozxwsbDVLVQXTxJoQQbmXLzLdOYq1mvRly3Qy35XCjPWlq4yVl6ZPojfj7ML+lwWgLN0tb4Qr3faaUV+xZFqGLWTU6rQ7AYezIS0COifQWOB4h1RxpitEW9CXfJj/D7yHA8X/T4/oZdehl+chtrMOW/xFne0M3i6mZ/zQOkTA3JelPG20TMcXbAd37bED/ghD1WeiZpnukzEqGh84TG8iKe0zoD+Bna8auNw0SNv2aKHJpHhatEFvbMWeyWRYMEcUHKKMGTJ0ZY5PKAUTYGpwNlTRbKdwe8HKoLEEaiOFKiZw6zkYtv5llB92QTzVAYQl9LQeqxXHTkXFwPEg6tvM80tLUOKV/mb/zzew0URx9b2S1/vLnIGOOlalazuOc/NKNEkXHN7YhCppw9zB5Rh+jcU3u2CqE7wNfbeOjCwvDduyva4yeHYbrf5hZ8mnRGobH/fvexpordIvIFD39kcfA0whlnXY31VUBSdIX4XFrMqrvmFfx9OrHKvgv7KyOXaT6fEVlvI2+AuMYq6e8qeTonEgShbg4Jx5woSPMwcOQi01lbeFAbneH+sovn9+vTnuGxEjCk3G6b2t6opNXr2FkNdCDro0YiepkN8D5DdQ7pM2RxqtApyUMB/tcMxJ0ZOoS3tU+atUK52ROTBXBi99eOO+tGtUJ6FHlbQdUdeFUOekRsZqmbCrr55kCShHuj/tugKt6FZej9dHVDAtrRc7RcpPA/+sYdhMuAxHvHb4d9cx3UgiR+OQF1Z1LfaDS4naScNrxCyd9D/rnGRC/ce7FX5223w7ZQmIudGT+GX2JhaEeeQvQMBNs2EwzcDSJWfD9seH+e4jgrIfRu3lHpzPD8dHtzWU+eKW9qHsNA5A9mOFtweecU6OuBDCP6T7ik3gy10tAhzPd1Tgs3T0mRYD1+UiSAfpnzgA6xNZsvt7tuLM9LbLw/Kj27KTQz/+TIeDJQL55/jOUKwsG9znYOvf+b6vqxyk8tkMR2wU0mqZFNkYyzBTskBEJKQ08yhUrTXeB1f71IFpuycpGa7M11dBcnv54jMDlHGqnxrZJmFulgzEXbQDaCLjFYxrFxjqKe1Alz6TqFq1PFamBOTJzlhbgGYBwGotjoVL+4Tl3c7Gp0l+7dWTWXJsvAOor4nvnnIIm1clwLx5WJyLawZN1ep+02x0fnw/pqpbc0oSDMZ9AfZ8coDrmuMtfG3+neI1ZXgLvYw/FNxLRGvSkNQ0yqE1ZwCOjTwzTm0n+kJQl7wgPmYSbD17GRadRdCV+p0Mwnl/h8RUKhbInGn/XDEmhis9AMBaTr532n4NtpEfT5wSz/T9txQnH8M68IPplw5k+FeqxKySXOcOp5G/rxVuXUTqpqaYO5TNW9d9XGJEuYJ1Ic5x75c0s2TZ7AveipKyaZjMC6b7s4qlRNiOwnupejtxq1Me0j4mIrGSUBroCfeZkqWiOW7XRi9syNbA2oVbJmq1eThjW1kRIsQBjH0mymJ5fSWxrfU1Om7Z7GwCyIsTgYQn7PTjf9CAWFgdiImKWyXGLWjBUVzxc9gvDgOJrlp0RTvmmEM9Mu1tS67DREoDsKTn3b1H1Ud8VPvC8KqRbuvuhO556LvRFDx4DbQEpdaI0CFtenStslnjG/Z9b3PQAJkXAAabUVLXPovEF9Ee52KTwx9OBmUZpyYHH+bzc+85EDeUIj5XoXyMnTclGULKheYj3QsVawwowJc2L48ZgS1fXfbCu9gq8KoKRjV3k35vtqwbpcWMJ+EjVnnjRvwK/mxPxPos2cJQbnkRm87BhcNGqy4SL6Y+5J2s2Zdk5JdelFe9s49WgtvUD5MirR1iqfkCoSHYYOb6MdC0SliiXDutVcxnPMnhH2BunWRxToZOehPwspFQW6kS8BWyCBWrqP8aUDOum65MyYwS9CJt/Epa6YErz1Fi31uTiyipj55q5OCeBzFdWXI5+dI4+laGlCWawYnVgtZMmV32jmALAjfdQZggzV8p+ewOQhi56VRYaFU+BR71R6R1KXSkhGX11KbVjKdLH1RBwJlhWtQXVMud0/8++8waWeeZn/QKKu2Qurq2AxICKrYahhcsAy4HPVrcz3oW0DkJv31a9RjcL/dxdeg3D8i93oHuTv8/Vhh4dzTpVQxhKIHo4lGtN64tfcmlxsdfu3adOr+q0H2rXePDjGlmDgaEgog1j94IPHqcI78prYG+mRw591T/adA8tOBJ1OI2ygpiRCbQ3NErd/GRkoMq63LV3gnUo7rsi/GYgc4I9ukN1a3/Sn9XIotet/zM4Fw5fOFwKgSLPCSzLgYZUfKz4+1/0aExnQmzNPRXIwoCkFEJVLwabfDH37LN/h6I1anaam5WAlL87PZcoBbQnFt5jy9guFbWk8GG4ioqyYp/M1yk3nHSJKyDCIiRoN37UdYfei2APhpPwQ0Vov6OytVqwD8GySAyo/NSqLQPJ9eShABF6RVqWW1isCz5Hm5vNE9F3yYmnJsWEnW9N9/37oOt+AVU9OUdZofRr3s8daCCPKcSTWdrl2yygIFPn6zwMnjbCxxR07z3UCNEGCyZEtFtMO6ujyEkLtuSH705+2zCSrl8i+wXLRtsEi5EC2siOLCjR65aZ5X84cjKuSuDF6minUe5XqGMjsX3QKqZCI2rTTEI85F/YhBH5UISTHXTc6XuSpRCBcXn7LG5o+rQwCS1q/Jh1+2crDHNgPbPYf767CM1a2gz1QnV4mJe16P7knv4yfIxqWss1kzuUx3XnmiBjAoT6vZGcNuUTryxvZmqoS8ezJZxbjQqOa9j4IA2oZndHJGAEAOF7dIv9Wiou3KwnYkk2TQsciyV3lGmqFC+TorrmuimJ8Sufm8DG5eCnHtJNcguJ/QyZYAdzQYIs4Ecm2AvaOiCIiLKVFRcpIxPjeVKNTCWDB3hhogfzn7JwpwidPs/VLJwNFQgT2ClpH7mi1rYXotebMoN4fIew6KNNvMYmf04/Fkwb/+EDAzMGfTLCe5jL1T3Ih4ooYUZ0jJjSVmBBYmLYWHQerPK4DJARvCuRIJAYB/ZOUhqlsY5KscrdprNDnS4zU5mGUfQl7WaFWG9USdBivdkp1hAnm4A/ahNNOhVu3hYnR6wn/Ccr5YuHOAL9t6ZbgpkJxiJjiNtT3Add7kY9vpPEzvOKPCAaTlMqXXLgSa6PSKL+gIWjbJDgEz7rxJBGpb7bNqe/sq2h5nHEaAvrk/PwxYk7I16PzXmPnEG+74glfKV+/mzx3xRuz8RGi+RHAPrvXKc1q52CaHvdQ2X4528A/qaJilTvfgeGjiBVppujO4VFWjLb4RwWKMb6rPQR1Gum4TQmc5QdF+wQWUdi4ER3pxrtDooqfXXr85CVMxglVuI8E7DPHUpU1kWnZPW1nTliP9jlk5oDqlSH3bDu5/B41NrmfCtdYFu1Ofmhd1SX4YhDn3yI/t1Hc8SBUaKNGJrv2ic98DNCOJHoJkVRvA4iN1uNsv9/LY3TERM/rIkrI/tHEIq3swNtvVeX/Y+7ZPIxpRfbKfosmopWhfFJHNKcGaxpZzOFpf/u8be6iWIf0lPfWtNjEo0lUbkqnL98utXlU0+MhFQC1pGDwpMwmCf0buOXsAZrnW47s+xWRdZPKG62OrUAGk5ZZPp01ghXZfZqu1DSFQ7Lq0EBmigQ2F7DV5knQs6EF9aZTA4VHlz/IVK2wC9XiZBgd8C3fGplTmqsszfc4BWRqZgdCi+cvi/FDsfIZ0+NAJ5fwx7PYlzg7BJvFc3tq0XVTZtu9crRE0Qaby++uyYC35PzYE7jPv5ZvG2OUAboegiB3IS6njRm3LToC4u/4zznj1he1PEMYZTZJB9JEKHbbGqnnoQcat/dG9XmLsOi8jTMICBTPjJAB3YOsozI/WYT6UffpWA3SYQNZ0JJe1iJMgv/oA6YRfhIxBQAZLE7d8ppIknfYbfpJNlkJMB971+DfTbdDBO7XB1X2UGvD6u3+ctalF8cTZ66x9WBh96Yyexc+x06gSOUaKF3lkiRcLxiT8erC2XltJ/rP19aNGrciX45h2UkRgiiVgbW8yrEaN8Mz5yaM921EqrOisq1z5AfnVW8Rw4ewUPoC/9ygKFj1z53R3U8yYRGW79KOPA9oYwvmdkl4dXsmDDnjBC3hU1F3RGWqJau4kdpTYnpXiJ2YynD8FLZfbQAewNHuh2GK3qinVFtkiHE9w3AzAah3jXJQaxtGAz08ndXTUmnuHFvsor5+CDVB+0mhk27AresyAtE41IgqK5pUkMq4XXNvBrpy2ddS+eiiQcxuBe0wTRM1XpAhutT52Ar4tOyoluaTYQrl/ukYLg1NSv9/iW2mye5SYKA/zuVayqveOgIgzBP60NZe8VpSFABJ0olU86q+kRKsjQEp5ljFw9wIECAwkIRZt/M4jHCh1Hga6PHOD/GfkPobS2B/TzIV3qaB6K+UMSDTYPxLFAqpqQbuq3o+bYsiSxR5M/t0CY9oHHaw9XaE4VVH7tSEgn54kPLolVEIDlxRelvwKGW0S2g2lu3sYrsJNzxcVfzFNslKi9F8nUBzd6+BSQOl/RM9lKGbdvNkqyRC0sJMQFp83c9YMkPNQmUGjQPsj5KPK92tKhxCLEP9px4tyCo382gpxyjvo/4H/0GC4vjL5VTtv7Lxzn+9suV2/ni6xrfWdJnKF3y42muEdlVooLknhhOCelZ0mSq9ZmYgMTByQswxHtQmjFbAzASZkWM++af4X9wWk8yW3u9cDnM99rHOP8K1pxTReKIq9kcQI3VOVu2Ph//xXo+QMOkFcKMnJKXXzAjeQXXR+V39cYl5FSM0KEOfLj2mmlRxDmYEGU8avtdVxQk3ihLuNUhB39EArnEKxe+7/vhmgo7RxlYDG/sb1qu0oJjC/BgjyUG30LMNNVGT5t/tNStHaF3WfPD9YMS5C/zwYb56PeWgW9GKc7VUN45/43FG20fFAxDuN4XHux9Gw6M9K1HJoHd5TPtCy5q04c+oqO3P82SKtP6dpNtGPD93dT8XDWF2VRJQ+j2nO8UnuW4glwHcnLWG5HzIzghCY2QQWuHSTSXBKuO5AJvL8UCn+5cm1r6v7r8PQDhxtHJQwZHmJyK7QntnKqFvRzRKF4gtk6WHxFMQ+SLLt8IjtZq9Ms51z+WmQNVoVFqX75nyOgiy2vvrQgiXYlzoYqyjzVx+8CdXGD8aqPPxY+6KHcv6JzSb6qJeF77uZGOuRZXbPaxi+RNnSW/RtAFKUXQtHmnUFjuw2cBjrJ4W7FIvMLlMTDG1jQa/vUve7+v+vhLXxUa6pBNLodVFwucsM51x5Hrpn34iSEzRQ3/i4iGkmVIoCuRtlLb3dyoqLXnhPg9PSFPJkkjwHqEbYudqnFJk2YkFq+kc3pjW1gpXjeZdnqDrlrFNPmtzd6Kejx1F2F+3qdMWa+p7IRJUhdQmT0esyxo6+E89XO6giu3Tw0L1rtttpwyhuOQvpbSgmqV0l+kMIc29jyLI+2CWLYKtCqbUpYcZUsrz3pucNQOCn0qHu7JTqKVtGSuTCyYXyYX3IJ2IPmUe/7BX8bhHM3DLaxNAnSdM6gcUEmGl+JpvgVS9RJVhli5gRfPLUKISl5kwy+vPYjY2h+nYgk7LRWUqRP/TEI7/C3WN0+6ifc71Imxtbt7dWRld2px1Ola9tI4MQxnwUKl7XQnb7mIrTjCxC1ztl1+k+SCdEraWgyVKsWOpcAPowOGN/hgmgW1NdqE2DhhbDFPqiCPWAFdzMxJy0g6YWSAqJMXxTCXLlOyDRpijSBM8m1vh1eLaJRNXClTEiHjGuNLj5i/9OZ9XwvzRe02VjWDBVXrXNIL7T2Y9+64mclajNYszCvLmyGqprAOVhfx/kaPG1qypdD7RVxuzn9d/jj9poUN0JCvsGQ546NUnSZnfxEJ3eSvQgmR90pv4TD3atxgU7E8iDMuSH947uKPVqQvfB66iZUJ53OOCijWM1SMMrqWSrKtv6M7yMxDRP3pUjOMt78o0Q68LYMz1/buiHsdyh433xJYznbmmQjYfGJLAjolcbab7V45qBgOPW6igrgthaAFoTfsM22zpIFwiNM7mRxU8KnitP8uUzBFLUZYirWlw3r67BqlQmCw1kjRDToZHsapsh4wqzAb4rz/ErSl7jZ1ZdVegoEkKuNCtxQrVZASYZ7rJLFqHPabplKOGuAy6DbAaww8S4eAARb3FQRCw+iE/qqf0PojKfpf+iCSDfyGWhpDVYKDdczj4amXItVXpyTwtGZsqiRue/BfmSFRoZ1nnQRQfJEsX8jzKeRK5cHn6GcV6kPzIYJe1envUohnDzrmhpWneIBfIpdQMH8wOJkO7JtecqFWL9sFdheSB9/IUeuObvNFc1luHQRpHwBg+8PgzSE+AhcxGodLMsq8lPmxGQTIy3+ulVKAzM4F1437dRRgzz6l5mCnq99d+ALCcvNN8V9t9n0HYk05zcXq+H921nGoYBMNACbPT4JgMccjDN3wDkCizbEzUyZPOLIfUWM9cm/yo7LWr+DYfyFjYFT2jYjSK8hZkWWQ5E3+f7GxRP/HohfZMidZLBcCxCHnc3ZYdz1/+aRN1z+eMUMjRhdIw/vKcj8YJWBnv+VHISpA4GkGeK1bz5GXdrodX6Og74IRJL+ZA62HluKXz+BILN2blsBiXPUtOTJHkzrCrcrOcS19iYw7KivHBImkBJsNlCwE3TqccW/rt0rMDd5dJfTM2PBy4QugAZtdxSMLo9+MfzdujyGy4N0oX3lmCZCX0spS1NRDlbwTcPBhyF/6+xagr26RC2AMAWc7khXUkgIcm7BBuSQYyc7xTJOXiXXgr5nirQmoKkNXqSctheC9ZYsAx4BL6umNizf2lUA6JKRqRbFvSNkk3vaN+Q/fD8pOoo3jrn5yAABvWaIEnTPkMmJeC8sn2urEJTigFOJCW28A5UnEcTphMo6E3hzf2SxStk869LiLJ13dK+rkWqr7lORcwEzZ6bgRn0vSOyTA4qyNly6GHm+F04OJTJyn4XAx8ADHsPQgc/MW2otq9tfyu/o+3HXLrhhMqn8Jwnfn0QnyAmrPW+OQY430Kr8fzwfRps+1qdSvnuEsPxTkvvy0Ql5PFwQmnAaJ6MNkpTq0awxv8VVOEiKFlBLvijnauzEDZ+mvzNgNEWCFHf+8BFDF7MM/s4lAqg9zCeXc9TD4WC+gOsGz4kzcTkkt5z0KeqagrPa7amIxmiJIZ1SQ4j7+iI87Yxz/TzK+RrC7oRGUusWEbd1GekO35eRFCvtPl1qZqAEOth0APcobjCTCemwtNNy2DaQA7yl48YFYAe1ZzWJME0yBJy6r1KKOyS0u/wvoa79EJUgfjqkgApbn6ZFb1iflIIXpqd1hXPeudEd1pMztBgZy0zHZMIO4qjKdfcMtzPPJwXbqE7kcPYKaMf8/jQKeF7+UUSDNs8795Y4I/XowonIPOsyxSRRhzdP3CMifX6OvZQ2XQU2gxUdhrCaUBCRrUfN0Ou1LcnN2PcziDNCV0c+bCHPKFChvXb/NcoztPIzldEHpi3wivWIKDxR0Aeo2sZXhO1Hh5hqiUtJ7b7DOoI2c88UC0v8UipA9rn94paQGTikkLOMFMXJxSuWSqoU/FIKOlRBEKVu9+C4c9AaPkRfXGK2wltCY1oOtSd5pJObM2DgAiD1BsR1BX7yCuc+F/dhdlKjgYzwx+/gkCh9gvUmqTcdV5FguFP66pnPnhNpHhhFtmrhnMwJzIfRQbvTjpaT30LiWADFpbfkIHK2L3iNZmf6E8EhUQkpNDMnhTiKuWcrs+pgipOCypXEyvQTmULgu6hzRE/nNPPdrjTB7FEq+GE9oSJo7dE/7M74WjG7FGdWPSwEtV7x0aaKYmZH6+YEPNOro5PKDZmeUP0sSF08IuVRDH/joFlq3bf+GQ4gzeMNMNaeNpLuOQOC0bxqTZGQYrh9opT0WAnIoVZZXFfRr2+vlwZ4L1coEq0+IQYWVB4Xu2AH3iBm0aLiOTTaNNRp7HGXCLpy8rYxUaMnVadI+hiTkRv9sU0X/xzugqDYLAtDLgn+e91Xv6Z1AtrlpF0hBLlmWHvrC7pVLupcQ6ReBE5bejZwZattSqbJByR0+7mNzCFclISS9Q1Ow+PGMCQCs0FG6HW28RF4wQVF5q2x6BBN7+9xmXgBEHtP2d8rybF+/o0LIzIOIgWvmwJMan/dATzLiCDw+YFKoP3lpv4evfqNoYEzdb7UKjN/z2r5dIOXWhTVvqfwisgwnH/xsr3rnenbXnrZd9epIzJd/d94rgR5cGfulYfd7Y+cKulStLCi6BDHMN7a5XREYahTGt+96WtcQJgObqvTFj/vG+rVgxpw5MRYm0GffwoAnAYSqRp8Sdzw3//P5BI/e+3NaMOCsdNUcH+yX2ECIzF3x6QFpl6QBOAn3B6AR95KoPEm/paD4Q3uG/TxmfHJ7UAv/v9VjlHnpT9Sc0Zd64OgI24SaoRPhweVp6/bMP3tetc7SSCmOsdJzBiZpXls9e87tZO1Isbvko4oEmiSxmJsBG8IcmBwPkwvVvTmNSHZQ7q5UsaT1zlbLrkSTXgLiqvm2YPH2iO4WKzGC4PZHnE91Vg7Rv0cIfRi5urLp2BWDjXOZZNpZD0feNundJJt6zgN2KBVqSsEnqNCKkEwnj9gwt1V2nezv3b6tqg+pZU/BiGLdlmDjdGUkBw55IB9AEI8rdocifmPczhEJ8ccXSmUBeZs/BjyZFD3VJgY/KFPiKJnNXqie/bLyQTf6eDCbDLe0dg8I5nRbBckEFvIbow09CCXeY6PeO5zLi47+Gp+D0N4rodp2a1mDN2SO0kmvGtWzo4eUMeIdZns0dt7fjWOV5BHp2IVhz1pcOocLBjfcGeiB/nF8aIRmFnTpR7OB7wbqZAyAvjC6whSpSlBsOe2MT9L23UohhWUWlu31UOyoYERJhvNpw31fBIFPIs+1p2IUvtAYgrDkr1O6FBjfhO9YYvoPXbdTpUXvmOJyMi8dkhh6/ipp3RovS0jq/1wfEw2qdu/oUUoCdMYmklakFpNR9+9YYpwgNb8MyvLf20l/Pjx5y545QJ8Z4mWBYzxNxHCd0ziLV+6fbUzEVlCpY4jAbSYm3lFvELuaT7b9qoHPQwpxPSMwShrJQ4L5vkQoe1e+ytJOeRSlZwYhHHoyVQ6XXx+zkDXju4T3OeD9FL7s06LRZwi176o09lAg0D5k3SN+XeLCZozp3MZ7BV07RIojhLPHo2CGtnebWOoIDxGE2ud/phVrAQBm+w5qm77MIm/4E2nZGwDnoBCQwYS2A1mPC0RPdroPYKt8kxQTnJXKHA8IhSScelRTEiIDHHH8UU/bndvYOCjxphaGYesc0xHBSGcMVWutHUfvmYSHYHha4JH4szS2u/odVudd1Bbal6l8nyVXc+biPz56HtyJA6Di+FOasWgIuS4ZChreoKV1ruF9qmbv+kK574pD+YdbZiY58xppIg8jmQV7hXtH32LS9ggWx4ftIOkwaloaMukKqTfWfBUhm8rPh8y2f8cZcUYD+IKP+TnnVg6fd2aeu3sHvyu1lfejDxXy08mQLXxk7cShvAOMmiQIv0EMFD2BJkRpkcQT5xeVr8lJwWEaKAykuJ+awow8NCDRm1qVWQVdOgj5tcs647up2MLDqSNhd+OK9NLQ+RuAoTOCf87DyoClP4F9PKwz51k1jAPbvKxPdf9Y8MJGLpSN/5K7IP9c4Cn8gpURuWz0vEe8hu9mhtUhDMVbVx0NmnOx2hK5OUchDCUrKsRZOXYMT2xZyDl7NgEQyvu+6AUuo7ifn8qlw/aAvihq0yDVz8IQl8x0tsIZN0PgUM9JjjnauNg1H2bFBG1rBNVtt8vhoDh6GDwUHQbXx4rUyTs7vUcXW3PuaCTJZNk5aIiXOxNTklCueT9ye1JcxHPrRv+3yTYQNKDaL8VmN1yiy5Jccj2MzfpP9Mf96Wq+YpV2OKpNGrYE6VgO2hmlC2kKQQasQV9KX7pYWTp2QirI4kbcrHju7Qpyzdwe15tb92zRcbTZqgstFYWGuEaLlrg7i7xIAAafpBXctH/rXIt32whjwSvEYN0U7ex2+AnXD/YtDF4THrrhvv0W7lFIPzJBMwa5hoKzxYpWsL6QrOTTtCenKn4370Sp1afFGQKaciPh3rLY92RryKeoVia4kPdoaO5u1IOqpaKAknQ9ZmR37J6eiZgPZGoBDtls9hDpychlMukrEYDoenxg1Qjt1vZF84vMOt9KsIAFm6+8LWzslqy6TNa1/BrdwlW4dVEsSMCORAHwV/Hi8y0n0sZNvYjwP+/NZembrxOGVR4wnK+tajjy7h9rxSwklZ3hIT7OmGHYFuuTzoBx1tRlMVZbXWJVFAKwwlgje8YqliY17TcRtpjEmozFbFJPPnTQR/nK9lZy9mozYwuV+2yj+NQBggdnn9wJ1C/kvSmrTbeqGS9yv78igy2mQ9Z6LB7d5TuVX8FJqRH6vh4hoylnW4+fsYSodHlfwgQMdTBr7nQ1FK2fBQgwYdnw7kD5ByGy+0u5vZZiktKc1icjfMkSDI2+UghFWIlj2cfMb0uRZD60dXput5XelbvbMgkD9tALjCLIiT346XkBr1+x9Eeix957rqGud31i6i1+EQLLlrHIsIlePxEAjaW6woRzV/iA+aUgbloRFJL+bghTg3xrdR0njGIKhblSB4+CMH1ufePk9YHyRU6b2AtmkI69FM4U6vku+Iqc0xWoWfBeAvJBdH9M5M7dTfpnh+2G3wiKag/5QczfBk2GWF89qnWyvcR2ZI4cqMGvra20+7v8INdSOJ08PVQ9yGobx2wjFpmFdutC7unCEi6uLDBTy4QsJJOUyVyLcLpBCLfFlk2od08r1meDc9HnKdyIfAv+5zlDXZIlDaSl8Vt5fazZtt4QHcF3VrbCCKwCLiiA2VPxCXOa5AODLQM7mBpicNOTElF9V+7lxoXvoBJqetee5/YAZlYv/C/BgzVdsnsot3I0Lq2XMQIzttpzphZkvEJz9bwo0Dxk4+02F7NkuI+JFnvwFGClWPg3mH//uEHYfyzcK19bWV5aMooGtHIJkLnQUThF9XvAM1+npEzwkAAh0m8RzKMeCgdDjdNsOy/PIBsRKMAiF682T/GiWPCeT55Map9Eph6LY8yCedmnxupJ0PUJkTD6TfvO6fOdfGI/zNBlPVo2rRP2bLislGC0VxGe7N/flixMfN0AOOJrzI0N35YzxjCXlvPduZJ1uUehlC0WRw1vJhf8Bc9p+up7tC6RJAfEd7d83VSFBtjwBtUArYS+vrc/0/LqAUCbaHRRIN6O+zUwMt7P5JR69uMGQSdXJx6Swl78rHTu0eaUwP4EcUjzzoFSEL4+HqK/1aZl06BpKyESAM1SaBiHXe88IJS1X2oXvfzfEh+qzLLo2WJE5RssxkIyQT7YE4xWxBeWolwWdtbuDzvOWAmJ/y2BjTjfP5CbRpCeGD/KGgOor9Ktl905+2w/MnLdBBUzlYMATQSVdg+LX3Nfj48unnafd/Qsnv1AHl3CAQ9RfCmcYgyca7G2+ZrRn7u5GK9BcsESwqQG7RK3gsIk6rybmb0lyYq+PsrNCctqIngb3JZwYz68fgE7jx5CPjPCi3+6z3Qq/sES6TpgLY5fQ7FXHbouHDvxJJ8e8Vx7Mfxa1Tz0uETparYCCTSPhcnR0HH8yAyhB8vTIbfau/X4/X/OIENiut+bWAOltZHpzpypxMo8JqHeDvJxZRXh2gNFD1sUVjJVpz6deIzpmq+h6qnQt/7RBcdXsydUKruZFoxpR9ry5SvoZiE0RqJ/yg0AknvUPUkeVmwB1+UIaM83SvbfkRZpeQpFK4ZXJWpjLBhMY2iO90bdEJ1XzoKVTXlMrHOB0hp8uVLTbgmiStCqEa7QeroPE59NG9+q63JPYRIgcpYbO4uuJSsXFSjS5gdJ94j1ZQNcC3uJiCZ9Oztm7Cy0Y3EJVp9UO0B5zdvC3MNy9B0EmfZ8MyWdTPRsQXkIclCoJa9uccKxU/czQ/8ReYVJAUJ15IklGDxSoq46OBrKM9zri8GqkzfhEgaJklzaLCY0GuY3w8QEZfKCvVOSBPCJPPbIGiWHQGSCeQj1giS2ZqjaEnbbQLhn/PFYBP4dBAluAw19+DszP9mALoaetEWGugsS5/DNh7kA9w1aXTsYaVnK4jbE9eUkpYhuAqnxZjdsVpoCXm92w8rx4qGXw+t7UQwt4yL27hwX230wqASswWMDApso1z91YKY4I/D9sYx3z/e8xygnnlfjqVFhe2AtNmfwIu5jWtL0RmUrNDy/iS+n0npndBQDGVxdD2ne8gF/iS78dcyYWU+FVQe4VEYxiihwocvsLB9ehOrpHa+gKrJShLPA2c1LJsOO/1z3Jon+ugCM0qiyk15ygsPmsaTkiZ7fxnQlJWPqycWjPL7k60puA+h7yDtuIaF+dBQWrbq1Ral9WzrVKCgZHZNXgH0i6IDs9gkDuj9JA2AdYDNsNpxZe63/ftMiBwhlYcJI6c/h3f38d9oeviwE3c1NtKk9BRjpgLO8AQuj6bf8dRPiQi6Tpqtp2Ihpsb6TepY7upqpFU71uc4cB0pgYtMRBJlJQ83YochISwo8sqIBrDVv4eRhrbbx1OT4EflgmHIAZ4/Yab45s34hL3PkwR+i4VknYYlpGHbp94Hwo7R0h7l0VxRbSNp+MgqJbfL9hLlC34QdM1aestnRnOlqD/kmB/YQxzqsRdNJ9Ctl+t/fmVhFD34RXe6p1pRj+i2aSJYG0c0/R54pDsBzIpboditSkWODK7ZuYmkp2ciSyJE2ZGE41XTl9oksNuhuG09VtVMuwSexRJ1kcq4dlttkZRo5cg+prOVOj3Md2NMkWN8TAIU4mCgv6D3ApSsnb+5stGk7D5j+FbX7uKOC3SMBgOKXVmklYPFySsz3vCjBq50DQhSNjGHk8qd2Kpt02OJ0jBxyj9RKWURV4MjuHP95nJbvJxx2WFGNUu4lWIkpIinCpeTnWxxmoh3W+Nto4tVCCqQhPY6b0BlF9yWt6jowa+cH2niQUV1ovVp9oZ51nH3EuVwpmHhO7Q9lmPFEokLoBStimComf2yiFLbNNdwGVuDZ3BccV9twOxUdvwlsTxWddboPyVS034H2jtrOv09JISjqmoWwl+FfR5TPlBCNrEBnj7qTQXCfHNisrfMXZ7glIGO7TygRu76rHArgNbdd1TB527Wu6+GR5eapO+4u9q8h8kKf6AaCMUgH8w5XzJR8u2J+N0Kl3j+EpZJLLForb0Fuw0RhcGiaUYp02oLGlJAAbh5kvjw6nW03AbPeVjKzQE0l4pLHS9u0VkaZxfuo0xZpLC2oPWh9UWqvkwjypkFdYMwEbBbSF2sGMPrTu6CapFbchFa6N+gH94xShMrIeNpbrGNBguqvOcvpO7Wj6gZAReDRF1rFRfEtLOm5rJq9dSXt1+bMPzPl7PkCk2AWdzU12XLTYJ+2T8furCOUiSQXXPxtF5s05f6xAxnme5Gbhg8wW/u2iheBvGVeNAo/Gdd/kbpIPWQ+EHC8HvvAgcBmBt/9oeOrZaBorEtAVDQ6pD9rCLz/C6wb5HvneZ1sDgAU73wA1riHKAaXEyAgfOS0CUCPDzkkQBdUP/rh6fN32uAeORU1J7jimHfM/3Xy11oLvWGexT4RKgbg2t4CxJMc6L2hPe1idCPHQWpRy7jt7BhdqvxHATDIR7eH6cz1+HI8+c710uMKhxj/x7/BwqOucnn2AWbYiUxYa+uJSwZbbyJoRwJK+OWw3qh02JDtWer1EdXDNOnE0d+2ULkXdYHITJv8dWHl6N/gfejzOAh9B52Yhcx6tfGqsp+8NaecPIWPKGnwFyd0lMV+yaIxl+QdJ4QjehGOIiOUmTnR8891VQbkIASB6sj2RCswOHBvcJK1n3uTVTMp2oEOUozOVpRN3gA31NBZhqvEspuvP0lC5kkKpLKM1NIYmmMxvwqntPodczFSaDrEPld2Jb1c4mc2wBOthx0UTsTA24s73rCH/JpqPglkIKinPz27ZTco50XiIdbOxGNG3yuEGTjcuYGwmwTvGJg4jOgOILO5SZIkgmALVwDVgpNCEdb9h0LFmKy/XqbwVcp+PU6DZrrDYcmw8Ltnvy2U9XnTvP2loDqQaxUAPI4AumWFn7EGjbn6rOycxgRZgKc4BlpxkOQyjoKAxPLlsASYBfqQmst25quJr8kK5M+vZtwmoQpsSjG186XQey6wNI9z8aq3RztemdoLvkUjnBLypj1l7R282Xy+Xagf6CI1C+sBI6l9odd8CyQCnhDfOGmtzVKFxWBZz1lstR/r45Nx+RcrOgJlV8ND7QcxIQeE2nTjAnZ34aY8DTp6nTb/RrD0X0f+Zm5BucMcEVNZYXl+5BJluA68GA+/vSyLEe1aQ46FKcGGf+EZ+a9nrNh+GXO+BRbGe2ul8rCTV94HklS6sCxqPIXy4x0E2KbapwPQN9p2jQdZyEHJD/hSttVWSHzoBntu42ymsuJPukgLBDZKq4G5fjKxN/yXTtZgvOjBo7PSMH88Yz9iWlCdsxp2WOIiyvldQ7eUMggx0yksqpy3qgiDy9+gwKo5jWSJfnacsWQK9bLvKF+jvP5QIGPTBCaOBnrto3BNnxSezpdSSBeDDh++KbSzvDTtvrJ8Q+F93E6/OSX3n5F2pVmubBHSWaKOw1nNww4pZhtSgkoU/rBxjRyP/NsIAbGSlyrSpacDeTw6IK7LJGu6hfqDmjAEX1yMM2Pt4yXevjvdJ4hN3c+xJGKCvjUKWMfRk+pHWUbWReWfNLgFvgehkC8xpQa1GOrwCXD42bunsgx1X0AX6vlY7JTQKrIvWVbA4i0q9L9WzIKY/dVNEaZ0uxANFzKhq6OqedKe3vXsRTBr/IGDygjt18erobmeOJyiYgNX5M2TA7gGgkZx4WspG4lgZSlgcoMDjybW+jdoRh1QygABFNoOzDaAqqmtaUpmWlE5pHpfZVj0UhfMmUgmFiWGvCJWRYNl74KLNsJR0Acl17GiKAhpvTkgnR8vUWCwXf5EzodY3ExDnDdYFjgem8kgO/c09quVaRZT3eroDSRwDLn0SLcmSCFn+4hbHMG13w6tio3My/22Nku6cbUrBKyV2OaKEv/YasxZLe3BQCpd/BXwbefEuWTIElcZh/DrR60odDq0bSqtQq3nor/synWWzhNcxflFfFJnIl8rLqaH+oa1JUC5wsgdm9ncizMpJo3GO7tk6D7CH6GmxQbX/RqEDdwpNdZwKiOOHM5oH9nFUoGCBg3hJVLgYIYE17eoIga8Amh5x1woO5ahXr6Njw1PAPaiJTinBzTSu1G6P/zJrxaWVPAWq8UVG0np+9m/TwE23xzr3nYPwU0A7NV4DiflHpEutdC2MxenF9plCi2GdSdkLjDz/YYwC8UuCnXdr3HszXgcGtDCavwmOsxwQvT2gxCoFQsdZ0ikmo0yDsoUEv42nU2r7uaGLmoukY3BeCIqiugzK+B1fconq0piyBW8PNvYu0jTrZJt8BiFznXmWTDDPwQaI6h4gUfoC7j+gfd1jIYMiTibA0m5ZXqEiaXw3CCpctpJmiGGcouTCpmyk7HQk3qM2XFD4JADy+fIr2YdX6tNyf7z9fsRFCplHh++TfMPyXrhBxbGy32+5nuFqBihdvp1BVH0AoxOY09p2AMgiaO9DqRXdtph0VYz027zYC7wK2yHZc2I1njgTR4TBXGf1n4we1nwTEfrIf/lxFCbpDGPMbEoPHRD2/NXg79XqH8RhYTEGaGNpUDOgvrZsdq4c6F3pCNyEsXiJtkoeT7wCgcHpLJk1nONTQ7edVNLkwwtaBwSxSk1oSjL1TM9KD9aUOBsAWZR0WWS9IfzdNsfbBmlUbrexrPo7NAosOT9u8IAQQHh6tiG1jzO87Tdv3Xg5cp5/iCjpvAUH5yd4QnCOnk7vd67rWhXOd61mVJ/hUjVqq9yWEH0Tf7sdpExcCKpJAzINpDmKbYDqGv+asjtG6VfEt/Byh/L5OcYIP1yklCINDRsVdoUniRQ3d8B/6QME2gUKiq5xPt+ANC/AgnKnv9F2kMEWO+0w8WrgBO5r8HudYHynPg+jBxsubZ5UuMctXxT41JfGMYevaU0vZ8fg+hA0BKYrVkjBgSBIHsybYqmMQdhOFdpukmQZFPIWADH+J5G/Io7EJYwmGPCgzoJohs6ken9oysvgcqkbCW6nseMYkVQr/h60ScHa3y+UZsfwyGQhG/uZzNRRNvDbCQqi33oXcOHu9HasLcdmhlxRCgSDnnTg/FZ4/bTmWu/iS4ErC/4ataVdT+vp51ujYXRFztJoUMtlwEGAih4GKwDNNdP3Z+MR9Jodxw/2ikeWr6nSXE18nI9Y+4kvtGLX3HbBAYVRNHVLlyxqN6HOKUW981CclaAie/2FrekDLBQsbAire3k6G8893vIUfmznHA9/87Ve7RHwUsrBXFVibad/m4dWFwGPgEb27KCCbyEEDHbhNyx8urT/V7KLwOR3teXO3RUIJYKnZOfKvgKPgkTpEnnyQqUWDx+5frx1TIJrP7w6cDrU+yWXXOUm9XNVlsesio78L5+sULaVKyr8B1Q7NNMvBzFxziQ4KoMwtQyOXKhh8O3HMnnKXWqHwP+E+a6zawskSM5w88i5v2c/DDaMalPGFfyhzom1L0U71/bkDu86JHRHIffK+lpe0zarhNPPrE0Kgnzvt3z1VtrFLaEcND0Tk25t7E6B7GgZDXYLwwqF5iagDjNUNVXf1dsfocwaf/AtKSH01OCM1Mz6Vip0Bq9pdw15zov7BQ2SN1S5YtGOr1/ph1zsPB7Zp8xcHOS/JJhIDL/Zm7n4VYzAVCOpoy1AySnAx/qeOIaNFfe9CLYi1N4xCHWRUrXD8KAOOIpdt14FGiU+0uk3pt8YsncV2InwnC1nKcE//xkHyK/sYFb5LC9dCU7dPthOXcaWsoL0gI2NPQoCou1nMptmOg5LxTYpz3pJrzqyEBZCOwylC8w5f1PZt+e7WM4IR2hov8FauofX/jPzSWgkv4yXshpZaszU7hrkEyboTVJf6httZePbyeOOvwc9wlTQcb4+B6tsxVrbrDfvZo/RArwNwNq7/SaNfRNTxUR6KXC8VAH846c4jaBczAYFy2qHY3NSbm83N2IMsnccFKy4eYgk7yZ4qhfBRXLVXY1EoI7rHKsXgyId8qrT42eFb0Eh2JTwYqBUIZ94BFJnPKSfMFdackr0Yqv40ap1OqmkazYBA1T21n52cFxYhQFhJSdvKsdjI0kBdBjA8nRTPr+pY9d++sRuCdm2xF5EO3KpirLIo/WVT6l2vnLe+qlba6eVxzzMUqpbSMV3aWZRkCpqds1Hf6mpQgqqPubk3D+Taf1eFYA1eohtiK6Vo9NWLyU2QXnkQcQWqWfJcO7n+NkfBIFVOhUhzNnp4E2bH6fnySfdfReFT8UTRMA4+z2RWCEo4axX5RZLHkionOJcxgdhjnYs6ZEiNjAj/Sbstmdq+jE6JAgyKeV0FupuGaOaTWqhLwxHrdzA6uFWHKte75DeYys+VKFOhppXbLjiPzyva96lCWS6rsZKZyv1eJfxk9eoMijuOOhxelIfgdLg62e69oIQaMxqekaC5WNTNqdPh5ft7TJCCa3z3eViAXQuPZQYz+MBkYZsyGlApQk5B2tIIc3kXhtrtN4Xn7ytH4mddGstupR3MuD6DRriZeGDcJob8NlBq0oEnANwOnx6XhRRfbBRQLKAbncVcatEsnlPUah5Yr9EHP8hL6E2gY9KEbQyXlaoPX7eSVyXmw30I8rg4YX/a6T/jFsxQq6sIT0RnTp3L1Vvd9Ic++QAqIiGuNPtaAsNX/ecmJyklzaVriSzbzN2g4GDG6tjZoT6H4cP3y0jqJXJAv5y92TTzi7v0t/FYAbDex5JqBBE0Lwd0A/EJAaYVfPBlo70CBQ/Pm6KoN7TqzshLLEI+uW2EuF2efnmL+cCfXzPriTUyc9lbkbJDjB1+5bmMWryGgKV3MejeKItfpJ/4w4sGK+zVb78zobso2sfoPVZFSoe0nJlH1FvF7uWgKHZZdHmw45dxxiCH91U7oUTYVKjmILdCHyyW3rCFnTmbm+wWUsVo3VtPz+4rt4CPuODu9KgTfDaW/77NXJ1uRJf1ssXwHpZeiDTp+rnw/kARGgx1Ole+uO7jOcD1Fji1k/nJQfhc1hBpdL3KmOaYPpgtmewld3ru4RYgYnlgUGcT7wbH3CL+Q9CwHiEnY4ptQK3MxGWXKqMPg0I9oUi+hcizC+jgLZwV3m8mu5YknQxNnN8eM4AnHexUhEMfuS4bqr6lzJW9EV71Scd4aApctJQ/rJYD+oVqRTF7Z7o5xPpLnULKKgBPFbxxCLwT1sbbyIbbhlhcB0mnfykAMoQ+q5U0MJeeD7OtLEuEZ1sijE22rO+Y+A5GzggTueMqeN1RfHKWKMEEwImqG5iXN+RATgIANM9+rm2YrOIjEUrvuo6clq9tP2IPVjLrgHdCGhkODi69ZAkMyCMtwZIF1xUXnz2KHa8RVtfBGCB5Qcf99FgGVRc62NffQBLlKy/JUnxea1KxbLIrqUQB4FoZbn0PJVE1JotnOdEW96/RJfXNRNQ1FfymKYBJ16Sv1LdLNHDr1Ygrridu0jzE6fr2An/+rMM/wnZjvJEme7+cwlayJA5cZbSLTELwo6uFm/JgWWgyWX4nvIaoFzFlA5L2DaVwXe3ybnxEV4qGGtjhm7YS04UByfsK4GBZl1aPZvlW+vzSZgF7siayQmvz5++euYAj0HUy8NLO/4lW6f/uj/IuJg4fnReD+JgWGEypEPWyAD/WRBvuw/A+rYrzTqiT4VilHZ1kDpUwW5RJ4Z8X3VRPdKUer//QAlYFZzFaeEpLeGAk2FoQXanmvjfXA8Vq2LbG5UTd52Pwn0/THsFyXb5ZtKuX1EBPwXikBNxpph4IjypEX0Yem+bPB4PXCTI5VAwUIXAaMLSPTg4wdIJq1x3z+rwr4XsxOHGE9zp8HUiJnLOvmbQU0gFFzHMJrnmbo5LgWdvRPjXHRr0QZMo1twolffD7umHIviZ0TIRNovR4o+ffQVAyHAJJlqT37q0Ie8txdmPaIZTc6rDZaY1t8ZghE7OREcV8Fh5jBVdpSpcClY9ns3DfDJFxKA5iGlsK2PwJWvvNzt759j2/bC3dTyWYXXy8kZYl7CxNBRTW9hzF/KVTq9C7PXo7HZ8GcCkDzqkg6UOgRYCWEhkDylFn2ASIKFb/yI9gYTVDz0IRHJxv0MstS0nHeWG54m/54i17xY4VYJLsgvWV2QfHuVWbWoETYLBIZ4Efoxq5KBXAd60/WQnBbtLf/cUIQxJ80Kforhw6bdEm8M9A6LmTk2LqRTBear05EtJldkI4iSa1bTtQOA5M1HFbl5K9z31xvukbXe3zkV5IIi+m1MctV+vAHNyNlfr3KS+yuOKA/RqXHvAU++pBhTippdIEeYyCsQ2ZRocQGRwBDU/qkh7ZjG6RS8sAYFQUCM3I5kle6i7gcRQiu21p2JMi7soFX69pxzZp4BbMu144kLUhlKDT9iLvPY8G6BtFZ00dbNyDFTKT+QtYjwnet+g+s9AXuZ3RnuO6mEObTDt1Hc98G8i0EGd6zj5rLdW8LUFaFFCYuxdsIW7V5dOeM/63FHzostM8VdNPcO0zmjKddPlwul0MuwsnD+hF5PCkPgEmAjfjbCEYoAQErE7/FIh+k6Ij6ofaZJB3r13qxDus1S8mVHXETkr4LBFMexZfc1UiIFQRmQs/gCGNetuLyn5lxJnqZCyYtQddZaxKSTqNGn5qgtI84r/63ozHTD3D7viEfyZKbNwtGhVcEXs3NTFlJp11XjO0uzimOK3sSAGWFdkfUuWAG2a7N9fIu+MqXiux1Xmwje1UHYkkYiXkFKGImLQsGOcWhWPlTj1iUCkhGnXrRSaTY3u164mKE3C1TWL1W2KU0SXIeK+MgALIldgs2c2vX19iAy944jGHADrfvEmKxnD3CV6m0op9/LO/urrbEyIMWrajABTQ+4xaeOSby9driiZgyLbX1KFSbKJqevkRDde9XOkQDpNPUqObSa81kTIOX7tcCQEt5wCnVkrToEhTwA+X4HXTNOnZhGB2d+yC7nWcz1uuhFvrlLxMlyLB9KDu+nGtl7+iueZUyP4JEZ8KTAxRL1N7hud8xqy055tPXghxNTyngPBSkS36vBKu1j8uu7zrdSMn/3HXK8ad3nXLzctxq6BHMMA55uXjlaPqdLl292dKKRsWIUcmN6FEwMqX6MFQKa3sm7tWrM9EXNAZVKEPk5oP5QfZKC+xevdpPo312cF8J3Mb6UlB/SZyOycmX/Z0ObWGvBkoUWQv+8NQSm16EQfbT9MgkTB7w3faKQkw8l7wVVoTOFVUkmWXOV3n3kEl3H2kkw8IblH8r0s1bQV79eS7C/0DbrMtOszgUw/XoqlJEBn8WnvYYaZU717Nrks1T95LrTVqw8gBYrwgf7HM0M7T4uSoU1AveBGui0xX7qGJRi8997zz93oq1AKE9nqGim88vNRW2NUiP0/tmpfKAcP7+GGhND8JUvf7OknmgB4061joMoT1OTPWExsogtkDZ3X7+0b4RC7y2ny36hRLUpXYoxqHUbrv3tprXqr81pWC+tVPT7kvh2q6zT8gAwXBbJVxt7kTkXbo00NRPPblKryzDE4p9WKcZdgZZ6PriSIkXmrOen4vbXPBkV+qi2/IhkRu0qTS6/r7IRk7ZBHimP996nH1u2QTi2LAxzqsB4Xnw3zTIWV7ocu+ctJfsqgZPNJ9NqWCu38sRvUaXowmYKWRJ7gV9a724sWf8hctQ6c1S2NnUnnWI+cGhLMIAnXYhvZJ8bXHNWtl0aIcuz3vRf8Nz7R/l9+Ltmz09IEm/+WJ3BJ2jFeGKX0myspUG0IzR2l+xgYx97CtYtNljXgyCShgHWnUhIIsqy11HPLDD3wF3uZ6axU/kv52YcuGgHFTrtWaV0it6CqZzV+Xgg8FZlkXjWHVapI+5Rx/GiNxZcNK7s07Q+ezVIcRZd1e9OSMBVHpC8P4m4Bk/rpOwC95xnidj+zmD6d7YUNSGK0kzlMBsxUGxtHcKSxNi8LPigvJ6QfXC1z6GqqUgULh32+RZdwAKfVeimhhiuoBcTB3+de5NIvqtmsmGbwWYqBC2SyycTPoTmrKtOze6xAiguJBTK7Iv77D6EyUjNzk8DP1Q5tw+8z4lyA0SgsWTGa/vdRcNGMb1YOxiRq9n6soEV">
            <a:extLst>
              <a:ext uri="{FF2B5EF4-FFF2-40B4-BE49-F238E27FC236}">
                <a16:creationId xmlns:a16="http://schemas.microsoft.com/office/drawing/2014/main" id="{3F34B340-740C-4543-8345-9CEBC590944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053808" y="1340558"/>
            <a:ext cx="3893331" cy="2576213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7" name="Retângulo 4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LB1bdMUwbb+yXIoVQsg7D9sOI927vrxoj9d4KeeLSHKA/wB4Z6Vx1zrQSKshwGNy+GjU90HZsjCRGFfA4cKvlt8pPiM6DVW2xY391tnFVyonqJgBY1SrcrOdLXPrUeKfPlctyr/xO8MBb7vf7xb+FjSKjsfCqE7aZOcp9/G3wFgJxt9SoRjvB/Pr+UTzw3hc1jQHVwhSYsOdXUsPOEM5/yWzPuRZB427j/e3XPfG6f1N7bbnsCHr60jEbToDg3TBRjmijpK3f6LJjU55q28fSnjxmjBUInf4pJVR8bfh3HahwHVYlguBR4apyQcReIBq14MywE6weRgdHyXfP1XnJL4E0S3Xw4s26Gi0HnXIm5Xn9WGyqSecbYPRvzolCA9jk6nJS86o/jUbtUZWjHbwS6yXuvuiOorNoHmP01NWshh3qXUW4erkCz61llwhQ8q2cLAX5nOrib1zpIX3P3ksENsEbP935VBadwZcdOLsCNzOj7vIV0xf9aBnsoeeCbxx7up3whuUhGFGGvGw967Ni/sWX8h8VoOQIZ4atN3UFaR43TV/CMrO4J0REkw86DycX2LGpApOu8lsRHmA0x2Zqxcultab7wDwosr0UbLczKxstRHwq8EE4Zfm3qvg+/u6UByHlqmCZaPvPU8LG1hd2t1LGgXkh/FXZ8k7XvFoLvKBpoUWrgk/b31HHhHpmy/qCHcwEaH4inf5uNhnAMoDsRo74hpKXLkvnCVGU1W1172aIxh/T9FH4gDANTKUfc/tDveA45AQFFKP2KhNi8Qo8H5hpaNEmv3dchhWlIeWRpY1yJB0QF50HxrSjLvwrSFV44fXUU8sf082t0a4DSsNHqRRzJpx/KMm1wH3rEhmVH9Ss/7cZyitYfhGrWdpN9fzMJCFB9WH6b0CAk0fs3mTx3BxmynZ+dnndvRhjCCZ9TtU/g/3HuaDxVpzkr9kgEvPpf9GbZ3lR+nRmA87F9LrSvCNGVlwGdAtHWluIKGOMj0kQIy9F/RA4Z45dwOvLE4/YMb4+ZdgMO013JOHPWs5QakQXA9EuWM8dM3LjVxkMKQwQbeofhcJM9lFU9B8122FM32uE3Ckx4eby9QtrJS61sgIhoKG4mfRJGkHRwH8tTejvwqqsFvyKYtFWy8XKgy49qknPthyTplcy8Z27nIRub0o0IQw/H+V4PCWq8kbC193s6lToROm/lR5K2IiJJfV++o7OtoAfoEewTuAAIGTCSjdCqhJzTNM4oi8e+i5++KIgV/RziBzKJ0B1tp+5tbf97krGrP//Ksvt/2TAVnW2Jh8z37EM22aLILdCbVu0K8RBops6r1T/dd0iJOymnIHYN88+PcC87iSFcq5HcM4uW99giDbb/LLgVZa1vQSsA/G0o9i/Xl+Tc/oC3d+0bTjNmWuSGWq4Nte59paA6Z0lf2LRdPgGC1cHPkcwnqzGCPlG2uVvRCGJWuKkkdhsLyrZMxeB8pFZ2Du5aBYURS0RHAkrlct1tydLbe2uReH3bPqI+5HIMbj3tI+FfDe1sL47Ed/waY9psgOsy02UBDxMQ1XfhDz/aNZh3qVAh0xi4BwcOeYr4kZzakUIs90txl0ViqdKrY634dEFPPULBBKq6KH+nQKrFzXOP5fmpLrtokUjJajLgqxsmYXvWc58xuFJvSOhKoGlxG7AHTNXvYBC4zkPUmu1cu3Ey0Zy8SI81Ok0ouPcMwWo1wJieOuhS6W0HvJwar9CB2LYRajGbgtSC5sAn8EQh9UfzZvoWy2JsNzK8q3rkOk7rafB7bsrurRw2FFCvhvVVAxvDPAumykl+iz4baz7QoI6JETJVX+mIkw+ft3n+ag3gzWGfInInyymlFyfw5aF3Gq+6hZVA5mISCVDXhEBCF79LH9OyUtXRCqTE0jsbXSu9R2JHvALkz2IePYHRzcTOu7vMjGkW1B1VvTtI/mXdoIN0yyp67Z2cqviO0cF4pbTNVWWJY4ty29zyd/sKcoT9F4n4QwKlAKHS6LfkFR+yZ0+Qf9JBYlSZW9+K/YOrsixVHdASk33hLbzXnAMB/QpJfB4hBCGDw6XNxFca0yrV1+oazWrd42nUrydjAKcvs8QmAnYUdQPL9svbFdswgISToQq4ZZB+pMekFiamQnYXjxpOXV1sszd/rBn4Qa6vJiAbGpC2IaqN6kwv9BMSgvACyM1eHxr0qt1maHiH3om1UesGrB2gK9qUGV6hRRJce2YKShSosEey1prf31PmFIEXgyflMrjGyJ3D9TTxMsr4Xuby5k9tHluntHiRWGR3667CDWE8YvCgMkAZyzzR49v/BUMNIF/Bl1FAMacNEiW3Q1gEhBLCVZoRaMvMtT4dJxUsAOGpWig13DySQ6Ef+eq71h71DRKLb01E4m1pViH077zVp/6ymJcNyUi5nBhZ54XLx6BVoF1n1HblrhXwgS0YMMuL2vP4X/EtVFy06gvg1J7hoVbl6FoE3pTNkRfGH3q2aGmzAVDJMqQGidwk/Bvgc3rSixL/YVH1YjCf1/nBd3nMhSVvFVzXyfNUZFqmDGJAvDBrm28N3xQmV9v7RaAIlZZlaK9LCs1dt3xKVOSCx1tg9ZfndPlllvTPx8ZBLH6aAQ0LtKkOq17y7gW5v4olceXZHYwyK1fjpBCBokzC29DEpKECuQ5bbp56/sNzFAuxRU85fHbb0IOV7a7JSUYT4GVm8TDmj9n4hPS+PbwDfc8INZO9FVyg4SEj1ZkF4jDeM0HinbhgJ/eSVgzUl6pb1zYB2J8Kpavwtd1aUOwXeejY560fGxpKJvqrT9X1nO2oFCc/75qjt5x7Dkx64irDW1fF4ZAP/9CQ/etuenJq475SI7zG2td9o10cPeUlds8t2T9l0n8MW41k8sc68Sy2mXXPXP6S6wTxaNHsm7jY1BhZq/AsmeYLh6AWXPJzr5tRuOQs63GCZ8IJbsxRrbPYhqStq/Y1MyNXhG4HegTO5XNSq16DF60AW7NyG0JdStSx55Zber1aaBXvnCl0R7MMdDaVWzsx+mOAATgy07L7lODyQy/oo7JSCn8EI/DoCRSB05T/su0mwzMp4EvNE8iEkCZ1VGkrkm6LJTE9U2jJPtc/rwe8yI2/s0AqVsg7Y4d/RuXwZODpthYcZ7Gvc1+6b3vuGOCjEz0MBCM7RaJmn+BfWV8bj+Z8matfybh35qD1Q28bIfRHWteE0zINs4NCFA0ZBuKDhZsI2Mh3qw0T9DWjaEuTODWeoD/9h+gh3XIxdEurioXUbbpqsA/4tw9cckGAuxsTr/ZZqxKMX6SomhXCtTuqNv2sUO+HQM6TKSB5PWG/IgF1+gmd8TY1GiL1I5GKHWeq5am0yX+e8HUfjlFFl/9+5cWeCdEvrsY9NKUdpRNk1xOJ0fbXaR/P59uaAFNFNJ7dQgjRk6aqFZxNWpgAwOi7+081vlg5R2GTJlHACkQ44W5e/zjBIm4uSsw8hMlkNWYeCGBnKDQw21SgAvUbGNkQ+Oknlp0ViyB/4+bqMQPICSfxOcFsmnlW6QTPo4Zz0ejuhlxh6E2OiT9FwjFDT13BttCS3pNmQ2fgy9G6H+32duOIlMegBcJxPywK8w4o4aUGaW2cfvOIhgZR48zHDksDmJLqI52uzTqppdupGRkNTCSf8uqbcR9fDIuap2axRvDjtpkSRFQ8h1bvIn1Inc8jl2GPN6nfjLhezMpr1829//Nb9p8PeHvU7kt7kTtIs7X+EzHhAQDWkkr+eRbAs88okzKyaqp2AU3Zdd0bDFphufkt/UiAZbDfGrFRuWeMlOsSlziAPPxrwIrgIwlZE0HXUSnhyGQwiNJyTtKgiJ7u+PAdbUOLfiAkezU9tnlta45ageutHE2b3C8seXBoP/rtv+IoySWbn+V3ZA37uiCyip9gxTmc+UOEC6Wd+U2Gpa/v2AwDrWHa9igIQUkj+0D7Mk7WayDewYm+2r42UArze27kggqVluIRXJS1IdMzKvIg3vxF9J/6Xfxtmi3wXFa0NofXvzjPVh/4khj78oOvQJLQvgm5IChfuoSvzMiDiSx592c91jzXzDAFnLvjUPe4sBN7uEjufN6s4/7x2vAGrMsQlxQRjll6/OjkwjUQ9JG06dWkbSENFHKl1OQCE5/iIbOMpKVbp/KWhD3rIgdH0fpEx70Q4xFgaQsorhwtokOhto4gCzp3YFrTbHD9sF5acYTK0+LnQvcCV5U0WAYotFlIdgdxHx+OYaRE20xU2DwGUftFgY4a4a9PIm6yQXxmvM/PVCXiAZra+LLM5yoWXfS4ZGFKNheWlT0/5HBd3ht2+rXiadeHroUDd393mZewSZDB/0QazICFRIlvNjcwqgS99gKYkGM75lD6CJuz40I7/CEw0UzYdehx0nMVqvf6fw3txCU8+3oG2xSPTnVuc6tZyRqNwvFNIIykrxnPxb4L5mP8aWlHB3P2MGufVGq/2JnNYSdHgU1ZK/LvY/BiKjTKsjpUE1WWe2f+F1nCuygnVTeO0tPPIgdtvr9l+Qrux/lRtBnF6tLHlciTjSLpoX08FYfWWNh8y1BaGE0NWuvl0ix6yNJLkcBjylOZJ1Bl9awkG4MTc77Ydgl4ClvwO9etvfT2+gVeohSzmaiQ48JG7g7KiJhfAoul9o5TlpwgQ/3ClDKHoy4jMTbMfUdkSCd+DQ5fI/LGT3v/MyZiwMHTd85kGjBmH61TzhVQKx2tCcW2gThEVubDjiHgFK8cR1uO65dk8pf/xzibQxJv6/5I0rpjDIbGMm7Ifo6MIrcUfbU462mjGAM2CFG0+Uof7k6d9DKDedZYOTbSmOkONq94TAqSghIJhFjznLExBLSxrc5XGoEhIWYJPhnhXbj+9PfqjHw1h0OH2KC8yVi8nQIeLH+IxTvCFqFhilZjWcsmVGtTMybtfGlx3UIohKR1eGN5aeegn9kFKtTXixH4JvzLZQ/ZoqRrs997H4n2bPxlIFNVSJgqCebI8wsq/lJ+zSphs9g0A3gvyM8XZjt04luS66yNH+icJGy7yxOr4eX2xCQpZEXP5wOm+eHNC1rdNJpC9VUUUDuG9YUEJyIhHnIBenpNYAEQ44gpG++PpLayYjBrsXHABSpirQeOO+boAT4YsqXa73wazvAdMOD//5EsRITYPhq47SFgHybnV+jWzIM7DOW+FsN5a4A/MvfZLrnQbJ9rydvLOXqsbS8MUgBZ8A9PLQkfLgjSR/Ow0Vh/izScE+M+sHqspAw1dcfEuZSpDkwOhxiPgIMbuetDQ7qIxJYPVPklaEMVXPMRzEMmcY7vyA2bNYfPI4fiQb5fDt4myWEXSb4LjYJLR2biEb2dQo1TsN6UAvTMpGxr+HFv073PTn655YAqEbpl9wje4ZTSpbG9MYht3i7Aw8hoZrnH3CZ4MxdGtiCZ1rN7nmKWkW68Ckqv8b0JPOF0EZvsG/g6WMiAWayRh/9R3e6OdLRxRI0+6uVUHFB4znIZV06Rf2lkTRxnxxGa6a5DAhjG/1bgCJziZYy6MnzJ+RTxZ4W4FkNbx5NaQWdTeR7eu1TrDGLA4mzTyKFGVSAsi1Olf4hn7K1qhWFJcFQHvVmZOj5O6xYpQ8EHQdui0L0l0jhm2X6/stTTrNX92fG/2o1ZEmq5/FnVUO5Un/9CFFIGv0/93NdpDo4e0Y55L8tIAjLLUzEobTbHf0dSzvfaf2Xh1Hv57iO1QTHau0EJ91EhaDR+8k6eQJKEMQPpbr0zzChasHu09S88biSONhQXJKE3wzBIFtwRIAD5kkgy2BT34PM8rimP5Kxko24J0nuBeGk1jLwCuPIDc1DShuzeYL/RfkexIkaAwy51aeJiryYq5UmlusI/jK77sQnLPCdCxNNmNgOmtK8C20QoiobSg+O8pmkM5B1XwL4fPwDXhRHVJZq7qgOl2DbHJxJB6IqYjx656k+bUdax/8u7iA1DdDW9Cd5hU9vsKQcGJAVx+4f7NekiYTH3HC7/ka/0ths6l3aQpakij798uU7zScAzMo7QxacFyBLVMuNQXE7hlkgdCu4z3VFTKLlqWc4fTts46hmqEQM494sBrD8Vi5ygBZ9CVRpKHhYYmZ6jyjhEjdGoeLFki0JZ/wOURWWaBXsNQr4YqHtd41kCKOa9z5aHod1dPchbVoVIhBp+IqegBteNYBswVbT2jii7/KQljw7B8YucZpbW4lgNPOFYn2CG8qvukTFRYSd5vFp+Ka12TlWG77lneYLlZ2FoCJM569B8CScietDOsfjmd8xgybxmf2KVAQ1/9n7ch/H4dX63iGtk7DCBrKxgkKW4tBVQYcp+p5PaFZyOliX091C73DeA2/aqIGCok5zIgN8RdgJLEIHezROg/txDBqWdmBU/PZWdIYBWMKo+kzN0EdzZQTt2ZsBkLzTmnlJgSzb1SigjqKC1GEj0zE+7jbCFXYRUcwpvgCl35KAuFiIcdguaav2lfa0TMqf+8gSbMIO6su7EVQaLafzyyMbGS5FjzplIp2bI/1M4DIok3HGWKnh4qFAHjuoLnum3cyOI5GhTFHtswxlcOCR6yijkH1OG5ZNS2yE9uyaqCrFLVxMPB+ZYgC9l36jB7zbpmU0QzqL6scSFfXhxkoXIBL+HM6jm7tYZ+TO8pFdbFHHWQvayEc/A/hc2EeQRxmfITS8AqUqPxS8Pf4mCaJlmLQRrmSCOJ6A23Bjy4Fn4GfrqRdzGIJcksvHl/fBh7gDTcpImlyH7szETA/9+3uWq8IPyw3aCtk9d/ba4OAtdF08tifDdD9SlhdJvqn/WqK7x/7si6FQgO4zPtxdr2yOSOyB4EW0dfCEtmWkZUYmNisOIs/aoaxLu8mysKjuCGKMHli0crbd0E+eZKt5EGEvZL8Ni9dYwunzpCUug/hN3kdUKjLnZnNzQsz9N1L+aKOWt0W2NaAXJhNlkd394fX8bTwd09EdymW5jEBemUqAxkQL2cDzyjxhZmg6aUEX7HI+NVr8gR1X44eiTpo7uQ4J0FQqfX0dY5wul+Q63OFWNSxlMExz/atKX/rpExM6R9SslHJCMaijO8cFYxHRy+elL9nTs3Ka/IPbJdlACLO+VN9uhCDHHZCVBdnUyL15M/4YKk+4gR5EowDhiD+Eik9Q0Y+rfbxJ0Yeq2Who9HAOiUWjsarfVsvpAS0wphBBhaIeMdFXmp+bMwVCi0PJTLvVJiqzLLrsQEBifFKt1OxJGgdJzUB0r8b4Msc9roEh5tJ6LpDAkkUZUQep3EhVtJZz5Zqk0EVMczuHMzT0oilF/xU1pDI103/3ej+2Yx2R8ujzk8iStmLEe8ZB1To55cDOEFrUI+x7kWxQFxoBSK0LTBx5YVqauVaNcbEKoL1NCP+57RPz4wEUL/nZKLXIe7N9TblSUTFKEPQ73KbMJWETCOaGVPzcXJDBDYgwLkGv25mOdX4UpEdocibKSuqllNufbdFVGUJZjqeVVm5lEeuACYi719RexdsBWrh7xgq6/5MPt1iMPpcKt1zjRx4//6BspuGQWshawG0LAdI3kTdcJpVSyXL/veVEj1Ax/GBqt9nIeelOA12qGmQtxqiITy76KOuy09Wf3Ua/xhAdNuFTplfrgeDp3K/IXPXlEQ2ymsUKHVOlr4gju30L9jCEFN0c9LMew9YyoKMR/7j4+B4EPwzKD7aTEuJ1ccGct/HrVeAmkzcqWFafYCafcqjVMx4WjDMw3Fi7RcQhd54/g3+JmvNB7rIvt5rDqVDSghzjd9lOivnJPg12R2/M4fykXJCrI7MW7K2hTJzTqcgC4sqpoP1baU4rw4h4G80c6hAQz2aON4GYH0FG1LW8KeNfjd3tybgvfXKrD1YRAllgVqawCR33yeRGMWzQE8d12sjWRR8wnHkLIo6vuqRW1luEUJFM+K1k9bKMqihQhHqiRiS8ozC0k31TAjP80P94HsfipVj63fT+e5JU2p3Qw2223ND8+t/pVGb2H6aAj8ql5W7wBFgh+9q8jdf9iZWGvEAg+ui1/3JPT0V4K+TKtRZNqIl2EmsWJkWR5JbenBF1N4xL/tGjo9B4IO6c/jP1aVO9HKxQ72xjSfLpbpDAQhrTF0vAc7QTGTdW4HP7/RSiPHkmm5yIjO03SW8hIB0oyFdGfrptKkWT/pXd3NNJ7eIhCuGWO+CKr8nRL8VJ7k/8nfV3YQQ19CWJjPo1jGEApeTG2Ol59kIRK/36/1SGvkkYF0nk/ZEBwU9w338miGkha/CqjxMmxCSDcTYUXPFvuniCyjNZx0Tnb+VNmgEo5zAGgDXMQrtX7jVqeotpkLEoX6yEIRQjWsGLNAiMJfgokKk7rOhBnyPY0byO5HrlCa1lpm7NoW68DfRposkPOiZpi3U52s8dEq8jewiYmTd2+ofVP+aX/enKghC9pdqzRiT3t+1lhaQdBbCnaGLdV0NwBhO56/MbY9Iw6KrqPB44wUG9+Aghs7g3bxC6SF49KqhLcNCYaEML81URPD6flna9VktrRiu+Jxyl/rN9eBHu+Fu9T0TKe2tpxAJbha40laPgX781GH0/keBGtUhMuHsO6Sedvv1XHrLdhhMIj99V5OICWEdnKLbokvdV88GcmCYrY8fRmIXtBY0kAg4CQVI3t6tp1a6ztRXYQF/qDjCB/457673DBmCUTP79sIZaO4f5aTEcc7wda2ZodThbM2lbpNzbDpSzwaEcnC1x6rJv7CdHrrWwJr1E/bre1Dc9dkPWVYhPqXaZDi1j34O52vZ5iEpMmKOITqkWiSVycyHNKi4pWBOocEbZF4U+3D+EHce4RFrCNMuLYXhYeHc+oZeJKptpG73LAIBsC3Xlr0Dr518LwpAg/JYlIKbEzsEHSsqra0gVVTDdP8Ib78ofdJZPXF26X85uScgDEvXjU9X2GPJsA88X+ziZc+qQ6b6BFqAn0THqjd4dNaRAKH8OxLfVbmdYJCY3icPoxNKbRwRwkjFJ069vOU4OZ+EROzOm0qGi3KdgHzA20IRTo1KuLjYZpKuVx7PV7H3d8ZDLE8xoGVZ0KOS+0Cx+UGhQ+3VL9Lze5PVN6dazkI+KeAqpE05P+M2IGjajrdMOow+1R4y4fasB6xZ2hskT8+6qSGi1aa97VOiLCOVUf0MR+s9WpiNIA5mFH6qh4tqS5u2r2nm18YGEaPtnY4pynieXa73ev9Gx7f0qUhk2Uh+AHPaTx1oGcJ/JSYX4dmfY/UXbm388msU1L2med8GHpk1NpMzpOc6fwcOi/bL3xo3smsr67NOKmTjkRNvFzMy0iYW5hXlsbdENzOaH7xM1uJ66L8Yf5yTVdmsucE/zstkwtvN62+fCctV8Hb0v6VDabpq+yv6GhBD5szaapWcgcl0e9WhDZC7psECb0+08Uy/w0PygyzCSsx6TOojFANa948wOIo8sg3c8VPjP6sSQwUQBXUg9pT53+VlHTTC42UH18flRoY3KxYIiVM0chYHULJUOp7xP7foJLIXu5efssRK8TuJkSTIY8mkI12ewbAiHOC9uOcEoddnoDM/UWElqYlqgWgG53bWgN0kV0K/MWbaG2obTI7Nr6NpCpfe+rg7TZfgzTDpTL1dmxq3f9BNqwHU/Jm8pKY4mBg0NTKuVnDNaVQzJYGTqX04TnnNWDXh+g69/NHfbJ/ZN3pv6mTL8c8ER3ODmLE1EIDdwAJb2KuECFJH1eJZZtF+3ypU50tBop+MuG86RIyad6AQ71lRmq5JkrDfZ4mXBY7ClSuibHJiTxQXs0KeloyOyUx3DdvEKNj6eGVfdvfy6wO4nGN7fhVESLPk/FfToaxKdF8VngUILG2pnVLXCpWYYfELhG1tVUYe47DiImAFzyxmQ4RrFh1EO1Tx9VPtoVqa0FUIKqiyMT0VxkN39D1eSIm2mALNAX7tCGiO15+rSsRW3PrWQHffmceJNZMKowuYU3U6QRlni8Fwy7t4QK6fVGPrUxzp8UhtgtuS+gJ6xIxv/X81wywqK/iN1QqzV1OaR2TyXNzDknkWRic0O7yEVhLT8/sCyDJ1QcVnOW7mInvIv6/y2R7eVyqpeIaXLq4DRmC07tuljmxR8D8vSopknnHxjhMpdPqtbibjT4bpUxgLsepX4GD0XEYDi9mKgNzSX2rGjlwkNn/qJ/QTIwH7gZpIcezpzC3/BmPZFqZrFsaVruyr0tgY+vuCu+kUNavWVWo7d+RwL7xahbj+juGCsHZ76YAS5CxeG463M9OUiC9y+d0PAmA1af0/7n8LQw4k7rjIf8gE/HR136NbLKsBcC+9tC1vpWQwW03hHgc230XgBT48XdJynY8G6CwgdxnQpdtzAKPAOV3e9Uw18CNZOX82unHXxUwfuhEpuzAmpoebpge1t6D+jMhdmi6fJKb5hr/LyKxPKahDmCAGc5rGp3wXvJuLWEpcdvo1/MCEE7ZGkxLiWM+F3YlSbILQSSHVtrFGyRVsAsS5+4fVUX3zIX3pJk/hKUl83+d1v6eioIqwa706I2vzHlLy9Hr6AX/edBCZ3IUiFV95KWY391zQtOK3GQrppzMBxwNC2BduV9S/ERT08nKFFO2lqLmG2HLrWiESk1UYIQKErRpDQZuAz7gUcNnyM0I5I059a0rH1ROOym4nCD0tjevac48yfkBRDKzLxPybwvxBgSYudlD94n64QFejIeBA9WWurfv1lEm7oDOJBaH+0GY7nUC7IesdG1qjb0uv+6lzIPtXq4AVokfjv8SM6ZLYUp8y4VRxn7DykIBE4g61GvJh0qbVFRYhIrKRhZ9P2ZPuS8heYggqPxccWc3h8pD+xUg64HcN6w2qAUNkr3OEf7X2WKbgHVA8GdVkyv3woJd0z0v/lwwICSGXqhsuAhXoacWqAg/j9RP+cr7LFe7gR1fpuBlD/mMlQriHNrXvJIBQ7r2DdHcNkvl6x7Aoe+0qFd/lsxn3U5VuN48277TBIgH/RvdCoAS0jiJ2x33oBDFATDdkSKrIJuEl8lmRLAOtfiCzzfWwpH3uYumd27WQmpsylY5kk95gHlrw40xR+LjGPcb7Pbhac7oGo9sIG1gw7h2Te1o/1TFsVXVyJyM0JxgaPNsUSVCsr8hoLUUQ1k8HxMhLLya+OqJnH0i8iOpCpJHsau29WlH2OTGUqAb3fbgRleJcnRx5m+q7CIHB8+b2q8lhyg5d8M4DksSMSybKuk39X4Y2FST+QawoJmme75pYn/Up8D3IE5FWs+DhYv6ya6yVytMtPpoz5jfZ1e3Lx+NC2vzLHEnOSf7LcAN1fLdegufLF+Olf8XudIEB/nzLGm2kgxJD/TJOdZBFSu+UbiT47WePWyE4EZtSMRWs/y0zckalf6AxKgbGqKllq1R8VESQu+gSfo7XBxTalT5qNV+WIrOnbA1ZvXEYzpDz67pGO3oAiOtNdN8NbciU/LzYqDZoaL0Z8exVxxctG/doVgOqr6CYvBLhIjfbDfoJSznPyHWpLZdkkHmMr+8wR4I1CxepzuJrIPjHwtTDtidRzi7eyX1B4RDr1WHn+DZAR839TNb10XCUGa3P0T4B7kc7/hYD/A4D0ylnNYvwR0j0k7kiAAOYn2VXX4lWE1cpFtekr84rzWszKPVIDubLAltlOGH6YLEZ9vD8MhjGkJqzcxX8DhtAob+vbDeBKyyJP3m/nDT/ISQD7Z6bkSeRG2xqCqucsUELQClfPVbBVWqKezAKCyOX1c9y+6jfFDfCfQr5YgU+jlT6N+aNkBBDbkNHVtlKxPlNz3jyimX9aR5DXcFT2EmtXkpjYSUMPaDTZS4vgunb08sQQ5+8Wm1LBDn/FbApmWsWxBM9QeIB7OMFgiLgAmwyLyitdOB5jMHpwY/S1f/CNaa6nh5Crk8JsCfefLkxp/qO9jeOnct/q2Yi7ZKwu0DnZxNVaq8B1YxLHVmjlNMPUejD2V1P39HOKhmShjg2IV/kd8XwzJpvTmRsgg5/6IgvB4OhsT3dVvGN8yNTnG/v5LUBu4X949GsaMG3VYInUhnMxgvl7qXUTFVr7ahr1jIYII85ugctUVBJTasolS2c7oqaQwPgBfyuxL7yWSYJkfz7iuyASmbjm+CwK7OnXrpcVkFtX5Y1cZDUvgj+tePLGl8jYOsS2bSJwYHDBLA2k7r9Tsydkjw0FXH3yEAOV9p9eyrKf1HRaiUymg//CtsYhoYDwmNiUI/eJRMgDN9gVw61pB5aRCoLVQ96T/qNyysKkKjV6UsrkhzFA7HGbMpIEOBsrr883lInafzVmGbK++oNBGyGQNXfKJ1uuWMisoaOfgM4vyPdCV2LPjAVrUOwEGZFPa8hpFyHnfgi0pa8PK8skQCFR9Kdv/Wo/NzN2lkW5vodaTs5X8eaTymXxii8gdO9IFCmOMySq2UtsJYwVnseIbg/tAXgyiUPD5kFIjywdsamCcoZHLBO6u6UHGf4Hm8avw7zPrhemf4NAgfpoI+VO/PUxwOvPyzNZkx++fbF/Yez9P5IkJ7uEJx2lDgtmxefX1rCnZKO6a1ZwKrArYFo1XDRid+df2G4jBMQuXTgtqZAw38YktNuB2dZy4qtinScNanp1Oqc3YMgdGRrFd2q1Xegd8V4LN8QKyG8bwFelZv3ubbVbe5djaKTuIg55R2mKe46loIbpthDgaxCPC7VmHQQtaOh2dE3C4vndfT9aog8780YUt+3OxY3+CH3h8pxWXkZ18WO/b+aXiw2jStAJKJEY+Ia5lpI86hrG6VzVH9WhsTBT7BJ2lklJm5MmiG84QjW8BKkaLqrM9FsiR/g82J/A+kQD8v0HLWCT4pKp/skxgaZZGV+3wz/Ydg97RLOwt3wL4aBxleecJlhvzaqi3d+qJZip3/2CyX1/zyjgNXiCZTzia+XvQzwq2jXUUjtdeA2RkBX4T5crfgKyObZ14OqxFZXTrgeAo4+0wl1CYCHXHgt9cRatPMLWkJuIBfrLKlryfozvn87LeSe/JkhigRq9NfoKS+9MPpGbNbLvsT4kNEZ47CFQDn8C3E7T/WneOgQxmJ4T7tuLdparY555qHngx8bhsxFTipUNGTpbGHKFtF3neZod+2XQLtQ7APdTi43CUimA0OHsVgqnK4YoHFSekwG/z0JAXaoPV5r/iqwdOg0bkJlRvpWN5qUvpod8802tg73wMI6jUOz6QAQXvWVzRz65QZn22XOnIOSwmpiquDOL9vVFaZ2XSyip2mUiWD4OI9wL7jSs2gDKeNVepbAYyqp1D9til23n75d0pcQXK/dZQMDgij4V6tS6/B7/34qstrHvKuLuYTVPf+txSShjHyXW9Pu1hGb6qadulcqAvLYnWvwsAFlN9clBh/5eUMNw+Giu4HFu+XvcgZtQkaPeTvDyIhJRG0aInApymXuwt0Nm5PPE2KdNbsShMNTdaMHX2tSREJin7J895cTaz9bhZr+JTpULZm+QqmMxYoBsrNr3Od9/MyEgMcBEoiWdMOq3tKEZ+JscwjGPLUPFES7MJpTzSEKDCrK2CKW6/uD37AmTVjo689sDw+k1MaQQwC1bmuPDYTd1ROg7YEKhR3qJAiaLhb/uVqCktLxUEIEiDqS059E3mZIRMnz0G9LFx3+h9ULSL5ZNxP/Gh4NFFIJefCvIiUcHoctdykPEduxSGZTahUsie4nns4Y5fID7e+iD8GblWeeHiyt44Sgr/GU3X/lkiGYpYFP7cyUL+AOLAbKQ2ppKlzLP8fsbX1jpNUT4dOzFDqbsybLlp81Gz++cGG9Nrs71DdxpzNy6g9+4/rLjdZFDZ5oM+yCkkGYI74Cq3gJAwY0yHq6iyYyTpklokS1dYKpJpIz6NuCaC5cmIkq1WrfseTyE/2bL9sAJhe9NN0VGrzlm9++/IhF+Aw4J518Gv0ECkhQvEwAgXC0R61XCzobCkfDiRi6F6J0/tzYrYd8we7Pv+FsR50DxAiHCCkT1mH3/LPkVfKkiGLJwVS2axHFk4soKMWU0mOgyZ3XugRBqctx0roKD7YZIQlcsKrOt80Nu+29X2CU9yObeddHYgJtZniqW1TtRF6jiWABtGMg5LeZhcx2t+sFHE4cGE+bbfM/lQ0UsQIkV2/bQMZWyl+vpbFVonCLkYcBZrZKsXjf/s65OtYV5vmkq/nDPs7ofCakOTWfq+6RbRDjUv9ggB+hLyIa3ST4Hicjj3Y1K/att0UridkGkna+xcjQ6WpqwC5+Dd8ta7SmFIBM0yQB3FCOogVXsMXjv/kqSUzMAs9cqFQIflXSCknnagsRgNUw92jFZHgzi2/SetbmMeWAHxC9MgLnbcLF9azTek05Gv8w/HGC9ikuBvbGOfuXc7pw4QDyPF/SbsxmAzW39jOA8U6LrI0ukp1rSBRjkN7WPdzSF8MNMoNYW1Srk9eXQXFKvSotzKaD/kWABRUDU3HRJHnynplrgY0lVi+MWpbMTjK6KcHe7LX4E6Pppl12KBVRrFkAzGboxhrtLnMZvYSGR2cMHNR6eHlY4pByit8cIrPUXAmf5PQuun77jKUmdhCZ0SA6RiUQaBj+bPAAzBiMxFsRXv61J0yLiq0uz2INrr0JC/MN+dceIxYX2wpUAenKvaEKVCiMGgxzHigSZlYCL4UcaPCXEE2nDKnwGYIU53TMPH1yfQ6WKSo+9WU4BP5VundyhMpygIOJmB2wWHsDYFo/B+PbInvu2+YeicKYuzQXr5fTTCnfx9S0OErbB6KSVUIquKJC84qSiVZx+UoHrXkIKkLelgF2ytjiKNoL+C+BZsbRCHN387x/Wvpaga9hn7NDsAODXvS+DZwnK4Xtm1fHIf4OBoy0LNIgDjFpNu2ti5ifwzh7yKTrj70hFdm2Te9opggAjU6FalLaVoBAV/6/6u1EobGdDTlOE6/zNJoQq7aFq+a9Mi8e10Y2Et3zgCAQ+bwMs6BqvdFf1kj2Jg4BOhzs98u84NsIhjZDnYZjahp7NOiqwMu0p8y1GQnvy+C7qFwIA1PUJgUhuY4yDxkazx66t5T04vAq3K9OXKoUpBeccUzmSvKFDpNulSl0dLsqxcz1V9Vgdes9jBYzRe2qGspjX2gYHmfayG2LHz/eZ9rXEMHwQBjjmgHpEYZ7Vpt+O1rlU7u4lGwxzcF9/aup5z+P44MQnK2LhwKq1SA5Nc/Rfkel7fuqcNtLchd+DyIkyOB6K/qrSiHCt5rVmZ35dDkp9emGCUQ9MbiT51txHGwRXkFRI0uF3LsksS0qXyWzpDQwnPWJPz14O2JcMpfJUMpS3Gj/AeZsnfa30Ebuxayn09ifhunAR1HmsOQI9CBwW9ycs0pDsU9Ts1+OiHxS80/Nfvumt+ISZw2XmiSxui4zO82TeKRsrfdhbkREovIAFnSRTjcr+xjbkMWl6hbkJNzP0sSLfzqYj9Z7LC8z8IGVy2PBdiWIbSX4G9I9ARwqmuUiYS/5F50JEpONslCOX/QJTQO1A3eraLwxah/spb6R4kmYq3cDd98S4UsRM3YGXTWU1CqDcIrpv/1zL46SiHfWu/kOrQ8rOK8fnE61f2n6LT4DhUvJRW39AdYDuoHPaNwIXClYlwgr7NwTq9kqDFpNseP+bVMWTsxbClSqp5FuE8LJuitgC9ejz+6WkjJGA0BsdxxFWxWsnBJHTRbivikfEjSg5j+z+0DgxNaGhkEfEdMDB9KfwxtnpxsnlJz7tJAwnAr+I5XrbrPH3Rznha5uO0FfM97rMsiaJRWeBhzwjX/6zVo5BFDwmsHHzkiC4e8JVk2onAcW6Bg1oqlt7mx1EG+QOSV5aQH1zwcG3Rkoy4zL50qHtW6kWBbqtkJDZ1SBMITh7ttzZidxw9gYwf7a4SwkSGoPAEp6gHDhDVg0bHPgXwoX8BFPT5hIN6p17RzEOecTvdElEtBrKCvJCF4dAgH2TmliHtSEiZjfwTcr7L59jN0n4Box4/IcIhJe2FCdjmZDzVpe5ijDaQDShVD5lQJSJ38ot75H4Y/Bsxh3XaCn8mWeVXo7tuve0XN7lXfFu4L7L8Xdo0l6UZvC3uyIE6M327FAh2BN0d1Wdfe6t5V8OX6nF4c/jF6dSqSu8t48umxQsLTelX2anxgiXky6Ow8IQi6yBzmS3CmVIwy3HRPGg1s0hbWy4PqWANbBQlAgCSArTb7LDrx7YpZLQQS6OPI1rcAOjQVTKKuhkexRA4qw22mGBpRSv+QNrGUOMuS3fQ4fWZ0ZjbhqvCtoHfuYAwQSx/VUaKYpLr8Z0pRN4ueurzGOdMx3ZayOEyi0mgNZtJdAEODoFI44FmwTkGzJ6K0iI6dRJjvViRcoMbjc2rtl+Lif7UoSC0OSopZqhV04eGWlywA4u5itxHwsqheMfHqGVdqa0W8HFYdfZGVZcDZ/GWzipKCLzNa+PQrrbCAh3ihgXcBicWnbPBEAXfDjaQ3GgsCH8yMwlQ5z4BiqKK3PnmmOgPjJBJ3UKGdnq08C2gof+d8N9Oy7Va8LLGCFKqr4D16SAEGuCgpfrENx1sCpRaXI47T0Nfo8tmVfwuSYeEt/dM7dH23Lucr8lbix7MQz5ZZDMRRScUalsWzh+Di5cWR/rYw+HYgy+aIWIXnAb68bPGzocb8XQ6tHLfKVx27osrluZMXyUqcHtuqowJ55j/oXNeAriQYgmgPCbiPwSzK1DrlFr9xkJOWfdiN6bi/cjBZS/7Yu0g6SlOg1QPe/4QDddLeoQUi8wPagNNpBAA9OvJ4UB3k1YemorK1bWdV5c3fD8OAUn7IlYb0oFiPxAukLjbSZHxs2xRhoJA4RV+lBi08+ydOWjSWFJlFKzwn4HRP3zGl3sc2UGYCUafRRDUtInTvm3/xdD/edQus19oyBsQ4JrapPe1ZCyr+ROn9tWvf5SjDBur6sqTutlyJvXw47sP6wILYvnzpg2VvQYTZTXNwkFua6SjyQMsL1O79QKykXw98wAqD4CwtYBovE7ysBywvTxXvGZsDLSl+6JkYAjvDUkCJEem1KdfgT3ETAtORj9ad9d8Diq9ZHx4mjGnypfw1Bqip+8DuF5zaBMNr1cvWwU8uAsLvNes63W3bs7MvnOuo9S7FEtAxtz7LplikWWp/QQX2fWxRQl9KzEqi1qpAFDA3JVigPpZSNU7xIePG189hlMs945lZ4rgETtvQkQmhxeki4N0pjcYVmVwDLalKOF9yIkLceckd5VtQRn2t1B9ey2Mdyr7th4vv5Wx2Wc6ffXKxFc0c/9C30E4QwLKoftMqgqVxRRt+XdDyvoxIjsjAys6XuvXN5PGzYdMNwdboc+ySxt9TzvBaSmoNjOduFmtdMNqC5T3MNmavjxp/4KBaAm9qvMxfsce2eboa2GVoIpAWmLFFdjVSJbfdTe/B/qWkj/nXHVtnTkaAN7fZv87EwTRkM601d3qQIwyCyTtiCJKKJVTATCBlx3GUlQGcTdbCKn4NCfuV37RoHx2/WfspfjiLLovZLsinSc0RcQ7WE3P46leJPpts83rQ93zklMpmgmzSWpnzb2rHceFVv496MB08giVIGi9TG+gXXvGSdDJXLAEZahonj43NiAQHQtPscOKOe7cAiOc2g4uyJbmb+m6zLJvZQrJjULQQ0s3YJU/cbByL3bAkJc+V3uTwYATEZ/Mp3YTqB3GrtVfCUbPCW0LLx8YiCA/GCKCttIX15qSc/uCISQra24srpkAo2aFkDTdTOYJ+JuUUa35BPVbbjeG5SkSa/k5UgA9kc9vaCUXSc2pFEDSs6b1C+gfohw/X8rlyB1bvba3uYMjMICYMiKg0alvFkp5CRifWVh7vdrdjngSlL5bzoLaxBzQZORyu6PItsp4NV5EZdDCNk2t5KEY3B8VCzOhvTfeeLk/NrFT9iYajEyRF9eZuywhwAr3r6vyJg/piIDg94JyBard3QHwEZ5d17//UGsSkMrmxiw2Hw5lZXuXgClC+Jl6RKHVM8ipIUBeXiOPmBf8K0HOUbAyqQiievuqyeswocXd2dArjtBajf5aALvMUR+ZOo/oZ437zMfPVsrhOe97qoB/JMoezk2sxz1oYFwWrAbklG5wB37X88wPmYnslPj7J4Ep0yrSwrzD2B6mLOjojWKhgvQAUBO9R74KS6N+EdDbX9xuHqexhL2HBRcOiHaRUQomJ5sr3m2hmvI9yjmOzOMcm8WHBQ5iQOGx2qSHn+sQn/d1YGQa6OQJ7/0tb9fXAgyg3pfoXDxSDeRPwcxznOHG4wPSYYCh+a9gciSkb7wlO47+lPWDAZOynP7uutcHBuBwumf9tBxhq5TRSQOauayVTyAh/UDDR+oemwt5Xj3TdCMkvGSEtBScfQCuvpNsM5Ij/PpAM/zgXtV7h3HqL0OZvBgiW1fBSRUZmePqDqAaBtplCchg0gw4WPHpgnWd9M6rXUq6Z203ABEHC/QWrPc9nil1s3yF4cznM6+7znRcz5DgSyXGJlAmuhFUF7MvfKdmGLk85sHm+Kmk9h4+8DjNK5Ho2KTXpeEs7jGbzfueMsLrvM5pixbxbbAcTO1QEUlIG4asAwWP7c3TFBB4jzwmasC5ZW1+Hpp9uY26QsD9QOAFvHSUYX0hHyBCND3Tfl1KP+DwH4jpexlDoNXvxvzMukbngsHVgR59Dyvx0X6UDWjGN74s1f730ND1ZZ9RkB697O69A9AEuUBcP2RifMKZmUIutwdJf+r+Uuziv4Fw26z1+yh7GV6Xct8Ibz0K3NBN96A/SK6suAW0HiM6Tg2symFzQd9TeKjUs35uEvxXJWQRw8+SdLTIlKBwT+6sn8XAlC+mNG92CmUgbBUjD8+8O7obWDuyA/4A9Xo//uCq7zTgFkmIZHlEWoqyU4skjcPg/st4Y+xZD1xmeoPffWzZZFP5nVJ8RPYJkawjMGm/J5WufzsHikjJ3clhiTwlt4sbZwQL3rhIK7PXC7ttKBa45gcxkPoNSzdNmPmak7W0JtCsT2stOi2j1HAeL6e3HN9rC8lAGHh3vQRYsR8iNZ+MxswsrIFqij9Vt70QkZLM7ehokU6JxBaaVHNjZWOPTHCGv0b29OS884KthMo1vhFqhTyHrxQU6qI/42i7a+h/ghrzyrwCCBnwBWFehwawBeJYa0BFNgEQUCbAbDfXHCwUxJKLuezDClaTll46REcQecGnDEg4LWB6BL0U1+Dl+v5mpefEHA/pd7DgF1J5BjzDgJI6wugyvL3njUK2PQOveQD5huIWglH4vro5MEhhJtJsvAn7rABP5RJB9pqGSnkIvLSeKoNm2o6qbjStG6ticIdRYtYS0aa1dCiIOzF9WtHKAS6/vZBFNiPUVvh7IN9Dq1j0H4rtRzMJnEGnlXoIdKUCwXezSQXfvJUsP/BVNaa69OZh3e0Pq3I/rv40BEUxKHRP78JXILP3M83XWztpYpU7621imWCNyXZZgh7yDg+UCBqbcM7ErWU41qts4fP/dRAHMpUYmma8LaLAYi92S45Sp/rk/fPePCxGwZ7CF4d8giEAkZjAqifwkxKs+ydo/+y1g1kUkyG9SVRIBGTkkTAig4/9vdB2t2XUhJe/qLhsOvcxoW5p1G7EaTg05gN7ENgqjLvMlJ7c7P23ydRXMOgVDYhB6WwsAHrJcggpjtLqhs3Ljh7RWp0M0gzWFFt0etaJOktSKYJ1ZeCNy7Zupg5qLWE9k3zaS6ojbyMqw6qC/ASbmQ1s7EcL3NvKa+ADdVBiv0wd6ZvDVklEOd1YATgiegHjDzOAzB4sdWdXm5+Y6zwacQuBd6Y5TJWF0Uh6bK7hZcdxp4WLry0wqDbaDDY6jy4be77TLazyBnPF3iIhCOxhhEJhSzsZT+8f/ZQd4RkayeAwnA0fShfRmXUd1ht69BrRss7uLtuts5hVb1i/8knfTCXnifKd4vWshefj3kB0NncbZ168HMZ0wMdszpHSBbGB6o0FT4Bf0HpsClOyeJ6rpgUrTRO3LV/uscLSKuJBz2bb4uuoucgvIZpelVwa6mgCmjG21w7/CnXlo0kxr51P+8bjMG+Ff64kSkc9Sa8UpU28zWhCEPb9hAjbQSiOH0+tpLw5ZAb/rD9whSxTgvaEtuvaF+bA3eDcgqI//AvySIu3cWfvN/rBNI0znrzXbj8XkwdgBVuGQ6/g1/K1v5/fLObLjEoDmQonZi0W2dItWRQFRvoYDLuDPLQyny9HNKM/RC3dz0oqBr1Q1pX1mK5tGXHvuM/60I3O23bljTVw+6odvwWrFyRTSdw7df49ceDgMNaFepsGztMjUUgsrvsj4lRJaODZKtG6E3A4wr4N28/bqo3kNUKebcKR6RL25RD+QyTGeqIfBcRCmcuiCboVI6bIpOIzMkhliQL8ydOiNzJRSrA7cxPuk9NlZQUWHFIExv9eUq9EsJMjy4R0/jm/O2ePBzSSF34FtDDGqV/APPD8A0ObY8JAVTPNvmFpnJkddCAllzl8TdpaMH6eb84OZGzd6B9rHiriqs8YzSzXP/fFBdwgT0zwtN1lsxDCwUXtZePtTFRRSkvbtGUWV12rzAdtY4vN0knV8ABAaqxs8jIV1Ow3KjUUdQV5q559+Cf0dA6VvOHu9DNxRvewX9gDi8LtycjyO0/e0czn9gEkhjMl+Wk5Kdq9hWaLZU292xH/cyNhwLtvPR6BUz5TKs6rS1yfVZEb5SQExiif0ej+UQ9K3AUkzXpPCTIL2MF6up8kzugIwDYootScXCSVZOguCfgb/H24k1BwM2iYF+cOJVMtpt1mspHNBG026vU+d5+ERI/twV1Qy6hbggEUJyG9aHfJeUaaIzNrAxmoJgLiYyBHM0fbUs6EJRlLQVd3jMBZlxBtcFmNcgETfBVMV7bNIaZkVfIs1wQvkgyfNhouQC75NHuV0tXJRWqn4CYZwgxgbhbWSSlCsoN+zORylYWqP+9GwHByuBXv+Bx1uqRzSTw9nd1pCN0s9UPm8fNrqdz2VB2Cnq2sdaab6Jg7qksu/+DI6N8vRODcVxbVqHV6ctMa2MoO2rFsB4ndGgwvoLk7lpZNrfqIVpqtEGzplGaV5WAT1++O5YZc4LVbo1XoSggx77sSHVSur/yn8YbvbzW+eq+9KPuvgdhylk7b01iZwmznPRYWYGIYRT3ew8ASQ9fB9muAlixMqbtGTsTFovuvW7aD9W/WWg7eJuCFNLPk3w0xUsElE7kOaX/L6u0eeRRG+yd0kFr6sgkdkI4pQV7gqkynFZM+Tu+/g4frvjoqKtjr083CnH/pUbuuzIP3Jl6jDHg/9qBPH15ejOdR0Bxlk8gmsEdn/H1FBilTGOUBmL26Z0IozjSi3xlJTN4QMDn59zjEsHaVNCtdmMsCVkK8USHebCetmgGoQDYhfj8KVUsQLY1s8vfzVFIegBnUSbe0FW3JVlVA/QbK3Ezb7IuBowFA7vPeAE1uKuHUnU14IKEwytc3/ts6ZmZDr7C+HYxiERnedTg6r8d5y72bRLlgr+FwW0kxD/UORm59WIH1/WShVnAkpj2s9zPjquCo5/02X4VlHsbot8XXUZYDbiforV0ti43j9wwHQmD+qr5lzo3oT/iKF6l0H9oP+aCn35hfXv4u5vnonrH/JYK6F2OjZcsBPRE19sepCT4nKHPM1AWbxAk5K71wg979vZldAKrgbThPQBCrxLHBZFloUn9snT68c6h2qCIYaOYCeMtriE4gVu92Odzgr7xG+Zo7k33TRy5/P5/oQR8a34ZdfU62En6T2UUIYkamt4CpWbjkryxdfC7LvCJebRsOLh0qYB1vjBC1xUH9eV5MEfPgnJIKvcT98olIlgMEjfviJ7lcoXdDnkxUHKQ5Ml1bhGEB7PG2L8R2KzKNDvbLR8npo4inz4wI57SvAo8XD24+Df5On1i8hdlQu8WfSgJBN/RK9s3rNkTpWXtXd5exQqGaNnD5FNDffnwMHOP5DbVDbrLNbaHbZBM9MxHofwGOBj9xQdi3M+zDXJOtfEPchGuzWAO5dhsIHsa7TdMBA2P4lUKMwBZ8hpcADptMOzgsdeNvEe15JGYg+ahIVgXKI2r8z9R8K4r9SHql2ZeGELmybSHgHNzeS9RFIt34vmg+Emz5de9OCkOWKogVYfKNUjhyNs6u1sCXwGruz0M9rXSqm7OUpKgZPgAR0Uzu10LhZKh5L7A+07eOaEYBjqBrObmIu6HDBImxAa+7d3zgjZXtP+ok1eCA8HDeMNyIl4D20P09jvrMJw2gaTT0A4xcUB1dnPV3KPMMcDfY5WvhT/slzdXwXFMGoOojxOAPuAEuzEFZjhYtNkAiRtfafE3V/8WjQtN3bOtB8NrtqwA1WV2A40alaNMxok0KsrAJWu+1vAiObMy41C2ldGcn4cEn1yMHj3FLJeIGyavB+kO2O5kERfZsqBlXFf5WD+lnvkEpYQiWJyjYOfaDVq02fgfBom/IFV3CJXX9JMJyuBVF90hE4t03eD1MR2smN9hYRZDlm1P41lVHThuoxsdA7uigO4F/KjSqh51ZVV0JhVhDOceYYzDKdkfnAqjWpcWy50d7uCplEqLgMk9jyd75XHa8HuETaCU01OKuUC130V2I2FH0zJy/SkowgFJT6LoMp2PrPrcvlzJj5Ka4kNNfmyYase2u/hZVwEtq8c2zdn3nd2PUwBgMvA5ABK8wu6iptV0vd5KUnjUeRJQPJCHAJ7M69E5fS7EKsi+MOQBUj9OybexgwkkykmUdXcs6pUWCFgIjfN7TvgLyBC08FOYvvp45ovrMAKEaa/IymvUGavM2th3gvrhk2kV+fPPQ8KdL3aoB7WGQgNgGLv64cEGhgrsFfpftRiLM5vFv0FJM0ffXHln6f+f8/sCyhuwmJ2OIlJaWqMS2nG5vk1jdialH5bE8aLoRwuC18LeVcuvG9tc1Fk5vFTEPMN4cDzBKJd7OeC+yJPsy3PVvUTc6v+A/hFzjDzZ57+MdGRHCqM2epBN+N8nMBu9I4thLtEad+ha6kZOVe3LkW/Zb//HY+8wGByt0ss6rCtQTklLJy07MaLwGdPFEM2E+RkaHXjX5ZX6Bm5rfvHHhCCX3j7Wx62K1B3ujSPgdLXvzEzVhYEliGOCuQTZKv4riado1mZTuBK9q0kM26mCDsA77alw63w1VCBSKs/jAAhAK2PL//YfNGagU+nDeuTU0g0ArHHugv4/zPixi7P3B7hB4VrgKsgN7PlSHWdmdV3h8I5vJsrw/u7hHN3Ey6ACJfcgBIiP/+KxBDJY7QOebRGaDGUPDax2XMmKQYVkI+R7yIeUlgp/fYSGQpkYYLYauSepURrCnsaOQwjcOSPeV5Xarc+hTVKsLWBfheCjdZJvnsy3ezvtnoD6UIu596K/rnhG3vrLlPJx1wlaFVqD9KFr6dy9umyDsQAp6Vp0mFbp7I1xmfWEeQDy7hdfWLp5DNYfNTnVQarFquLlIgZxVGMLKwZx5GZ4MUICLUC/C1T4S+TePAv+jVVRASgJ729klQjGyAyCD3RBHFg2hsk0Cff3kG3WzeHs3sbTXrwOFsbTW7PZxZc8gRswyjAwNgZizbSKBQ9CkQcW3lNr5etH/R9ro0SWq4wYddAG3X4SW0edRwbX/zvu5GlGpJEIUDCbvq78hnA92lIbGlaLALp0mNtf7E92oZahj/QzlweSGQNCqOEHnJsy7MG5+ml/oNb/BalUEEI5YecqGttM0nRILl2TofHnY+iDv5dLHxnLYqxLq9RCMtPyMeoVnRlXglgfCJyYP46fQpJjtG2V+i0Srb1q0KXaltRpmp5rFQJ/QsvCbshQbtCObvi9nOlcQOPR0fqKv/QMnlOe9SB2/E3XcAyCpWd3bjn/yNC0xEu1yUKqDvCBkFwNZ/f3C6Fo2VNY42F7gfaBEyzj3gJduS4rtm064WG9k5jvnSz6MsnG/u+xNQaW+A1RXZGjnj0H2L5zKNROL6gqt7zAow0o/LvH1h0Vclkdn+RScxHgOQs3+82wPq4ECb7MSf/dGt/q1q0m1oS1S862E3iRuf6iTwCMNJoWYhlRKqhMu43eEbFS4+FtoFx8+xK0WUzQ9H56l2pJ5SSAwufzDv5tFymBoWysfu3JU3YchO8CltTekclkY9PvxmfLRVmuiQHyySPCoaYxLAB+HIBA/kn0pZ1yIrd11Lv/3vS/Rc4G50sCjH4J1Mt03yuT9zPbj/FbxPKTgc9Yg3ocaE5ZTsJuZSwg5rbc3AJO3l01m3zI3/x450GQ65G/gznkYKja+Rz4XROT1EzqwnxLEheACus9iD8Bf4NQyOSszAi5g/5Tmsp6p5cLyr6E49dGHMaDH24KUIeJY8p8t4HJlBXdJMjuTBnoxSW9YZk1Ac6xFQeVDxKr5+EmYx4xIXkNyo5dF14ubfZf5RpnyW7Joeyg6OIFqJ5BA3usE2E3g92c2bHGcMgxsEbmGE/UGE26lHuATiR9Wc0MKasBDlaIv6ffkV0aV/6aHiuuib49AvW5x/gj/qbJ2OusCG/a9u0WN4vId1U7KykbLUojtlhja9Pz1m65DiQPko6Hxwgtjv7wTgkmQLsdu9pOuWZHNrTrBA893dsyt0M4U2f3heDzCd7q4ZX67d4hok8u8bk1JN4r9lMgfqPvhSO4nF1h6A6OSe+3AYWXYSlJCP7jQBNhK5I4gglDgfya+G0h1JEvAUJYD63aEaGYv6Mvjj1fsogDtCmbOfVGzAPmIkRhi0bHY3N4Ydggn2FSIsDtvsI/aetz1+8WwJ6SMpbuaCTUSsCgEwwO/lCfBSBAWM+G6hEz6jY+1dKeLyY0twIOgfp13xfB4jJW2lFVzsECfEK5u1Jdlz9rBTHDpxc6SjT/sh5yRw87X/LPPdyBLONCvPrkWvHBT4PtaIF3PGcmNg1avfWYKjMiDdJ4tp4JHml4nyc6FnwQi2P0oi6oYJrQF6tu2LdvY98nDUZKd8/EMFmwRZXnU8aA+kOWvXPw9hPaYGBoZSPyoN19aA5WeYSha/jJLoZ6p4sZBM/tETKd8PsGYRRl85mcSV69bP3Qi8zYLL9qkgkbDZgTI6rt0Cc3zKhm4reKVHE8Dw4PhENSBI4bHyXHKl1Uc26x+grPKvQ4Vfu+w0hqyXu9KJswwajNM4TqmWc4uzdD7zIzAxuTlzATDE2xwXcsRVrUOpnHQKDRDEXnmDD9g06cQdu1Fv+uxqr+/lvHHVo8T34Iriz3j9HfCyutoJCvcz5nPfdyhX+8z6yomzLyiYBra1U6QW3BYOArLLxmfFzgFRAk4uTLnQVhE2KJsFLoPX53MEzHHkw+USB4AuuSLC+AigumHFZzopAUi5xHSXIsJJw1Hk5oJGtdRBB3UpOHl68AF4X9mNayCskxKgWJ6xx9uIrNZGHS/yTgZO+5k+Us5lMPNcI8psbeq5rj3dvbZeTIfM5/INoIlzEF8qWQX4nJnREBSCYkhgYfupkS1Q2hEvDyCk25vSrZt+l14R4Ldr/tDh4IV3I0/VOmqxxy1Uuvn9pt6zIOprquQBbCNREcp/Cw73CjnlXrGND578FTu9X12dV6sf3A8Lx0b5+cCyQN52RQzo+x3YGmfNttdY4HxAVWLIcuysx9ptgDujkTtK4r9mYAq4QWVZJYpAaAuWAM+07w0JbC0xW+lQMjuP0Fsf4N9tGCSbDCMqpGUnh5QbgeM0aSuXqPmCE1GzTIiuYxb6dyYvP0IOcdGhnUg1Y/1edGYlW+qAe9vkIgZIgbcFmJN+dRPoHvJAvVbjiplMyXunsSx1EIDe4s1lWHkE6ZreR0mYJYcfUikSZ3773+ubP3S6BTlTpJObGpl1mtDNXIK/O5EmTqJVCUje/i2/CEcqINUtM2TljoU+y0sDYrgiC6IDSVIPFT0caRo1Tq1Po1/z95rKcAP9cONkMediK4wtIKUR8LVmIOA2w6xumo0/3OhhglFFRqJACf+tVI/I1aI1c+fdHuskmy1fg9/3UAACYyZboofblbCVWb7KS1gPQsRq0dFFlzUsLBf6xyfOiNI38JQRpOFwrrKmYl1ytyeg/961pkVzbVmfZb1t78k4YK0yYvmxBo5JqACjxkakfHE/ocKPoFpIttcXlgEsyY6n9hDiWr+gE4c2KZ8NgZcHFVTBs2Do9xJzOZKd5AYzkUp+CdW7Lp6ACD5t1irLIAzLRZTu9ev6hltoyE1o6HaAevMw9JISewsO6W71nQqY1g8noiQt95DZBbbzu7qu5/pOpftGHo0kuNGeBJYmIObdGvmKElAT/wwHL60bNT0d5sRewSERwz+C/PCRK01jqyQawydNUr9DmpancMKGtW/nGZqjmfh+btuDIVzXaAL7Qw2Hj3cKA6Gu2BBShMTtuOSJgoERWEzz2WuBSBNz3lLj5BVC5d/gxumlUtqit/AV1z48ahIp3G2uQl68LT5lZYcBW7XTToH0JJhnPQemkwqo3LDnghBbIHn8EuXSDg0K/WKWlW1VRNQ1MqYvfWUF8y1FIScmPlDQDwWG34xrLKJhaDwPVjs5RAV/mJ94tedLUcVN+FfwS9yYXL8Y66zJ9eUZAghTOyhWCrTfI0RyDC8hOt9DhzNuYskltlnhFKOqaIe6lQeOdEPg+8gi9IFpR++iODqWpCdN8GZv9MGKXf7QRSQbYGoIUtkVsvXzkHYW8Iyz0tz4LMoaCKhDoIzruYnkBdWgAujtrSCou1DTo2c8Yxy1iC9TsXQ5UhVLo2vUafcBLDBjSsw+SbjedTw7TDfyWjwN5PU+gTxC/ClTg9wKt7SVXs8VsD6c7HJMLlQbVyaR1eyN9/FGrBfqET5Khh9/ufCwDJrmxaGFr2PoOMeXFxD1ot+UA9LhpHEs3vm+KMjJSSImGlTv6eVTcrnqNhtHGFirQ1gIOlT353SWrRCLVKXa2PcWZlj9jtJLVblTEpuxRHrLK6Xdp8FlFfjFOD9mTlAA8tXM4FntxqGv2EDVQ60ZwAB5Zi0NE+rKSUjLnVtk34QnbVxMDYZZX1KyS07YrM6UBtRp/GC8yC1xym2DjVD5tBvBGPqp9UzsM/ORPvhOZ+69mv5lJU3v3G8ufMv8pF5y99HuwNU8i+VtE1G6sWhBYBxcZ/qlWRi8wDAae5f+xprZGgrDFk/P+Fdy8MsxUSDdUYcUpBWvdJbJMJJAss8FKAsRyizLWXG7izvICRxwJPGljM9QvhsWLNQ4HEZPpKg35GX6RXIN6L+m90wAKC/diA2so78DivQLr71q4szl88XEKnCbqf/02BSMp6LznUmnL7Wc3Ai61IgxFMad94iMeOev4BwJX4rjn07AaKtgFrZj0SWS9OjqTw1/bV6DVpcexU8C2PxmbsRdLJjJjMYcHcD3mx8M6vxg2TXwpLrqsCQ+e95JMzEzMatJNDS4I/kDO8GKiPZI+XlcQdhnAsCBR1TxD3F4iD0bnLpBPTniHd79cPmUlqgEGLaQMX2m72IwvvxZE3Wq7IIY7QMu7npCaCT8d6Vvogs3COT7QrHNLd7AbqBCB7nJ7YJhh5gJfargU9cRXFOf2FVDdWNvsL8X5d22yCuNLytsCgo0j/bz6GvXTB0y2cZrhTTiq82UGcX9TJAHZfSBxykerYMXog7TZiYtQvhjfg/2QZB1UOADSiVI3i5Vw6+WA4AvvpJ2WSgqcnvEnPOwqmm3lBVD9PZ1Lq3MijM3hzVux70az/JtsoKhmoOnlLbeUeykSsQl79usI0BWZYqHCGLRL0ymm9bemfuo8JnJTMd1GV0DCGaXNQpUQNeUJPIO/FQFgJpPY2Bhy1IgfQXt8kOgq9OLWsRRT8dHSW+a704P2bBaAFM5DvrNUn/deQpJFnJbO9deQEJjLtI3+L+X9YLK0SvyUFCFTVWvim0ta7O7KYvlnZ3xU2Yfxc0DmcQL8YUE9VcdceBsJRtgRsXxiRd+3pj1dYvJO3PjrFi+XDsm2FTQAzCMVz5C3q9hBmYewlTRbT/jHfsqyTTS/EDclw8sCNaqfmsRsqlb3S1rC1YSRCZnKr5/syX0IW+myNhOWmOa6ghCVkjOoKLFRWV5ho9tfgvEDPDxaktIDwKbS9KakZYMNmFbwhZZdVGKwfYgM01mF61jA9QlabrjKxjLSfPpZ+wp7kyaGgHm3MbRHK0ij1N9ZxnlzeI8gCDT95oUIZHesf9hDBedlXPuSoBYUgaX3lUZ9n85qYIkZyyXu5sJHj9Z08b7Cn5JORig7/QZWgmSdRtEJZ7YUmkSHco/M/xoHyJEPPEgVzKIyzYsa/tQ9wBdTdVR71QDZIKZ0qDncMyeiW6rll/RIPAXtcgKW8lGG6Dd/swl44zmp8zvVvHUIuC5Fwf3mWbGdbDc2YjfvzW8t+YYVflpvpQtJTPLRHsnuMzEPLsr4+rxnues8hk9i18QnurireRLao4Vi+uz4bxD2qi905c4lbc28BbQvxFzhqEx1AQR9x1sy0Hcwo1HanbAjUi6GuUF7G+Q6WuSvB0I6QuTucGZE7WS81NC8wqM5T+XXmJMOxAS2GNEB2kUNUK4zadUlqRzlJisUz6HtQTB3EY3LiflXSqSRMTqbU5EjwvNdzVXG4E7UqXEAmzomkg2abUiyC0zSNxcQIvx0qZPVb2GO+rnKs4KoTnN/wj18BPxaATxVAzS86E8fkPiqsV61vs7bL7GJN2vxLU09rzp74YvbHfPUpwH26RPay5RTl2sti5F0JHVgDu8kg4REKthlcEFfEjcAme05L1/zss1A9HlD4wBzXQUDGZR3GFpvB3kPoOwTKwe0e+hPu+Ro+py3BHIF6NRoKgtWjiarOiXC5BemLVVE/Qiqvtt0YL8+DsmXNh/GP/xqN36DgRYyHEnLrluQZsTpuiTQhuwibtH88Vpy+RYnY2LMo55PJLMMypkyF59h12PLcIHBZ4/iLlCmnB2P1PS8IOfdLkjVYzO6YgUahjJJyRp4lvNfEgYOrQK226tFAq02f0pUTkiiLcy7DHv3vL9O9u/veldW4h44Kju+PtdnuMWqJHXY1RCymKhnNrqRNfsJel1AknoybN2f397gVO2FCNNhlqFMSByEix9uABkWuCLtIrOMZSQAAkYjMi9+RPm0PmzUwmFq5xdbs1ZHNb6pHdAMBOFTUApXKofEF/nFsHWasFEq7dtTgCIxkrAsB7YsntGvvvKLsF5lRChbgoovJDb7y4tgfUdTDX99rV5X9sy5QKRjQyUjX8ZjWUBA5i9XmhbjPJgdzt/eMekEdVo5PnffEqdM9D8DeI4jXPzSL50yMEq/lP0uK/8JjBBCnu2VrOrbIIrQaHT9dV9F3No9nlaff9Z1De/k8qdw2L5TylZppgWPjCx6M6AElckVT5sd0RyHwG+hSWSqD0hr/iZRk+0b1Je1Gr1Qtf5g7brCq06/6dpfn0M77jdtFJbzhdrFCnFVVZ79xZzi4B8HJHoQqTXq3l52P8Oe8NblYXDc1gGQkbDFUeSg+sOCMcvhVlMewZ6uyj4yPWn1aNEAS4xdeKojMWWyY6KJIxhntupk2q+8p8PWAN00EeTjAlCXe5Qs7jT5QpAZfYjwlAjJf0uuWiS5PcVt6Ny78Vk2bPVOpFbqG61pgyNBC/4uDWu7eXn5N3CD4vY1yXnUUnrSTUabP5d8KhTYjqkTy9mTrk81UupgR3NmFuszNaSyUX1/rp9+tdfl7eDiOowuZLNWqZKdWrCmEPV07qHXBaT7GKzAqfeM5BSOJm6u9YAQe/WTJsZy8rGghv/hzODOPK9Wqk26bxa8NdvwXc4GT1T/YKnngQL8FF7gR1ZX/EWe0SDPLFCVhXffxi5wJJlsPaxT17fv8d6HmcVcmrynK/i994e8j9vGNm1lR/eK7R86o1TmV8JVd9CTSTD7MX0npzjARUo1WrDTbRqR/ZJoRiY9vHh397+ptcf8yPTwHUq3Yw+ifVogE6A9/zl39imdvCMbNaFxVaYmVU1sM6K8QBOYobvBSf7H4JEpdBg/JOomd2P+JDLICTJUq5V4hMWAGP7pd2gJFbM5QhVHH9OyrgO9jzQRjrg+mzf/5g77igb+EPJoajrrBOS/RueFNGPgUA/nGkZESWHu4SnJQdrPvctj6Qipxtu6a8REzh0U4qfsM4AFcu79oINOIb2WXrElS/Sa3BmQZkykCNsW6NmnBMoKcvczQZiTNQVKZVchAuA1Ef3yP1SzdZ5Gn4ncbA8KtZ7mqhdgzuUC3Sh1bZxN2RAlFKShRZanITjrsKb4kOUV2ic7ke9+vH1zGc2h1Ujc8dZmEt9e87cLqvEu8A/oLgqZzUTIPMe2NH84M01rwISdGmaRD2XJEB2SlYvVu506SEmY5qjBC6FflNMSwEhYqa+vRZXsn1TNoJaaD1FDOMELMrC6GNJYaKEP1gRB+VVK3wb79l8vAl+1Ry8aUKKEPry84RLdnAw8GmN4IihGSSDAaWUmCUR4Gh4+aRPma584GGPSgEfwyVQdTX0rygK5c/qDgoKJz63EsEeigU3DjrBNa53CXQeHH5l4tcM4Dixwv+Wt4nQ2d5fhbsuw/1SgOngGoCYFOo+GePQtGQCEzJxan6wczlAKnJ0PE12WdE3BLImLuzQiVij0YMwiChqQr3/kXAFvrM0qckepOjmKXOkVrvDYqZAfQlHG6DpHbBtMjTa258yKVIOQ8T5YfGBVwzjEsCJwMBPI/LBtHCI9UmTIE7HHj2I0H4umlwnhqeEsJUyaai5KC2ngbq3ZwzzBATRECvkfbFa8jo+Qum+lWLl8y6wJaGm7IMMcxckyomLAJjNam6FMfB06CZLoKDZgFBGKnk2cRwlxVAPyoDK9W/9ZsbmPkreU7CwX4gk9yi492YnEuprPKJTFFZ7CX8xNlOnF2vt3GG5IpLogsf68eAqYikW+mTV6RNyh1F+KSJk5Ybb1VZ7HEJrhT3liXjIcfHA6oEt6E1NKERhmt2XzWMVAIl23gTX4xWPYh4KDMw5s2/h/rLoi7vYV9plSVzFcRO9Yfg4Wjs9AN3R8S3Ax7gQPj7TWM2W4WL2AVlXI5p0W8BPWS8S0Q/Ymr/sJmYMgH/fDLeA4c0mWJfWN7pGJqYzITlGyEYYCh3S0smXVINvjXLcQThOFUPXhC4RIC3F9JiPmy8YOtifBXlH17hmLS3bXGVRVMCaFocaso61d4LlurjPy/c/DPcbsjcq3//lBcb9SBBpv2qyfwMNCuFQvVZ98vNz4MRwfF+y+w49Z+i9EAQpZKUURVVk+nV6VlKvYRo6WEnPt39+bv+0yda9YjjzwYD/j2CQfqC8LCY/+C8HYy5WTwHwx7aoItQpqdMVZ3rjNzXZUrAZ8AIsg4Uy+RiRHQAIAl+gyqZFFUGOPa1cJ4RGGP13RB1iL3RAxp6idOj6SQBe8qcrZwArjnh6iSiPdm1c3r2F6k7p1kn5cl+kgkDSIXJFcqmbupfcfsvTFHJwjmEfxSMkjrC3PP/UsA9Xz1Ssf8crxu52UZ2zJNSvE4sWVmtvH/v8f78Bh88QS8ckm+nxuVvmvBuGaktx3narG+LK5ko8V9CB3XGG6JD/s0IgueEZqL3rZvR8N0CDTF9JgC0P5ecvDgN0H3aRIUiuevKpFHPCfuc3ytmHUe7fejxxeDymAq19NGRax7n641ierBcNH8Xze1jMZzZkjNqK2gN5ChoJPuP4JD9imh8y7CqRn/1NQv0Q20nvFUHTH5IzQJCjmRoOzc5OC1NbO/0VzKGudd1iN836JXV6AfFWbDCFGlhtPOszphfzQHNcdFgnv7D4bRU0XRz7RdZrEcEkJU3C4InlrA0y8S/xZZKamzORMi+5J78Qt7gnEN3QouJ3HvGBvUsatNLqaUTcBjLyw0KYd9QhcAV/QUm+gCZwzdr6K6Xr85VsmbPfX5z91YKzLbKsCXMCwFoqZZRHEsHkjDp6JT5FhD++ybTqettSI0q7g9/SNq8/MWNbO2S/B8FvC4U1zO5qHVYoHJ3tOi82deusaJEpHcYjhTTWkJyhMXDGbrQmYEWO28rEbdhCNNe72n3gd04nsoft3B2BnTwjKvlkclt0JqRv+WvsxtbgqcgRvh2SQyCqsX1w0V+zx9Q73MPO3YJa872ScZ6w47XhKrI+b45vj1+Jo8ilWtpeyodQO3sNptW7K90Ra4D0BCByg0UvcsOdIrVrAqCzwXLHJEo9sqOXuYmNuG4rEi8LzoAfZA9vseRjGmHfjdsigHfYy9SPW+nrHSGHxJcmjDO7oPfmchiwiJtg+zbrGubiZmWjGCswBISCRdt5m1hXDgEMwLrMymEEQNVOiBfoaH5cWeElTLvFhZ9IioIoBMN7SePTKXDaW+PVOXQlFTqG8+7gB3zWA9vfiCaGoeCtUh3Bk7CKIDmLsXcNO9Aku5M05Kt5/bSlQKfnrBj8+TaAJEhb+1wPd08GaggpqmhFKkIUJJ8mLKpIYhsNS6AmMdk0SPrOBDRFvE/OtrBy0esZ+YvCi81u1g5zPSJqOoXUvJ71hIg25dKn7yUZK/9/BThr00UdcdrIvt/kPKMJZUTXj7B2rh9lipCu92l2k32f8WQSzfAuqUTFc2xThnvwEdOfUmp5D9LaME70rwTNKU4F8aNqmpYAmQgKU+MoBeNkrKo1pDsbQEqHMpfBCZR/GRTf3gcl6YsjFLTXXLFzwtIqDx8Yy+HRALULLp/hexVu1ZSCbjLiVyqpnpLeF5YTmwKwKZJGuvHAbKojUtzxhJP4YdSsIQITNm9uBlxfeigPtdoxe31nDBWzszuHBpKRJS+yHB7ZbJqwWgWiPw6J3gIvGD0P4t0xdi327Vi13C+brrjwpLLU80N6v6ev//JG+fqqLg1oPcmPac3mCmeuy1uo91yxvzVPBS88oRBkgseh5+1UJiOFw/B3ILbfbfQoEb52anlAzQYauPaXNT3kx97I+5MtYn5syK+Uo8Gpzr4sYhdq4doWEOssmKQ9/xowr61E0Y3IYM4QeRYf4k+Suq1FGZT2U6zDXVjc5akA0T+v+5uamZGmZApplclEREWzg7KCNAk22Nvn6InnRFAUSlubvST5Qz028MAMscEHd7kQlo8Eh8SFOYQLiZdly7ryiNDFileX72ChXtX1jPJDr8O5lfpyKOYodj88egP5UF7tnsq8UrovG0ODyXoaLx2Y2oFlV05P2B87dbGswvnuM++NLfuRMOU06SLu8zMvLQ+JnFFlgVkU+0iWQYYJPc9rmWiKIWwk+pNXreqyGKmLkD6eif6FHLYemwdjeIHLHAiCnrFjDeTq3SeGCJjbCh9ymsp8cZljaUSGzgV8jwsru1adEtl4/0Saa3OKqP3EfeGqAJemilkOTbymR7KAURxK0pVuazJRc9xEwefQ9W9bzMUCn4XeMnaL8X3p+ZfyxCtVhMjysdAW3z7uwq3U4VEnzhTqubBCScLRvjYrRHB3CsdVxf6dm0EyDMfFbeeOeSlcrTodz5PIdjhqUk7mLpsdfYFlVumezTGnUkSJ2Q2f38MmeGUiDCM8Ao0XOaZonDSY9dPyX137d1jkIcHWrrpK0lcvV+ZcTZcmaE5FVV29RiP7G0JwDvLIAMFDGDnp7cm1mgUoMYn4XX248TsW8riK3eOB2IFxi6lxiOVG/9qPPLP9WJjdBEnAR9HspoXTKGH260Hd6q/tLoDqzkdSSjPtfaJ5DbNWGKRxcei6IaQ1/mj27vpcc1Wsq9I8fGZM7gS7s8+7r1WAeIrKgYyREJVCwcxSoKqidSpDHyCG0FH1E1rdeX9w1pz+55O3/Hf6W2dbzHel8UiAKVOcH7mHXED4WVO2aRr/FmOWhMP1rrXCgO8NGsvJgGYRct5OSy3F4EN/8E8bwG8Ruh4OgGTnIWOR8kbdGmfj6WKWZrCrJwEcdssiaK0/bWWj3mhk+dIqpMSSL52BtBB+wXy/cQIolZi6nd91urtXVBJnRnTIeli7ohyiw+CFTr0kaIOMNCf64qJu/FE7yG1oqSWzhWsbBYdUiSiWE+4Ayr1URNfMkvRVToq6c3Rs/Mqb/4d5rDd4U5nC0PFjB2PGmoDgCLa0h39QYpKLLetDc7CtTtq8pHyGnHD+esy0VnZUSb8yACc/5cDLE8WNhArkIxUTwxh5yZAnVMs00i3uT/siEoe1L2J6KAgmupzcfSyDRld/WXXmXsYtUvAVXOn1HKwcPxpjzNpgYLYbUWAedsRks12OD9Tzfbjv0gLUcc1LtSxu24BE/Gj/5CUhLB2187jE8dEonTViGXFvmyhuRRJMGRU29EQQJFabZ2ZN/MSIVAZZPFvsE8sod1APvsbt4DF8RxxW+O+ZGR5OoJuZ6WWT1ZpyX+xY15cvZR88O3MqiIqUHKp1eVdhaUlFAcrHBslTEinglWf2p2KgZYsbG+sAcyqeRr0JLqq0iD3E+jGMgb9xQyuO+hH/1NYVNCs1df4nYUMdwn1GKn2bRe91zBFZn1MCst2U2hnV7qoNbyaPeSFnG63SMOPQA7cgOxCOqg0uf3HTWDzte/9K5VbGWwVoM/s0ruh1M2yI1qWqQJ113CZJvjbD7mpXiIYs6whl4vqm71ELqO89S2EBhvON50SLqyqxTeesLIMhbmoxRgUoV+09LObH8nQ9Hc7RYScZhR4wb0VrvUtuiCJD2Nl9bRViBerXGrFqDb9t2Pre9hXnA2O8EthLGfIjUXc6y82uKktTYlbSILify5kFcqE64+/FhkUwC+s99qj1M76AL8P0KGXT21VZssKZEMLfqwLIECfwQBVu2JwM91XJNT5yxiRJaJte39snyGDMOT09Zp6tDb+VozfOLx7AxgR01K7sRPFWMLYKPJqspvSfmFSE+H7tJLG+yJRGs0bJhuiEonsY1zE9W2uJpyy/7MES9jABu+EBEANl4B34S34GBOBfMTA9B4gQpda+FrtU7uRDP+JPnOqUTwaFBsu72kjm87KFcdBkp8BKcbqtEGR2L2YhnY0VlQP7bri1ICnrjaqQCYvyYpbAuyUCgZ2juhp0lGGqVpYP/rkx0sHsKNS1JP7mRBcnwQ9d/jlxxiM/PJj7o2Z8/6Z0KAdQN0QiGw/1pC3hK79qtuW1DHswmovboX4vE0+Ip8xDrqq+EeUUOy11ZQfau9WXkKTl/V7g0QEbgrFTELzqJUN1fKJ0mjEPIusT7fYtpUECVU8r0hUr1BLH7RPyDlMcDbBKZi7OaZXSqW4I09luzHkOh/p14j0o17C0MyivvNpTp9QXIgMbpR3YZs9EdNoDaWh8tgoYuuBEDAi1n2fMSdOI05TisjbciSdex8g5bD7uJ8HZot5xGQnUEVLbZKUM1mkCGcL7swzdoPrG4qpgJHPK6bU106knVvVwXYjAApndM+GGao+qwda58EZ9a+fzlFE0ld6XFwjOaLYhWU9bzTqXZm4WvSGpES83Oc3rDKxaWi+I1/9mtrfygZnxONZUD2rj9dmby4IY1iv9CeZ4SUnQTe2djvRbzylij6+trSd7259UwwXHe/FdN6hfI+7lIgddJFePslFcl0aoil4JRILtySQw9Q7OyvsaySa+6rTRKQjNqLJhC4HFjR0U+t0o9TkGaAmeMjgDI8m4KiP3jV6F+SiubYR4byEoBxJBpTFCCAQFEM+XYCbRGva3iC2Bw29YoORTulnGjrJsbAWbhrLcrgUiIWpOHB0N6JLT/ji0btgsYSgK2eAfocfCTp9GlbIT2MNxIaL+M3Y6Ua8DYObUpial3rxwbPBm65ibZvuXHgd+a3WxwpACjmY0de86lp6A5mM4VqfRmKI9T3la7hmN+lq2qvNtfvuRjwTA9ZWPlC/1vviZRd8DM8HqfqCF0skAjGsJo4V6TDxs6d5JjrGXBSbvwVkRlerXrPlwzScvm/wFUMK6nnnSv2quPUMO6CxrZWB4tAxWVmSyov/SKX9TPpcz+3UKuwKv4OiTFJKHGnhVdzSXTKva3Eak7ii5ll7i9UD5FQ5JnnMwSwgiIE/I8uXAxCFPE3NmbffMfW5eS2Fa7dRrDwZTWpqUYPBAN3Nhdf/W7tMyYu2aeJZ3o2r68TuFyq151jwKWKvF17KV2eo9kOciHYBrieniF5FEq4N2qCw7ePhQ8XUoVr3uFQeo5yIgvDaYENOAwNduOAIRSE+/CJyUa2K/jx/32r3UlyesYj9EB4raK6JrdNbquu9pYBSxZnea1HN9OdZt/Q2v06Sxz/1seMtx7JYGRuGIsQ61ylPecFMm4+wER20559lx2hW47l81dHA8VDcS2UjJQ9QkvEqWPPiFw5WbZbNCvOlUvShblTLmuXS7uSSKyl7IJVMhpaGHJ5Di6MTVoP2g5sPfSpbjF/6hi0PKro6biGW5HxMZnmPrm0poZxt0oPKqfgJp0r5D6Mno0PSDpaDNH8ZJjMCEm6FjGiu3hyqaSpbNlAQcdiSk5gbuYDAcwqD79I+mjWlttrn/XxCJASI8ERMTgXlWWWsG0t9anGRyUJjofK2yRsqCoZursxdCTvX6Oa8zd8KxVgMOre0GxW2p3nObOEtFVjpbYTehjjdY9FEK9nPuZCSrWA8T8sEyRtkO1fvBsetCa8LR2TDV/OCWRueX49g8OtpO0Lg16Sy7B8azuDT2LY8SeR+qWXFnwwaBAk0RLRNCQJUZwY1K7Xfh17pzr0KexuMdxh2t4dVh03umOTH/O3S7tAC60qlZ0YKS6Nd15tEuLWB0VQUOf1bJZvW5AV4Hs0Ruc4YKagqGkLJ6UPYSpjFozyIoQg5+e/VL8nHwXFynH2eLplAT688lzZqiztQGLDdH5sYf31S8WXJ12jQrDMnY/RIbjewS4VAuTduet1kgnwpv5kQg9QQQEjkLgC6a5RNBvXz/rSc9HcYTDnnv0Qf0JapOws6jQ2au79q+jr8RzlIMTeENb6xZPOALbMq8To6vTusPhskK3cgkq63E+oc3mZwI3qbz9KKY94eGwBnGYlak48ydUiqhA9g8g4IGox5hkiPJBgIqjnRuEiBoUx+D0GCfAUuMMAP6Hhq443KjIQvMOLOA2kGpQsttto7SQI04lxZFeMCew4bkidf6zMashGOriSMdbt68i59VX8xso+a9lOfse5xLptjiZtHeMRkGlzyCQhMxRid3hriOBhGekuUggL3onFdB6gRXA0E++neAKooFlvZ1fbLDi5q0yZL3binIeSeZ0/YzI5J5QGeFrV5Vfqp6DlKThmI9RBtVMq0WHsMast6bE+HkLOeeAEHHKr4ip/cBKGPSSldAkV0zSXFUaBidu8QU1NgkZ0f7zNGQN3LVc5yjx9u1Ew8Zl4fNFMElu+BMCeYVHwNuVEkFOJUqO4c30CkxPlxNQ4gaULnPJnGV2tRkAKIqYWpn1+KsQqZ6OYl2z2SkUQchCs1lApvEedfgePBlKqpLfz48pCOH8Y6i71skhHB5WlOT2CyvxeGAa4p4VhwavWgGQZijHB+mF66hGy3mXWVKqoBSKObCek8j9UNxu65pt8dr800CNs8cnQrT3Ke1JZWIqlYhqmXkdUbXaPR6DAW8JAYN76Xo198oS7ZLUn6j1iNUNiRppPC38n974QoSG5m61FXmrskV/WC0ogvw+A/lVxLFysSagOUI38wA717kbkH8FmPeqSlSDIzm9xLEsfdgMdu+MAPhUx3Kh0NWOuJU7kVviVwlI9urCL16v+jPcM7xsIebyFnxE3bAZbG8rlj2ryhZ3ruORB84hRnQkaNLejO2Vw9d2kC2mpxiBA9OpuBFVYJwjov9QBnfip1tjcLlZLjDlPNQPgkQQXD7FpzgKLPRrwFeX/qHJ3sYOg15X5ai7p5MxOyqTU0IT8yQJmR/UnjOnpI0mHIxC+GY9OVEWOxJQFkVpG0WIT1wzTohEnpCteFwpCmCC4eyeZuDUf972oE29zPOH65QNNRehQYROm17TL0GAIv7+6zTbm0gigDdC+KPxyT7yQWZtYvd6ovefm/hel3AhvB57eCFqbJYBnXaQUOb+9FLweB/3BX51VvF35sDc1Re9j9tRP0/Lve5w24sQFahVDaX4xzgn2TQUl3wsc6z2dJNtQj8UV+X4mIucrqlc3rWxhU9M8HsLc+7EK9jaeNW3u0dmtswaSkAP2gPsyZOD3PLLeeY/Yq8c86IMDYGWGRsGsxRtrP4jqI+D6pTEdzIvVsCa4c1l2EYmDBYjXmEm6WfH8zAMAAUequzfT+a4eEoxKbA8Vb4xhq5HiaJJvmuGydszHD3THoyvdagNcC61WpusOe+00DwZyY8l4yFV/U2xyQ3Yjk77wP42qpC43FaVKofpR45TwO76OgQUTtMo/0p+1bryVUJyqChu4tt1/XbdlxwWbklLOQKbHDb113mpOzFYCG2+5ttNcZVgiAjBzv7XsmL4QqKZslmLhnnOOslxXZJH9GpFrbs1QAuhDQuBZ4S6WL+CG3qB8D+vTdBbRCThnuKxG39EYKGvnr3Ccp6PF+2BYJv3yTqo8Mo2e9OJfulTWSOo3GYEkivkGFfjes2esDtuhwTXf5YMalFYe4JnX7C1M1GjSRKQ+VdRqFOJ+6q7iAiDKHUpLBETd5EMLFUKc+z2gJCabj66xvN3RKu7ZHoavt53fpGEijjFNavjmmfq3F1fY63IlBoVSsjC/Qy7/jAINOw2LxMkrHD8mz1OOzL7OvDPPp+8O/0Wh+OjCGtQS5x/Spy2yHtnyfnlfcmJlrjNIwvmy5BI1TtaUUyCTzpYTm6ZDE3kZlLeVx+rvwDC/xEckxcyx/afvMJ287ac7VkbmJjR8th4llGXVaxvd+9tmybFe6LIN89pWrKEWaGiJTX/3GJDPh1zK0IQ73WG5Ug+MF5GKHtjX8LRPlVQPAWpCyJYETIkSPA9XC2PoEFYDdzMU/nz8s9ZzzGkXk2HEnsdeSSTlwd0Vp2I9UqjrcjYVs7TRxMGLC7P+lzFdsMH5iIq/ajXzN/U6i0TUnsOc+oqyiOFZt9lQwlfujjANoRf2f1XiKUzMNe5hHwxm/+/35nFcZ65NTFHNNQutwckgwkDHrEjp48KCZofrBhBuH7WPcFshDcFNMbYaD4nV+xNxIchpm5xTWR27xOZSI2L9QA8ZjZ6+cUDa3LBnYs+nFpfYlaD7HW1kB342IwZ+FbnxDw5H7jtghkWXPEOHqHeMZzSXs8PEYOrc5U63eSEBUO8UIBiMFGSB+LzjglidEPIUxIUCoOLsWJB81lMVgbg+/puZ9FAuf3tnY4u/CxGzJLBrjje6yfLbDAKQzomEwTFpdIIws8QCsHXb4lN9C9XrTEWii64CXXU1qJUFzOuGXrd/LnO7THfS+3WZqUqfl33P3vggVmuMSndCcdDuMHq3w5S4waVoUg8LzPYzABhyHwOt+Ii2/cXTSCbZ3uiWcnQuTQKEToym46L8c2ttMHFT9OZb4I39YR/36VFRPukzThLNMRz9Po7N9Xo4ZT4mi4Zj7ux0B6SJUAxtrY70Yj6+a982Z9PyhYFgnyEXzbfnz+TS5ZSZ6Pwj73VLCLBLGZ335hKaZtENBwn1kxQdkHFiXkHYQYvCWqYDLRoEfejvlrAegGVpCQldmz+WoK0sqmWGvQ9Ypmg0oKG6K30iXDRmeJLhalenfM5kwD975DGlb5WfVBdodEao7f8r2iMTQTnakZEA8Sj07yjyG+P4Sud6R0tOW7VRzknV6O5PTy7End8X/39/C6WwaDpItT3KLN6F3NDMZUporvqlH5L7XlIzIpP6ZEyC3VTFduK8+VsWX8WfhfA5v0fM8tjGv7lmWsFOznWjP0uUS+GvPzVaLbaWRpLn8UR28bJ2CqSGJkv4XrOyez3uL3CR2zNHcnU8WR1SpkWESwu9DNgBwY4rCF66xaqF6as9a+tYYZenElZQesC6W3sfcOb+3ZSl2VdfkFbBEUV76FUgS6b+fcHg9mpJ9npnxzHXNi45/BO5olpspjo1apsxie33pqfk4AWgo95NGlI4+Gqzw/UmkZy+ToHI8h2+2pJXGJgbWTAPEizfgDH4i93hTzFwnymJqzVuxg044+EN6fFiPoGtN2dSWoklXH5z/+jY9QEt16sJlY5jpatBAaXPl+nc5ZGPWukmb1fsusM87nc2PHw/kGLDzb/JxU7GNlAwc7MPG+NzuFqeEueSsUYxYVDeu2E32Jn1gWI/CWVuuPMZFd0qDu8DrAR6azZfb8OmK19tuWKA26mOZtZwISizgihyMPrsupwu5ZjBA66HAsWdhdpWv2TCuN3HGKZ8LTx8PkiL6dxxXYEf+zh0piplX41VYNPY0m4UD6Rrt7pXhomg6EfliZpHmaENK5JZNT6+j0JTKI7++QbAPfNNLRjGw5uNNk1XazZq/mxnFmnATFQYNNTSZDRkDESwt7ELyQSRHKD7XyN2HFRP9IurFWcvKXICoRCq6Xcl1RR8U2P5CkjWLBvDDETA6djEubk4HwYdCpOELbZCMz6w9jjD9WSE7cuevhNFfdXLkxDwjECrsMQihza/tARYkX4MEawbWRnglwYE0XdL1yP0aygJUVpP82cr8UGnQqliUQoTdUqsTaTiXbqnz6npgO15zFJBF2GgCoWoXKAaxkBUJOcspEUfQDHiAhloKXPitSJVjwXf6gYpAtSortcRcyH9DARVj7s0yh+pfFZtlilxwGGUzbds5XhJL3fyB8Hu7oE1faOYGxFDG42PuSJjhJo/fxD05zwwAhX4g68eR55NGykdhTzBcX0nwu364otJNyblVPnGKC5HkUadcMzgSfKxme2z6wMHV3rJE2XvZBcpkvZ0CTzDzigvDFc7gTjvoQj/L93X93oNaEQ+cnQd2EmMkE0mKfuBUdt0mVuYctATwznBjEtwOjJh8Sxaars/f5uO//9JujgArhaZKm7xAdQ8VOjzcvyFkU7Jf+SUSdGpOr5Tj15EcSoo5xYjjNTnkyDBv3MRpjZmJVeVbNpsdOTTVIc8D20FLq9qrETQO3/DpLeYhppD8XeJrG5bb9/NE7yM07v/4gzdGwxoYxMtvefuOVgdNpOGb89JpU9c+O44Xb37TEGx5TQ7CbQm9llTZvjdPv6Cu0lR+uFkODMba7MeXJ3beUsjxuZDlscwCZRpSOUR9bU7ELz67QFYbJtMHb/JulVcAJWcUh66hzstVRxZ5sL2BrZHW8bSNVRyhNJGEBFADDEIqrVT8XpjvRSAP9zjDshbuKEanAX8uZOkdfvGXTVB5CMjGuPLvVfMa2UFF2PM/bGBreuucw1WCs6W696uaHGQtMJ7NZfcqAJnDC01LgkC0OD4zCiAKvo/lqGRCj/Q/IYxrPDk5DACdyUx6HN5w4sPhQLM/9el4N4CFkx9AWpKFlQnQ4txWvlcFFEj+kX8/9Hd1EV07YfWKuUC/NroZ+4TXKv3TV132UhqW8NEa9kw5vW2rapMQeYvJ6GjrPpPdK03CtkrDg+/fGwsL2CEMTLnKVznfBeRhNgZTIT6I2ExasGkCMNhDQWr57KMLavQSucQt89+YVzgEsBIzy8LsDil43i2sAgcBQiFQyciM2hJnY3NYTW6xKeF2gOnhoe/5zfPM2A9RhiFkp32j48cpts4PagC7zM0a17kFaSpAeoTEcUKA9//jO8n56jIlZsXZ7kd4zD2UjfLSQMQa9S/rn7aS33rNIIMzKaaRPlaoPPavOWSJyl/dkKum5FUKufJ2Oq8uOPEqGBKFeoRSROrIUPtoaSf78yD3V29cRaU2ZslVRpcXY25n6GoY0nqsHFUkrgAxNV99ay0cdeg0/iqq0SfC8DP7p8WxQsjnzjccr/eMQn9vzhKN5NB/dt0LYzHP4XUVQy7TxgrfvJEyNDToBvrRi3NT10R9cMYe1atKrHSwzsVTnbRKWnjjS9N2jRJuAbGl2VCRCCDZgIn7FQhyCnVA2FrmcEG5shtt+MWl27+scAmb4ghaDF1zU/+6xM55I1hKM8ULClhSv1bmY94QOLqzPF3TQiQLN4xuN+jakBmVb1MJQg5s3u+ahlpPkf5inblx9PMsml6Lt2swONGU0IeEdoRQ5GvxxQxlg2OGkRazIAysdx2cHQd9D+VkL4TPPrmN3HMTv/biWmWaiAis/RYEvmgwyPyoeuKN/qC3RDqLL3VAGRjwY8J5GDZqyK29y9BQ5FoRG4+1dg908La+i5t4l3yczV7iNyOsZcBLSkrplyIxRUUrlSmlze3jgxQu204MTn1jWrpWHcnIIOGRn9VWLkqTRtJeKUhUVnhbzISu5iDkO1sGPwinJ6mhuGTNde7zDdffDO9NvDKDSY4UGa/11npmyWLeM294l2I9w+Y3hdk9qkqwaPWCJc5+MStzoWmD/3X6nGJWmsVLQ8vlMiKFJZXvUMahjwa2NrVrkd2ssvw4xgkDoLBTUbwlEHqCXdIACN0Dh3u2786UEri5Z+XJxxS07HAdyka5PFaFn2fFukJ5MBFMGhIZaosFTmmW6H8EyPBdDf1UdzpbTHRCrvYtKxT+4YPFsAM+63smrBUhcU1RGdBoJXICkUoP1i0eSgATkFnGEFwo+jgajCUAplzWtT7H0D9JZY4Vpjy3lnhTVah1hPAEkIPaGDjlZR3AzZzYsgzKomk1YLY05DHvnwQaMhn5DgKeuqBV62+lYojshocv40dp/SwHcSiwKdBJj6CgR49aR8k49kwo4yh4bMCsN0TSULYs2cbcLYGLDDKtfCl6/UDURUoHDyFt7+kCwgZyb3Q13RhbDfNDxW8P/dHUt//0ok+Mf+n6pO7+zm56PuR/YKZQDu1Iw2YxgBkDc9PQJM075hFHUx9gzB1l+gjE43aSHC7wEuOlHtjx3LkKFJsWc62B7qOub9fWNmElHuE8hUUiN9uLNgsIUJ4XzIuJh+mGGU7HXcIQUMtL6tTa1Av9u2TFUAAl4kFvlQNNm6tc2kWZOnePdpXhVqF0OX4I0HKyvs2dRqjHNKE+Y5dHZqQXZiy2RqZHoM5v9hUnSu8I+Tg1ZZkeSfOW7dmlswJL7LJvMXnZxoaBflIa52PeyrteRSqAWFOSTEfqmeoi+yuKPI7ltL2XPTpyxs3Z1W3dOgpvjSOlaUe04GBPeVjHdAFCqY93UgrO2O9VZ79pX6dztS5NZpwMuM+dyW+kF/Cx3v+/lVQseFnXC1sBjyo+E+/KqaE1dUhp8OkOXOjuzuWjR1L8VXNXkNG0thywRLKNPsj3eoWPzsjiFz6N8/TmukBMgo1SQguyAmXgd0QJIJtC7Q8QlNsKY5UJQ60W+WGvj5hyGmiN49RUJRprwKAuwMTidysrdcQ0JRxiG/XmoPRLRsV2AfhcVeHzQdBwFYjQUB41Eg7/eBM+C65yJZfVIVyByb+CR/nb1Gc6OMGLiwKxr06LQLTjoV8uwSOOGYU11ARg9+ta9ejPU1Dyg0UPx4fsLsmve1zVc8T1pDAFQQhtSz+oVImiyVaSuG8i6CmefjHqo2DSANkizN3SXkHzm61Z1TXv5QGGUO8JfyTs1+geh5LvQCrOAcKOtFAxu3Q4hpG8EA12K8xQE6Q7tM8Jg7ozidpSgeUAS9BPZjl3apNuC5z7p8/Yd8RqyJaaxKY+EYTG5izObAg3Ps6yH+oNzRA8yj9GGZrefy5KtWoeAejXD/M+F9RGUBFaUXpxO9P3GNUFuhVsnzqVtjEvmanAKRu96fVGjEnUgFnwW8UqdTQeIOoY9mFY+RcMigyX44lmHNO2KIyiji3MYqXrT86SW0n8muLh3SLtp6Vqj8Zf6Bp/q75yTI6Q0Jek1U0FseONXcQ5ZqDqxM38yJMcAd4+nI0gco+zT5VD0Av27oZeozfK/lE5CTj4Cr0Ho/gUuy6TbWnZx6OrJX4y+z+3t4NaUxv/8bt8oJGTAcmN/WJLf1YHB1sc3MQKS09qC8QV1x/jxBRGVEts+T18WpGpMVPEyAfYKAvPe9QKvKgIxpd5g7Ay4/GWAKr+lx19QFWoijbGkvcYtxle/3KxO4sW/XwKgOlI9sodG8zRgVG2J1Y5vN/Qc+ouadEJn5tOLXWE81vKko6kNsMoacpB0HLm87JEmg1NVW4HNnYNKRJ7PzBsfRpFaKPDiwaLoEgOrRvvMOa3oup5YOsqonLWiqBrPY2JjBG4czMq/2Bs0Jd8+YdVMPM1QbDnO9LWfrqdVru9mwKM8a8npl5g+8EaYKO/tSm4UjdUf3Or80SCEvhQflmu+b2ekpYhu+SodqlxX0McJIV3wahuwKR8vZJ0wm4cL3MBjLUaVvUX7f/+v99bzKhFT2uzHXhlCVdJx1sCTC17DjneaKX/l/tg7Rlqdb9EoekxekLp1vt2EoTxciILsFmv8sFTJr4pQhgaYUtQ5/rwpwC0FxATD5hiU9xczVLRJDwg9LPDMQzdFUJwtziPksaGGOWhKEW07wXfL5NYBJ1snJs6swlMDI5/dpzd4UzTQPe5KWYFTyJSppXXsS8eiW7tXKNwUIQQn8q3APexZ04rwX31ETqehrxNljitU3ZRuedUAPyoOwBT9Pt5weckAeVBrWlxjNTVVXM+uvXFga6yVmta32OJ+EgXMNvEmHs0xvIHjSn1kwBwq3KYFVihsiBu/4sAAy7CH6D86sjlZj7wA3Yi+SHYPsX0O169LIJhCYWkXruzGnyJ5c7ZQZ1Qy5LmH03R1oAggDoQUXiCvbdUbWNlQVwmUx2eQ44JjYDSuAftR20YVrQj1hd01FQmniLvlYo7O5GUqwznflJ8owouh+VBG4NBWWIMmtkqQfy88SmKdXAWUMEJE30Qi4r0+qye7rdRby1UWg6e2dlZQpmCPF3abwEldoxvLje5wsQzhs7BFr70H21BrVSIpggBadw2WtPTx3V1bN/Hhyb4INBU+UECshBWqlXST/Xut5z50strWLg/y33UmydTCxRnw1uWK4i/HPBZw7uvoNw3/VTTqMq2UTIH8EC0Nwtp9Gx6quEXgO7+HBIqnOhEZlOpJYOiaSC7f1NJ8KVxU4S9UAglFYL6RJrzIfQ5LW4sxXMUucqxyOUaGu6L/So9HAxJV/U4UGOJAW01bgFJbXRp5sniphVGor7pBnFRzqg4nUsiXHTkdgjRABplmvm66HY3olj+OYP9iPpsx7XNMwyCb3F+NYVpsWdY6+NTksixB9BJacAHp2Heb5EAGXNpIppUScfw7GygfEwGzJh8PsMN4LGHqHEyUXOE9YQFlC+3J/hR5WV3tLLUXSCWYFmI5/y71muaPYzMs1OSx0BDew1wxmXJS0O3FWWlfTmcCLLUrkLxMQjmfCebIY9ibvxbEGZ5XnVu34UH/zraWQgj6m6YsPI/ZRCtsP6uIc7AG9zT7Nn+QWTO4u7sqyytue6dFQknaGx/HxwqDbT7ZdMRGpnm2+L62Inet7bSGTWLreowdb1Ng+Z7ciWwIeoxu9H0dKRPUMlWsIuOqhxfWqUk7sZl13vHA21P97oUmlR1p58jrnQLe9nyD1S+LsG3AREB4STQ==">
            <a:extLst>
              <a:ext uri="{FF2B5EF4-FFF2-40B4-BE49-F238E27FC236}">
                <a16:creationId xmlns:a16="http://schemas.microsoft.com/office/drawing/2014/main" id="{9FF24D9E-A9CE-46FE-B414-709561E1F626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625087" y="1427228"/>
            <a:ext cx="5066428" cy="2489542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5EF175EA-1842-4B2C-8A6B-312EED9DC1EA}"/>
              </a:ext>
            </a:extLst>
          </p:cNvPr>
          <p:cNvSpPr txBox="1"/>
          <p:nvPr/>
        </p:nvSpPr>
        <p:spPr>
          <a:xfrm>
            <a:off x="3756000" y="1362061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e Lucro por ano (R$)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F1726D9D-B055-49CC-8E5B-D9496C01B564}"/>
              </a:ext>
            </a:extLst>
          </p:cNvPr>
          <p:cNvSpPr txBox="1"/>
          <p:nvPr/>
        </p:nvSpPr>
        <p:spPr>
          <a:xfrm>
            <a:off x="8149327" y="1349821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e Lucro por semestre (R$)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C6911749-89F0-4A3A-9223-BD20AABA0807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3636008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m 36">
            <a:extLst>
              <a:ext uri="{FF2B5EF4-FFF2-40B4-BE49-F238E27FC236}">
                <a16:creationId xmlns:a16="http://schemas.microsoft.com/office/drawing/2014/main" id="{0B74957D-918D-419E-A626-DB6A20977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8475" y="1337530"/>
            <a:ext cx="5906345" cy="3840544"/>
          </a:xfrm>
          <a:prstGeom prst="rect">
            <a:avLst/>
          </a:prstGeom>
        </p:spPr>
      </p:pic>
      <p:sp>
        <p:nvSpPr>
          <p:cNvPr id="32" name="Retângulo 31">
            <a:extLst>
              <a:ext uri="{FF2B5EF4-FFF2-40B4-BE49-F238E27FC236}">
                <a16:creationId xmlns:a16="http://schemas.microsoft.com/office/drawing/2014/main" id="{4AC2A217-C18A-41B6-9CAE-1ECF49F3D3E1}"/>
              </a:ext>
            </a:extLst>
          </p:cNvPr>
          <p:cNvSpPr/>
          <p:nvPr/>
        </p:nvSpPr>
        <p:spPr>
          <a:xfrm>
            <a:off x="184089" y="3871231"/>
            <a:ext cx="2777705" cy="26848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08978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APA DA RECEITA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Estados que mais proporcionam faturamento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9DD4D917-91B7-4F01-981C-F34C7414B035}"/>
              </a:ext>
            </a:extLst>
          </p:cNvPr>
          <p:cNvSpPr txBox="1"/>
          <p:nvPr/>
        </p:nvSpPr>
        <p:spPr>
          <a:xfrm>
            <a:off x="4106591" y="90478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estado americano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3F29811B-397F-4D35-BAE0-DF3878815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9900" y="4299052"/>
            <a:ext cx="790575" cy="1019175"/>
          </a:xfrm>
          <a:prstGeom prst="rect">
            <a:avLst/>
          </a:prstGeom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CF7579F4-00A6-42C7-AD0B-E56E7E098F11}"/>
              </a:ext>
            </a:extLst>
          </p:cNvPr>
          <p:cNvSpPr txBox="1"/>
          <p:nvPr/>
        </p:nvSpPr>
        <p:spPr>
          <a:xfrm>
            <a:off x="7519227" y="3992712"/>
            <a:ext cx="16017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1">
                    <a:lumMod val="50000"/>
                  </a:schemeClr>
                </a:solidFill>
              </a:rPr>
              <a:t>Vendas</a:t>
            </a:r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6B5B16B3-251B-4315-BF3F-72A38E08701E}"/>
              </a:ext>
            </a:extLst>
          </p:cNvPr>
          <p:cNvCxnSpPr/>
          <p:nvPr/>
        </p:nvCxnSpPr>
        <p:spPr>
          <a:xfrm flipV="1">
            <a:off x="2616679" y="3257802"/>
            <a:ext cx="563593" cy="350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ector de Seta Reta 18">
            <a:extLst>
              <a:ext uri="{FF2B5EF4-FFF2-40B4-BE49-F238E27FC236}">
                <a16:creationId xmlns:a16="http://schemas.microsoft.com/office/drawing/2014/main" id="{39F8740A-1EDA-4C1E-8FCD-FB3F74E706AD}"/>
              </a:ext>
            </a:extLst>
          </p:cNvPr>
          <p:cNvCxnSpPr/>
          <p:nvPr/>
        </p:nvCxnSpPr>
        <p:spPr>
          <a:xfrm flipV="1">
            <a:off x="4730530" y="4640169"/>
            <a:ext cx="563593" cy="350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D9AC40CE-2D8F-47FF-BEE8-5BB657955BE1}"/>
              </a:ext>
            </a:extLst>
          </p:cNvPr>
          <p:cNvCxnSpPr>
            <a:cxnSpLocks/>
          </p:cNvCxnSpPr>
          <p:nvPr/>
        </p:nvCxnSpPr>
        <p:spPr>
          <a:xfrm flipH="1">
            <a:off x="8097961" y="2401986"/>
            <a:ext cx="68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C322C509-660C-46EE-A600-5C0F0551F602}"/>
              </a:ext>
            </a:extLst>
          </p:cNvPr>
          <p:cNvSpPr txBox="1"/>
          <p:nvPr/>
        </p:nvSpPr>
        <p:spPr>
          <a:xfrm>
            <a:off x="1142512" y="3485499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Califórnia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8934F212-B479-436B-8256-EC7B8B9D7C0B}"/>
              </a:ext>
            </a:extLst>
          </p:cNvPr>
          <p:cNvSpPr txBox="1"/>
          <p:nvPr/>
        </p:nvSpPr>
        <p:spPr>
          <a:xfrm>
            <a:off x="3370330" y="4867866"/>
            <a:ext cx="2214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Texa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C22BE55-F4B0-4FBA-B8BE-46926753F428}"/>
              </a:ext>
            </a:extLst>
          </p:cNvPr>
          <p:cNvSpPr txBox="1"/>
          <p:nvPr/>
        </p:nvSpPr>
        <p:spPr>
          <a:xfrm>
            <a:off x="8084669" y="2267301"/>
            <a:ext cx="22653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New York</a:t>
            </a:r>
          </a:p>
        </p:txBody>
      </p: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E0BC420E-5DEF-434C-A393-3CF89DA32A3C}"/>
              </a:ext>
            </a:extLst>
          </p:cNvPr>
          <p:cNvCxnSpPr>
            <a:cxnSpLocks/>
          </p:cNvCxnSpPr>
          <p:nvPr/>
        </p:nvCxnSpPr>
        <p:spPr>
          <a:xfrm>
            <a:off x="805191" y="4026118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D34A1994-ECAB-46F2-B33C-108273882875}"/>
              </a:ext>
            </a:extLst>
          </p:cNvPr>
          <p:cNvSpPr txBox="1"/>
          <p:nvPr/>
        </p:nvSpPr>
        <p:spPr>
          <a:xfrm>
            <a:off x="235847" y="3888100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35F9AE1F-C27D-486D-828E-344B5D8D4D38}"/>
              </a:ext>
            </a:extLst>
          </p:cNvPr>
          <p:cNvSpPr txBox="1"/>
          <p:nvPr/>
        </p:nvSpPr>
        <p:spPr>
          <a:xfrm>
            <a:off x="215413" y="4247746"/>
            <a:ext cx="251891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alifórnia, Nova Iorque e Texas são os principais estados americanos quando se trata de geração de receit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A empresa possui clientes em quase todos os estados, com exceção do Alaska e do Havaí.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0ED7D9F6-A0C7-4969-9518-DAE3F490B7A0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264245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M/X7kRW8VLQ1pD4YLfbP7pOTu5xwujjiwgDEonr3XHY78/kl7mqVk59bY1ZCnT5IalPegYybCxjB6sR8KJrRcKbqAg0IqI0e4pAxIw3fJOUnKO9Sdw4EEzMt5T/8F50WAYUPaJMPWRoownMqEooURj0FOwDf3oPKrY/vo5yWOMTIf8fYTkaHLzPochFWnjc1wfycAUVtMiFbF7EMC1Zivww1c2MOeuiji50BRZC+KPODZ2t3h/IfSeRxGHUE3V/MHm4o771oRCSpL4oi/QOgcmKhBr2wKzUv8QcK+WuUVFurLBI+H4z0+YFeGOU8nheFJo0jPd3xKSV//dpnp0FcWAxYGOX8DPauwWEesm9LLX5IPQxWqBSVPV+RiKYHL6L8DN/TapmKa4oz9as9Gse4CGfc0YCnd/gLstJy8KHJQhce3kCY10z5wFoEPNpJmORQ6OMfPW1Juzg64bd8Mn5hkIrHFd8b0kedAs/zBLkEsGMFsWGwVre7xJdVMb6CHPq8VvqPEgxM3wQjEOozyAD4q5iBlja6zA840Fs71CLLV0w5c/J5SVbv+zGPLD8Nn3810N5TnZkyJqDCpBL1HpNjPQLjyRMTSUxs4i/eZGRnbmVoC4u6zh0x+43IwZnWYlQFMTqiwsd9nmwyPykBL0qetlu88lF0BKysgZa5Ui6NDRFeqa5r2POMRxa/kdjnNWkWtvrRc/UsdklubXHxhzsWjWBUnTwQ7XxCJEMxZMB2dv8kQtwsuPu8HgOxBTF8Fc2mXdyqQaMz+vSeWLiiSox+oadrx3FvQ0xCmhtKeprTLX1lQjgIqReXom768OF2NRkXW4+YRyBjCCuLzCaFFOFTD4LtpQnNP9365XRuxDI/olKFjA4u59ZZ69yMO2CV5F6QQJC5+34ovLDoXbsoAdvWjE5A3XV9DjRnItvK1QkPyxZlAZMEGjSC9ecnAIh9ioXUONuPxhHdTZRL916HMP/8h9GX46zla2KXWP9BaxG7sq51I6zG8TatdaqlSwnWPDbhLu19wpoZ31s0it6s8PnHLsMYUAyMc2UGKPZ3mVU/FARAqLSKsIyia00BJY7XGHb/5vUTg2YYAoKumsqfaWhwxCIcj7dUEagvdBa7YKx8qKVY8sqBKoxcERTVqzs8bjwyU5eEqw5rizCGb9aEJxShtbebqE9cPjj9pQz5Ayn+PH7E5waoU6H3HMadeiLG29quYOlVhMCaN73FoWGkJQCJvp5zeBC8+kbOyb4dXU89QSOESebNqu7AwQyDOGgHDEO1WyoiPdJ8ml0Rz3UvZxLWKAOYDoCuVwdvQfyImCu7u7PNVUD0nuJo9wXUoe0cV6l5bgAF9wYswy4FOGgyVR7cmONLPQoBZEPi2qteua4WR1uvzuG+W/v5FhVrCYNm7c0lvurlXnzs2G9uth03z/lzVcdgUrQDynjMSuWYOim8sPuTCdOk4tn1BwHZRCwKz60o2KKRbusFlcTgS8Nvlv9SfPYNVKqmq1Rh44d4bwJ7PZWo+d5nHjouB/Cp0xfzkuT8N2T/Rv+Ad6H+/3hUECe0ldHjLxMtpCMicCA1R1DD2dosVcWb9TSZY1NGi2VaYFw8ZbDKFlrSArQ3OZWy82HNW6qJzBxahB68cteHMVoCcqlhmITrq+0zF4U3L+yxMGX9iEl4zr8YdaPvM+k+sv4bJhSjimxJJ2fgobSKxpDkdWcWTSAd6GTff2ziu55Mw7UI8pjHr7NJFBx7CghWcS5P2qewSuQ6cxtTqN7z8jY2t8EHDkYa9JkVPFuIUdoBgAxeAxFS6ecTRNftVUxa28/dapgkthhj7AZUnscv3+8RSnhIflUFNIVnvBIJ9lRn3tfGRZY2+oNBsntQ1YOaYWHu93U+I3t5vY7jNX+gaJuFn6IsmvB/Q3VDT71rupTdbLP3Akea6qg1MqvhXAKiCv7tqMBm2zEDzZ1KFnRkWrNEnkixp/sZhW2DgjAGOgn7yhT5n/UhiANyJjQpZ7xofLCzyXPQDZDo2ikWejhRZ0UbztR43M6FekLETNzmd96aZeVcLR+T5p+Fl5wXrv6y9q3RqFkGJXlz7XhFblXLJr+SZ6vMKr+fjBr8y3TSdmQmmryQSMlwAQKtsGtoOjVZeFR1OlcAWa/lx/MC0DaIZLqK3PI7bEp/gF5eh6cvX7fqKrDGA0AO298xkB+7wfOGq4gF6Bt3NWtUlYHG6OSHQrYPtUwSRSFrPxrSA7ikzl8AXWTEdGtzWT1D1grwUm8vcjgWkul6sKmZ6JUBfLSNtbjZKMp9vh01bWJDp94upwaMjvzTN5mv386cswQNLZpeYkGWAQ6RHLAhkvObpRoSpV/n7bJ0qstZnffq6dbs4evEKW6novtMqLKx5knuxEXSnpScSYTHnBZs+x7rh7IAPvbKxiRoDld2+OGd7xLJaHo7syTgfr0q+vOq3zKK1khm2P1tmQFXV1tmorzEmdsIYCTnnzB2BjEtkryaNT5ANmWKayYj86Mfvo5cjwHRPDFXGV3GOcgB04p/cwYaSN4APamdLbtWgvyFmB0zFRwDCoLECtD4fSan/6dc8TNCuapv6wicERWzoWjK1ATRvc4qFeK7Ood5pjTbhjsGGd9+/q9kr7+VrpQRZ5pu07+XfLqpU1LfpOj/l7WDMU/N6V6EmcDc6P7wgaV2qGCH6s6xwVEFPIqsWBC6tMMs03TMxU3U+Gycf3x4OaEAHWGv6XzmeLqh4JxdhrKZRQ4Qk1H2m9uy1HQm9a6KYsoODivklVQn9a8J90tCWOqHTh+/TLXij5wz81iqqq5BflipnwXBNtYTFJ8s0Gzhbmnih3V4cCARxmrSwPbiUq2IcPMU1PxROgWTqA+qAUCSEsfakeVPz+Q9/sOTfK6KWrcCKVyMmxA5SyZCg4rAR70qQbW1y/+QGRI7/1UwydgD9ymV7R0MANoFVyTe5tRSB/Vj0asDNC/kMRrKse+/aP3pg5lsPwDwDfWTjvXepFev+SgfGYpRz0XKsmGFhcx0H1xYvv/Fjl95rg7qwrozyxpp4F2XJFZey6Bz44+c+Q8QugQFfPXZwKDVL1xJ4wbsUVMq6alJLrAnzqZcVsFth5A5ZRT3vveimUbfPNJU2lGSMaPHIFmhcE+uMYMzKRWiZGE35Mi4w2oltH4iDVUGH7xyfItPa7somOCZb2s9CVcAQjbQq09HLJJl8jkOVigqNgACvK5etGppUCR19n8V9hG87utcH5K8ZiuWq2Yp3B6Z/pdvPGqesmVykheAAuQPbIyBDBg0P5EQyOm3M+XTWBYU9q9DrIeNO+YmAOgp15dQ+hjpcTjUGYiA/3OQUJ0KRgLl9Ox20GGSechg0sW6VosBojFUdV22SjR47dSZWCwWGM7Z44ANPf2Ns5/hovU6h7PgtHk43qkd/fwIwQv7FbSzQH7Vae78Kuf7VIEAv7xvGWCRDCfqMuIPtj3ZYr0YbyWHBViEuYN9lygRwRFPwvXu7b3N0Ibx08IrsBeRSJPtG/Focjery+pvnCc2pJnSwOP1yy6wEnuW+8BW+iDSR91c3KZn2Jz32Zt1NLFPMBWSgfnJnSoYpvG0dXHzJBS4bVsHGWROBQxzHc0WCbi/v8vEkLR1mW2ZHdRdqhWYBlUwy+Z/UHd4u8xTWVkfYOcCLPwWBRFx+nTc3QwhLmjiqQXe+fz4AnVmi0QIZSPScjwQwAbbzIcPW5yCObwRp4f3m+RaV+MvrbHblPt4HT1J7PWT2UygQVDG4NzWuEkClT1xSIfP+WfOZRn0g+Ydb4kJKF0CLpkU7gxYmd7G+/NFSroSSkBD09rgaUPg2mvSFz39NUUHX7wQDiJMQH1UJSAPNFCr7cXML7M89Fie9szDBHCLqCAH7g5K7IAoa3WRvamB//Kw1+rJm9bt/2d8lBHFWsjZ0w4N7u5o2H1z8xkIQKWkWX9EtpPTuAWVGGHi/tg41bA/8hl0RIck+2xU9T6NgZPuP4GsOGHhiyGRpftalwkA/j6vDYNVHBsMtQJJGgJldfmlB2G7bqNzy9pg9wFoaI2jyBtBWamIHWGyUfWqep/GZEB/iKZFYzjHDP7ZldN6LFBXSjtFU34bCSBsw2kMhGTIb4jeB0zM5LF5raFzbqO2noFmTS8/AMT2uJJTqp2B9c6cKSBvzC3a2KqXyo64T4wek5NkPGUry5BZLl6UYdbo6NtdimKEpmvfK+GlPyHmOoFBys2eGKahYsbFR/mHMucUE3bOJyXPCE1hYRIrCQJv5qpOpBWK7LWaGT064meAGBv6ML8WbN3g0ftG8SFhpBlwawNZoQ0jzuMpQT6w+x+oGecS++JPbhg3gWNXfRonL3s2EC9TmtUJfXpk3I6aRa+L4b51oJR7EGJSL7LPrNXerFLQeZQghlCHXebIc0gq8gzdSJqxRdJhXCOKaAWsskaS4Svn4GL1Ret0W4gWGyG8OodX/A8mQDtWgglm2Z3gxKM7QeMM7vlmWw7uVuMDqyfR4DjkgiRvtiIo+iwA89orceK9WKg6B/pfgtNrshgLIO1w63AB7lvl+ZcON6DAlp7IAGwXDVXofNR3zIznH3wt2KFK8ZaHNkAISOvgCXUzAs5CaeloezUZ5GhX7f/kr+wm2VnX4gdIpOqDmFdHktRL4QY8H+9yXhSF0IqcttAbJ1rtO3TMpPWTiGuyzHr9QB9FEwOyEvri3KYxWjlVlzDRkz7bXCrcuOBgTUHkmbiwj2WMIGqevnt8Pd29LA4BIEiLUAYenlYqG3mTM4KL3Z9v/WJTj0rgEvMc0Kia0P8xthh9QcF3lXHDMNcsOFSU/lvVOYxYd4ZEXgfGmy0jQWrp+Wp7wqdCpsh+Hprr6RM4PY/vl+Vy232o6BfGK5R90lj8BFptLQe0HTXEIBhRvWcUj+wbsco0Jql8nP9IzRGg1nCJ91+/0IQw1VHNOjFjidelRzFsYEICt2AgC8CTni9JdnREKoJAtNxS0F2wx/ZhfPc+NTDpZcymh/yc77XvkEi646UWTYz3Zk/Wba0xiv1+NtkZGWSkpmQehwxYl+qm5I50Dz2Kb8edOUVWyLSwqbYsNnTehLWFwZfjz/qvsqlhr/ungPBWDwe0bal/fmzrMbns48xBoEM+lvaKqNAKUjU9cnUyBXVS1TcGVe0s5NkZS0wg24Bqtw7TbCz8nEes/V9aNnKVH8d2zaobD0n/LlHgrPSLLXW8Dr7Jcazcezw6q4j2+5vqW2CvETtZMMKikStM6dsIc+gVovO3KOAzEZ/oZQeaTY2KzRwdwJVGbwvLKqsdm50fqT4n/LX9R7w10/hDeEqz8ofSJ+KQuWL46Iy7IVDptjvtVwSd77ZEnADZWVS7VjAkOo2c0fdedEot/EgpbS7dfbv5pZDxAjJ7YwY1zklLhGlvzE9MY8WQoXJXhAmOc1hEChkBJCfd2xzUN94ujlmFMKW5U4ns3Okx6S18Lwlcqjyxw+9nmF3HD3ZgbAmk62eMTlnla9bMHa6W9B1nyHRc8mpT3hHbaUEWp44fa6cCy4Ji1od0aVdOppRFZeP0HXQWWMfb4OvRNhMsq6BI5Rb4r3dgBnR1ep2uCpUMsTK1GwSx4k40AZhjcEHwUqR4MkSx4Ysd2SPvSnsOBzyrFhTCl6E8ji2sMe9svaB7QvY/avVX/R+V51LaTFBF2UAvUxrOrmVX403XpAXa+mR5KLWSiVLh53Ok6+wmoCskdl89yeuZpQ9MoDCW4XUeL+gBvQrfZR3sW8a5vlQGu1ZSEWQCCokKUiHiwpePbjf+5vrcT9LTUWaBmK3Z2mPQ4/Enakl8FS2tB7dMzoPolRVGkTVumn7aFEEUuN1IBfmQu1KPKaIw+r7eTtakEyaTGhGUj6LkxNKasWdJYUjIFwWuhWdH/r3F0Dv0lcmLQA6720LuLEqUzKHFeHXEhNz0OJQdH5eePO5f2SmGgj8fJAHz1nzExIlRdzUbyjaBvG0taq6P5flj+CCHRiHylWOEh0yWXzHcLl5PseiItG+rWyo6RctTs00tWVDACK+Gz65HTpCpPWANoP9pXEfFnVXZvvnabwU/UkwmLPRUVwAoxYrn4dxDijCRI5lDjkfvQ3rdgeEt1BXAENJf/ayTVkXYKuA14NzMRH3E+kq6zW/0TS8GBt737VyOhiY6i7yzu2FFS9HjFEb2pueBlAGeeVHjs6y21T58Lf0Rtkxgnv9OQh0qAEyz8UjcLJp8jjo2Z2owY4OuI6ii2qJLVaTpOyMvL5YLM3jr08r8hvRCCbtpM6Padx2tELnlZJqquZY3FZ2knXHqYvShiPUMPWsJlHX4OiHydFWgAbd4dHOXywzZxoaMIcsCoxCSE07aAIrXFJB4KsebKX+uxyPMCdw3IjZ2j4vFnmeoBBQdXMwFkJU0pXJRBytR2H5U9jn4EPTHH4Rm9nacLCwGe7SfUE3V2+Tew8cfxVUH0fguuWjnxJdTGoPfgLhqYEZE7dKNr46oMiOl5/sxsS4+HJC8RPeZJy1uqE+5WXef6qMxk3xFl0mfveAyMpzqM/dQF8H8hCmUc5kaj7KV9yKNelvOKaj4uI/dbJ6wZmXhK4WfM2PxWtyLOJhmGqDoB4tlwTCke20Y+E8ZI1ZTFYm07ToMR6bp3YW6wkEDrg8MaI54UEk0J9rfZKy7o7CEa4lXoVi2p6LXT+5e+m1I0/xGuR1C4+zx7+ZqcOQkbCkeC0FGBFrwrysQ/MkJyRO+DaeYzvITr4DwvxOFezSY2O/InTMWEnEz7gL9CW292FSJ+ndtIdPIXxxJYDrrvsdW4x1Z/SfTAtMI07jCIqqKoQXW5QmDnyclpbwy28W0rYOF+9YzCYkgWmN6+mEen/f3i6UnaK8zzkuv/pcmWgUkvy61+L4ldL8uxyPTHUEgk83je06lyinL/dB2Izb6yWqdsUIcw/YNU0lrSMqOzA3jGuIIFRYVjCynj1IMQCKVIwg+t9SkxhpJ3JwfURm28SK1FDOy8N09Qt/Mk/07fhmh/GS4c8bhKZcsJtBIfD1e6eg77aOaZrhBh5p784ZAI9b5E8Qs4XAiaP+PUIdg93mEPHHGrHS3dDjrapHCKvNupzqor1QBL77Swx0yrwzWfUKr1kLJ7GDC6aTfxOIVmGegIPQh5kD4uk8AauAzX7j8lkROerPhd7nXt/ujlFX3tNxukENjoxgUI6EF4z1Onu4X8B3IFJiE2+dGRJsiJJ0W+RBFqQb0XAon/VjZwmRXAUxAeziCUBG5KvwKPz93fDQg1zAj/F3zZX6+5VjGkJC0z4OMN3fA2B5Up8IvdlfHLWTHCIH364ffYh8bK3xkmGXGZ9YrLec6kWBsWnASHEkqyAGiin7Y9rHPcD7Ah2nM1XpG9ICZOJpbMHAPHPMQoDc3tOO0sPkY3aAeDYfoPUX6+gUJ9nFykhr/FM4inARiq/BirQsXTubxrGSPXPHNfMozg1A38dynUwpthevO+9BU1p5mnDM22AqJdNi8WpyplDlBvcT+GK6w5VbqLuhhcjc4poMKULdxcuwHUM4dKNoUq7rVynKCBwRzb/zW4+HNw6S0Uzck0yZxtYUYVIOFDrwcFUv7w+bxRjoLsd+4Cg85bG3VWXjzImakn97xx4YUKvLQLyXXJ6BjTbEKOcemEEHaBTk4fLT/y5Z0wWds3yZTW+jDrk+eDejJANlef2bnfh6hFlIut4lyokTvK0blb2wVbpMnvTQzfjprYUOmuiXuefV1J85ZZYqMR6gnt9U0vBruU8bCNB4tB86Y5ZE55pY0U6Y0yBFuGQLllleqw9MDf7YixsS1tROxruAnseXstW5wp09LqDyWr18VwlZe+MmOKkJyEtv3ijsYBNvPdh7Ww0u2Q+16sU6vJYau6EwUkwtCqKxU/WcBpTYzJBad1EmR3zfpNjJtXZt26EJ0XbJK8mM3a297TpSQlOi6C12BmrPid1Wch/0DoDwjpMoT4cM8d9cE3ZfCldvM5SBideb6w/C1CvVE7HRvstw+aHYnNhQkvEZ7BNlKlFxhJAhf+xyFhvDgoSh6KPLZUCaHu4Lr3n5E3YXikwBHroqQkV6N/X1hapOIqHximpp2MvznITe9/5svjgJ2iN/fhlnUNsLMA5WDsk8Q/0cBFr83NqUD2z6hMsh/9XjoLitdC2REX+ubHlXStBLsxsQQ+mzKILLJbeWfye6hOUvbprZ3XFVNZITqrYYRJR8aM2mEbrLQu1XfZcDTE+xhMm5lPgp9fk33UuQmyMI3pjljxO4pdMn9MopvMUScC4dF252t0jpVYmAi6D7a8T4EgYpR01kJgmrc2N4M5yesctpx66NnIrBHHZh7wO6kwFXP/1kBarY5kKpKI56Sp9nFv/FF4MzmlYQEeKbNr58F65xfiLOAxVa0ADpZrzLi77ax0zSF1pfWF5xVUcJ2IzXn1XPiFf8tBBhRLhFTKLQQ84C3Mjno0nLJpCYz61anWpfTLkFr1djb/AB4bVjZ2TaC7i1nUWUlJQ5SPE1ezwVQXFQZhWqcDfSkBkXOj5U1DQIGvivS2R2Sa7vOvjT7fg6ciAl4mGhcpv5m6868ArpeloIwXf/qsB3aPzjfE9filUubjKE1CKzTXlbkmULN/U2pF2t8W22Oh5uBfmRH5wZCvU24daQM2Po8pga+Yfa9CrV+2E+7EZFSvVfMSTRzfZbfr6EPVjMRclXjv3nZfQipfqvsolV99fSpt+CiollWzfVKnPW3+xKKxaEifWVifv+Yy7r+2Ste5M5A7vq6eNk1mkhFS8mJHoa2JKakcEnuk5GKtAKLv5QiBG7e1dqeyK3Xku7/3U1ZvYqkACj3zyiSIIK6AEMOLmSwzXbAt0YPd8Z2u1a4dvpDXlb8kFDdROBdN0Jnqx6g8B7TDCBzqoJc2+bl0VV6q5ul6gdZn8eX1HwPtuDMpvU/Dgf10ZCR0GKRVbA0u27722fyImN8PI9uY8g5aK8A56LsBEYW3ksXssT//+zJsDYNcJqH+pDD7pBAuffH1Ng5tpdRqUSSFJOJwvkZpZ5Ooszj/WngdTxwYpI7DM2TmED43zjOUI6wWw/O06uSQM4ZAVGknJiFjGsGFpC00IpC3jFGqWYSHZJuRC/gA8+E0RtwQ9xvu2FAqTAzh3eGYmyCUPZFoOFU0z94z2EWoSsUtjoNcMAPfiuDTLShNUuI4ea8nVia8VHEYMUJZRraSfwegiDcFM70KmQKU5VIafOigU0gkOegEinXgJfe+8anFhCxB/hZ0Cq9yIa6qUujGLgR86ON1wMKgxW6BSFHAokzMEc+8F8oMS0GBAiGRVSV0GObvZ0k3PzXnjlOzsB1sx82Vl6QSdQdu1xVpdDJ7mEtfyKilaP5UxGaxrUy/SBy4mMcLd8PsBi28PGju0FNvrJwuv6CdFZnZmQo9XCJ8LXkSqg2dnXanKaxRLxbKqQomClOGP0bFnVqGhS8Ikd4jQ3VEVlDIhxgvTVbG7fZXWl0mGfYOrafiwS5zW9Fz5TkE5AAdM5J67tvhOZ7+pmggXsFEnUrgI1vdSgAtB3OlveyYuJnsrONitiKFc6ZStWk+YcPEZ2rajoSJqfD/6Ko/qo3x5Mj29s2cBroVtbeKV5yrNhTJNv8Ec98DiujiCe1qoWqEX/+EoitjXZoSLVkzApUrzTMgPBLfT+g3rbiHh0bM8ABUgB45KeNA5k98lAHQ40X2OGKTXmc//LYL0lP5z5luxNyZEeebPAg6k4OjOzxNMrp/ldTOdRlCJmgnrx0Jdj8bJQP0o4RYMNVJDhNN38EfBiMjfaM+CkiIgoueDCGWCjSUMyl6dIwnuRz2NQTlfK4+bYwDtCfMjuexXbmLg7CPBMaPLOSWUVNITY2orZNIR5u+FdtL91ID8ubl5AZBpUzyaIOHy0wMJqNMy71sI9XNvIBJY6lz4SjKN1CTvSSRtEZvgOYHRVR11iqHpi69b5IdB9pYp5pa5eek83TbLNH8SjmpUk9SkYBQyUNrppyL/w6POFRkGtaX3L2wYWdU6tVwUIi56qDX+M7u5PH+0eS2S2xiBQYeijfbkqm5lIFo8JkqSmJpm8f4vR9FEQlJx6+6i7t45RoMdIiXlekekwYqjtu805VJhkRbThp4D9ZH0CHENz32bqllTY8RLK2bTQTgdJvi68o6C22LxMP32atdTn5+ILNpDQIiTx4cq3AF5PO3ZvZ0k2QJfWooWYR4gfDrBwRt/yJGxF2110isl1j7cmHFQs3pjr5GCiYje3CTY6WWLgLeTKqsDe9L0Q1mpr/rKFt7xrQnq2rZ5e/GCKSOwjTryiHZqpqRFkIZJmYvuVe9KdkGgsHLFswwbi4EabfnQulzig1ZBYfUdV7uiehU7VRtJ0wm9faGxDyaQvUyfHIFz4PXOjBqFRsmGi1aPpHt8LBwctt67aGysSPQR/DAFJjuPWUqInJGGYevCVMU/RA4C0VMrKTEBTVbWhCHoWisT+etVRZTFooVPwbPJ/ZJGm2xL97oBgBcXLAi4XFBlbO4/V2LSme/0KMk5meps2FWvEYMiXpD6HzNWKr9gGWCQTIjM9VYyO4cSQBALZh9NbFm+ZoaGIkChQIZPR54XpdkqPnlPGDLw2WRSI3roppcLzgrnoTpgMgM1qJm9oKL/0FN8YGnfBpzolGPAZnTzORUndsqvP727c0hiBi1RiY4xqhHT1t7OyZqa1DrhHCk2mEj5XnKYmM+ShD9KAE+xboamUvcUjsqQzYuA8VKRtVpT92kujaJYPhchdFHKaE5/c5mNlWTgNCSgWmgo7IFBb0LF9JetTVPAgrWj6h7GgnREZRRjoGebKTzbFF1O796nYEQMp6LolDYThXVwa4JOXOi1myoIjCjBinT9FuUHoC8jISvzJWiCXGIow6O4xIpHiNGPqdE/izJ/skuQgRQil2WUH0z+f3wAcoQaOIeeuN2UlaBpw8zEM3Q/pbYLYr8zqlfU1fvPwv6RpEiXqIm2t/VGYezmJ9ob1rl8tPLOVP6ZMJ1OP9VqfnrOWrr5NW2TkDzRATD/cWJsogADbVrQj8vA/veQgH+I6IYVUv0wwhR3D7eCBj19s6UOyM4gM+zwExEQPZMUMT/LsvukTMqBWJyVTZz7WFR8P8EwFq5hzbN/00PmKN80Wz04OVG1rc5iD8OQuV7NkRuPNc/KOmSp3stEKAvZxFFyzCAfkyq8cbyXkh944U0n2dcZghdwf4hhBt8ESbe+e/ssHjQh8sBYlBLpPJ3OTdLt32pyFe0tT3O78kzQaICX+Y5F12y/Sn0Df5zKLru03WHP97wUU3sUvZSfxkwulOnYbcDdCSIVaZZIfCNiRnhe6rCIZjA8Ov95ggYrWiwq/rlAmZy75W60RzQuyscjoCXfsy6+wL81HvWWM34JmzuKDxwavD1QZrlGoEQSFln1iOEgwNNCpHqeqAOBvR7KsQ2zSpmXFtCBUBXrK2k2bStt67KUm+nCeC8YeipvevuYnjyUIV4gFSrA2kqfUlVasbHaimaghcxvZ4teGBdvIPLyOYRXr3E/9ThMgE7rjs1nzBsV1E1fwS1LaRJX73+CS9dGTD8BXTGLCWPjjVJ8UB0bsoNwOQ65J6tIjuEk7z8rhjA8ksEEv0CsLqrWK4x/mCb1to3VnoOxNZILqELVfirM7AD/0ywkNSV9jRbLWyKwMV4nlmwmrUHONNmvknKXjkghokHqx8saQj2bqfNbS2u3/qWKD/fG4U/xjHIGmf3FGIJZTpuLzRU1N63q6EKRpqixCVNk6QVc4wbcnzhCCkGM4SG4h1KuaMNF7/piPUPZqg+xZ+t2R5KhWwxSYfwTgzOtTNzqnCAME37d3xSJ48IZpqpQs5NKdC47qMr9Iy2ZCiu2NKN5VLeoIQx+YAkwktq5sevtQxLnf9jCtfMGSd2ClfT9O6xC8pu4dc+8Hs0M6/rYOZf/cjLF9TQF2DsGhovTUe45jWEgbB0bASiPuowVwdwdLKCLdMKa1XjeFlqLj4lE4dCxzcP7TNGb4yQRj7NXtQL3LCaj76B66KLtSIlfgq2+K7gNFbX5Iz+XtbXCGasQhis19dKJug92TdAE6giGof//86VWVqblN2tLhWbJwirY/xGZMu4SlNAu6Q7BK3APlPffMq2nOScnkAnRoXytIQsesI/2n9VCd7U9nAVBHge1UGcEiilJW0tZitKOIXz4vqFeui4tGbHtvQdwWlcW8wSS04fToHIa1WYyQ4s+hBzEZp9yklPl9TyM5QFkSNixm7qaqGYSDPyt9N9zj7HK4aahNOsR2zXBmDJnxlPbgYKq3xFeY7d2xSgXb+0pAoG6aquXV1UIb+06/smYAEreL6WGzVFYhkgXMt4yrwfBAKTXXDIX5hdwO1sOuw0JdyYIvFzwJ79cBnxQpgvIvODvnBuKubhUv4JhdPd8tZBZ4k4GaQXAOkAoFQLtxSzZFZJBDny+GOzhYPGMyw0jSMYRDhUGUH6Os0z96vBv+ITIvdsPYhHSSGfxEUHc/4r+zq9035SesNUautFBXfMVzp0YVbkzNaoPkmfPYQtZB+WdmgEUfLa9djhxQTG8I2oxyDqKmUHC5xOzVuZ8mckMJjoXT330GyvbkrRsh9LoZwys1jpGwSHaNjft5eEGTNzjJannS3XpspH9nDoGtE0FKmmfBtQ98svn3J6TQvMQ3iuVYW7t0SBTbxCV8/sERLR68R+YKbiATGkRmdLe3Oqeu003OMbNf4L129VZ+KQY53BF8uTiGI0moT5qGWfYsS6ALczKMfHTkjJFmFMV8xl9zq7XqiV87nsN588bfqnYnJSDn4JJeltQJD62QppHcicSVD4trY5zb0N8J+NXxzhd2Ke/cGQWv6DFo1MXPFp2fnSdl1/jsV7azlDkV1HL04EDjvJihdNIC4waT+nDWtuBJUbOr5T7bW+kAuAKFby0Qg7/O6bGxmc2tBBN/BiZuhOU1W+NLWf9Xp2Nejrz3EkP0XCTdRNvhxq+IvOQkqsHw1KFrl1j0Ss3O1QBScDu+sNvOye6oJFXfd8UHlCtsLaPSY+7/n5apEnW604HQ18CkzhKQtkui85Ri3QULbZX/EvI3pgVbaAWKUC6Mue8Xuac2JXuZEhCwdGWqMOXC4jW4s1CJu59qubzHx1KybhDxPlfPHcktbCLTeX4uSlsWWaHhkI2ooosDUaQ4mtNJKAUNIlUoDxRqtcB+aCzmCjDXuzXOfOxvHMLbYpceN0ojp84Yd1YkSo7RaGXSbKx83nX+qoJwZwonpXCZ3G0ssSJi6zPEpVQLgeVewSDVXEs7HB/uvNKFmwdWFqJChbcYxMZlXgOvdKM365PeQagmpN4250ZwOBicW8bAt7+wLRaxN7sQIa3Dws1T1f9q+vQlSXD0f/49wcmc1zIVSaxt7hX5BLPxFsv1etPe4es1fXFCWOS/VGwMC8Dt44CmXLwgx0emEIXmMRzD9P8dJ3rn3Uz98I4hHVd616wfp3pitMz9ujtkzf0GJNkz7uGZ/fEavOY/dA1Cgngt8HRWQ4cWctkah8dPAxIKukyUcYfW1wwhmovRf8nFDhQSSUww/vsyb2QhexEoq2bphorz68LLwmDqpNvZoLjz+UdcQBEdMKRBf5WiS6neH3AFuHPbmUPGn2yT025Oy5rL7eK40I6wmAkU06SvM6eIcMv/sPIR4ErtQPloUJGCq+lJ9q+m2nspDjfq/V2eSe9F+7VlNRJ3vKTBOl974akOiKIroRWeKPV4SIVWj4S6zU6Xi2/IjTOx+df1+6ZV+Pvox2kRyaCtXDFAZB6XWMk/yg3XXI/z0w7lNxTwe8uAfNRLMGLZ7AVYZlfbncCjRlxbmZhVTCFlVzDohR/ULelFwSWvwtjrAgMuKdH+1de35I9kyrEIm0F1lY2X0Mr4rCwgyYfjZt/zzh3s8SZ7LzqIWaTKI3LecStk37prksWY4Hq+Q0aXWDVBM8tnzLjWKLfGLNnZk1AWkBgQqblsLhk0dOC2vrRVcpeGqaVxpKvW1iw5z+mPPK5qxq4jhBuqTjYzONPHbsT4CqTXM0gjBHgRR7tYbFG2kony5g3SlpjmbWFv1Ii188rN8O90wV8i6Nc4qFrG39MlpcYw0lYktJpaCARwF+M5v73BlUEbqWBKT1RuLb8JXz46bgKuFlzHBtOWDfKf3FI1ZI4wrz6ybxUifGt8oI+37aXr6GdN4ftxmHnXFEbidVyb5bCdp2c0zSCdH2VkdSBQIl2WCaO+DLrl16XP61XaUEjVwW66jRrA25/JyFaEsO/rCkgke70ju9dG2STpJ68Rquw1HfeGgeubJ6QPENf+F9GU6jUOWb9iSWv0TcJsCcUm6ZMdRb+1OI3mHpmJnKHBQfFbABAiP86Tbt1pZLDpFyyRBBuuClK/r1W4oA8Z/BHhd1ORCujQpBBZol1t5wkmU4NYiQovqArneDgP5qi3zciC5t3phMymmKbypw7dH+cZGW5dimuTN9CJaxxY0vDXvQGXCoYCy0JfbSw1wGVmusICWQBZAcAv55/Zw7aa6eLjHHgPEUfz62iY3H26cpl0CTzU4ajUhZOwOlkmKy+m83DM90tkxh3hL7TTtbmLiVJZcRDdIZY7hWIFWon43oHhxfUKJUUkhcsG5mj57ee9HmEsIo4j4cNuyOwp9nYxWBivI8RfYlsRiBBavsOogayIITFRf3ruecoaYIZB5+357YXIhYqF66NIZCtnLF4AHbiSMANlMOQ8k2s/OAZPkJ4F1ruOuqlnOE6iy1+ApgAOJ7zbXlS8WFFAmIolUqmEjYK3ucoSXbsGgewHWpg2o9G3D06TfTaoxtgF3dP8OmNdfv50iTFyoT89oBI2fNdJvL71N2tPF3l08j8t6XeCyinwmEmq9FrUDgWv83B4hzkAIqnCfSV5VK7mf+IqTeM5ujEvaW+7WzY1yznng3daa2vjbGFIDohYWVbCw1aJyWISH93nQOQXFGdDFtbnSYpy6I/jF0eQDaOyXeZNdsbJUUQrUH6cw0JRZH8oeeopsVrH5u71ub+Fl6YTuLODM4eSDeGaOjygA9WQcF4SFztHJ0bYhVrpITLsUS4Y6ZG/JV1MVmQ7yBzs3dHzIh+MDWssfP2jZzCsowCKBfskynNctskIT8cn01vbLV4688uUKYa6DNV0pV3q1iuzRUGuaWGLXsT4XtMY0sji383NcC0UAE5c2AKQBMb919O1L2LFhn4Ju42BJuFrEP6KZO8t2TjXFPf70aFABnp+NkpunJCBjzf11CwddaHtcZYR5zUnLEu915bDdbvSOtz5FWaT5ejDRsJzRCRWljVldGinDVHwm4hjSiiq8hMOqZsFGtzE3XGQO0IWGqu/0SFvSBDLJVRpbfRMWVjLp+ue71kIhnwFDCDgPgp3iMnW+pLBitQyNVwiVpafePQcoi+znmlM46wIpCFp47PLOJ7rk/QkuRFLM6LPgvFrNfMU6y43Wy/YVL71X/UKTXt3eo818kAihWbkb0xCbfy/vPnEhO26ppFFQxn/IGLs0U4d2RhhR24XEdv5pnZKjn79PnAQ/2I79MWv8QnZ0piorF7KSP6iR+yg4Jmc5s7237UtFFHioawr7q/RxwAQW+27vmhayfT7oY5r5LP6g1K6mq75FWKC2YBoKL8NwTv1JnGIhaB5DQojXTkGxvMogYORfbxYaTKDg0C2wa6Hg+pe7E5wQD5NNQPaKwuF95FnkPaimstbuLXYABsReYrPX01mPkKZB/dpAnbWjuUAccqxI6gxMaIe9zkCZ8PcunzQK2qbUOusz8E+R0hkvufZPx5+D/uHgVF7DhQbxiDgmeb3476efJB2dc5ELgVtfAEny6CNmbe55SOzZ2EmcBoTdY3PV3jv7zbd16Ld0evc752ucgamwUBnc08X+kecaQ05bMQ9BSKhHe0qNJjpGvzKJM/nqQsKmkuFaWDHeShTaFzOV7R9rRtFwVidpqCC1w2XkGWWurdXWmUfOVKPMc4fllT2PklbfgNPihmhdrYTh4+DUkP5TsVmOY2Bpr4wRgrLzAg7kKyw3rWVMK53XlyNGfIOAV/W4p2JbhhH6RSIognGXLBe63Frsvv/47R5iRAyFBaBY0J+zc7Pg4jILAEl6bDsBE15u4c11hiJPhpqxnGGaU+wHg6fklfu5zOViTHr2NSoiUL9wX61q0tcxsCITsVrW8J8E/tp0EBVeS7UG2xjizzZB65KkN7UZI7Y9teLFp0g+ZfGZDI0SZ7gtJPtRASXn3F9Q6D0vrqOmAsobSoOAriJdiCPedCSs0Pij/kIvPTowpEZAqr4kjBo199HXgmWcmma1xNG6J5se3HYDu1InsSxrdbBytQWB84FAki6E1YHxXuf0mMoaHgC4/zrZHvotjRaZFnFMfWjlMdnAt3oalDhs2avh3YR0npWAr+is0TB7MAts3afX0K8cAXltZWpajLtpidUbSMWMlC7ELTsn8v0ZBIwh6ZYG/kGFwvMJbV7mSHvI58hDxkhYxTPj7/M/3AeP+TlQD3awe2sFPTOqPAzoHtGQP7S0HYc/IpuGcibDaHmQ5TNGpB2ENNK/Ob2I/i4g8B9V3t1y8D7fuls4kcllbrzMhJ3WUNhL3f9Lpq3MexylcWX3+QAyNjlkvWyFCxbjBXajzedMrcDTMWxbfmJ6sUEl2Djw7r6GNTnBGq5NzZ1pgovGbDzcw4VyEVLr3wKp+wSxBXrPOdhcORqXpH+7zQ+oQdJWI2dY05V2CAy5Tj+BXqYXK7PwCFqUo0tPOZWQAPc89lJWU1wfBqsR1/VuE0CSl+DxLHKauDAnX3So3jLJKTZ4WlhoXhca/sqw+Nkq3ZmDaHZ7u4GjGrefW7d+0JmDaMt33+jS/IT8qwqPF+xxfdFajXNRwNRBM6e9PBF8OKLXhm0NAsmtXAr3LAwoj/585JaVlLh6efHX+mvs/LqBCw/fopAOcjwJ9wzoK5Rknpv8xiImlapu9I7vQ69EBhwsyoiLnhWdDTT1earTICIDXTcUBTSCvfwhUngjwbyjkcmDHPurAEPHmYexx60odjXR/En004hKTTUM8h8uYpD5Nv77njUkSq+w2+M4BXmGhlkXTFfW0kVoyo383xK6uNks4rQBCCNvBCj37vWmM9P6v59i2xvqrR/A2xScokNgLhr8GDFmY1JF9E3y5X9iOcAQH8nKNqEwzxrI1ifIVJLr4Su580xvCVv3s07EJhuNfH8IZ5D9DG/PF2WEsf+rUag2wLlt4w6XUvJh3wFG0yiW2/tRMMYFU0I2quhYTxiHXRRUXN8VTx/w1Ejhl/4DGewYzkHrsfg0tRnpcgfOYsIkv1VFPL4yTRvl4XdscX9q0IE1JJnYZjfgtU2X7mGLocO1ahHhnTNczjjyHCVdmB3PffV8NSltHDkyyajXrCDw+qquNPw4tuAzt5hWTlRqRg6jEBcA4+atsisto0D9WR1WUnUdG8L9LCttRw6wh6mrw8zf+mZqPEEEqx3SDfxBK2tFkCrmOCbnefrI5fzkIbHRjIimXPFd8NSY1R6fKTVTBfDMR4dOqsPp5NKCPmKtPraBcuOMIvYjf2itcQm5d9NoPdJLKAIuQGMmsFZf7Yy5V3/eGTtwZKwG4NTR32ha/1yVvyTkDzBOnLcQ1Q0YrOmkII79nQvRohOqJiFE0QON5hT75BSNwNTJOZIHQIp3ICp47vgpPStyKUumtGsS7vyS3RH7wZf7vKfGSwlCu1ascJ89+lRgZYCh97Fi50t1IFa0lT/22yob8f+F/ByuozxENfkwejdRbsK3YpAI7DU0oi7UcCrLLrGdAVL95Cw7bhnhFj4PAY6PwsldhEW+19frbPYCEUqhdTKoVt396HYHL4RXxyHWcatFosz2AGp9qIGpR/cZoZ/zflhOyo/vSbTLsfhLVJN/3ioEPUtk9/+o2uGOAvdBhocC65iA72qu/cmZBY1ZAiTA37/H8dDy3vrU7pMXIu8EX7MD5JDN8fhTRGWstrQyfkg3L7/H3IO16FW+EZNpKjnGH1OP64aSKLS1arishjLwbfuSNB+tSZIVW7mqQwYIxDmjFAug7GVjTvUxN0SIzWlyAA3nOWPDNnJRPNvpWFOjWz3XhvxkkQ5/iMdCm6Fxe8vrMnXn3sooL2zAnXcgE1hpF1+1oB/2byoJdPL2WRU4UqDzq1/DNO31jOxkhpnhmZRPThX19z4MWGCCjcfPjoPw27Axtbs+pIi2bAgYxQ2yJkIhoanMQB94kUUDLA+ABSr3HEOn19IkWOKKtD/jhFdbCy5AbGo0CO1gxJi3AqKuF8o+21kcDg9e3zMLekvnAK+Y9fx3biUhpfhn7tajLTVoo2daAa/7o/C4UFSf1RZWoJ07EZcgypUBh6BHDwqF5fgrJ9ITGSdg1laDboCqQmuVN4ah4NP0tt2vZqWVyfm24sxrH/AY+SYCBFpg8sdpR7sbdJ5I0zSvDBrxYQkI2+Y80THHI3EPo/AGlAJIiCXhAfrbdS0dK6QQku8QP6hJ1F6GMZNb0hpjAwhBUs1dkM6pBgryqJzbuCMRbLY8nY9ZguVtiosz66mzuPp9XvmdHwksCHKpvKf8TghQ4vP0icjiIfvuXu5twFYxOXjrhJjQuD7xPeEvJytXjpFPRG4rTT4z9GGNUwALmyWZhAEqgyuCezwFOrc8B6vngXKMWMOePFPBJ0b+fUyAOzFHibTo5Cf9c5minzu/LzBKkd9u1sUf0/FXDrgNUHnonB4n+qyriOKZQZyW4eMvV8DIbLqDJBPGbrab3jMpbSC3skIWncHXGbQjcJsUh/7SAUF3WgPlOLGbs480RShSuNQORcGbBaT0MSAlhBSM1RRFaY93ITa2aq+iUezhW22f71lYv3nuTRE2L7qMreP0VdHXvyQMOmhkB7gg0E6kGJHyynBd0bdE2qqR57/ExrutpbDZsMSLHsSQC/QHzjLP4yb7+P+VitFOgORj4MGdaZfmg81A20/l7GXBBa1sPxvK+z0cIleKS8IXG2ctLYce1c5QNCup+ncPoCwrRS+YUsdBjo/HohTz/goYh76Kq3mXPwNxDXfPnpGWyMitNUCmhis+GuM0rVjJXuB3f729AyIasVVb505UkvbpmxHoaJDQav6tT/RJ3JYX/PyAO4+uWzipLeVvwr8zsifB3/kC4+EqaGA6g9tu/Fr7K00XWQ1kWd5zt0vwBpR7XZB/gR8RVImNW1EGB6a/f+EIxgblQiGcagdNEzPVz1zb5AAGopA4Qk0DjX1FbGSPBSmzyHqycENo+3lsNUjbMakEaVOsFaq5JnAsT+LdX6C+qKvSPN8n4KkE/i4zpfgFMVjvJK3jR0dkBqA721PSYqaZoKTiIcD07FgPe2n8zMnLAu+psSaf3RMUuaFQ+9V7utb68XtCHX2y8IbRuh2DxKe/ZwIKlYN6oIjwQjicrWYvXd0RS+EdRqIuUxEdCqZ3X2f9U7lrvBJ5qITC75fYfS0ORLuHqgLaCch+51aUKfrdogp2q8IY/OhbkLkTiJ44fYj2/9C8be1HQq4Rqjpz06V9PN2lkhAD8YN1uQjnM53UR14sfo13on51K6VzYqJsqHCwG0zRCvLa8nckNg7rHyizq+zfhaolKlnV6sX4V5XOQ6fGHB5m4bJjNC9nbwZHVscU6To4l1g21oaDyIwJIvJTk75hOUTkSE/NwdY4i9R50K8DeDMc/tcHa8Jlah8cVxZtAbRCwaVQjIbSq8PU5O5ZApgSjtzLKBKhdBaSK897aFaLkKWXv9hk2q/hBnUQh0U1tcsthVasY5Ldwu8vHHOzsKfzBVlZf6IAgzktpNzOjjZ3G6CeYtNDuIz75iKtWY83pGJOusLQigvSegi7yQd36qHUg8FDf7ki5acre4Aao8IFlwFX9Gab1aREfjw0qQPbVnS8OCizLm1dSxRyk57kJHkcYvlUj4b7OgZAnCZrJ6iAPnxqNHgvv96U9plTtp6TXh0qJdkeVheLgkugn2DwwNtWba+jvrlckGY7NUrFVXulSOoVWuaZ9D3g6EG5lVXmDUFSdYXQSQ2ptOzd7b9wyGQa8aVydWqQiWCRC0STmuP8Q85lNHLW/VUP+jsjdI+zcPVJRKwdogtMg0OFrqsm6yCMnV0yefKWDUYqixrcDySPGeoeHQXlrGVaRdZZC49i9HXTYV5vFwWSW5BdJJfcgtkIc0cqblwa5WO/s9B086wKVdr7Bb1g1xIR+aDY4TywuozqQQXTWJddwXNcv1aI+aYpduCHMWzn6MBrANTi0+IAYE0e43zYBd3yZs0EzOXj0b3t7072OlMCVjR/4e4D9992Crq7+l8SXlVETdvFW/17WNB1JTmYX9865in+V5SbQQWB9vtuWjgBIplC2SqMUbIyUZ62bCjZAqLXRxYzzUILwe5oml3/oElzKGNSBROfiycT/bF3AItbRQpVMdz3w/JLIA989VE92aHYkBsshDrzkF/VfjfiojkmFalLbLDu4xc4GUpBR8yarLe/YpG7at27nlNDemQvD5SBi7rf+mWPSOR2ELnQ2lIvSAa6NReZhZty9ikWPyzdd/t8wirBoaG5Cfa9u7Cluk7HBLI+yFBVuthxb0BJHEx6Cy2IrRdi2+aVs2do93cxGbrqcirPAqJcdobtLp7iObMBoUtUdJzYfvRqGtIov9PkqSaYWANwl12Cqrl2q0cOWLIBs8OQrBUeufaQNT1fTqAlxm4wXwH08bM/Kv9mjhHQbSBvs2PhoLShsXN3Jx9TR1tO98+pW3YTb6kMius6jWADVVQjYLW6/2FUqOe3kr66pQiwTpWcQLfhbczi5JhMaebeplemZus0KlB4QOiNjZH4RUFNXTIBMa8J2ReotLEyrUzZiBRDQb1uhikVrKVsWsgZu0irx9xUSIBTfojbJ4rmTYMqA261T3qa466COAx1p5GWC6uD/xMUa5byg+mwJvVvZo76cAplfzg5k6CjlA5glxMGcBgbw0C8auaxtKCj/vEURQQfb2zxXYbFDQBQTYje37lVCjfxWz3kExacsml6DfpA4+rsK9hi5EsjDnkk4TyD4WzkErOyvfeNQDsXJrk6rscEdUJy7WkJsuLldUS3dfijbPFIpOBggT1nupxGedsppOwR8D0SlJww099w6cf67sh+SAvjr32veVaX5tcewpA2ohsfrGVduoG2WfvfFG94dTHCEEkLq1tO4XdyeA+w1hd0FukpyuxtjMiMqCFgT/UDZYYInw6WtNYcbmWtFqCyBLerm0Fa/XfB3KV6YzjPgbw9uIBKpOVAJkQYVoBM4S2ctpvFF8booajG8xdsh2+yuffOTJ8CTxbW7ZtqzxqQtmgNol6puWzM3mpwOW6Lc8S/0+8lP1TR0AWgkJbAzvSFGIoSdPO9OzGocvJ6QGeTB8gS0ZWuOOwIOSdm8r9q9HQXMZqUrdLa8ZeIg6kr9ejChTHL8G7r6xj0rcLEC+wADA80n8kmOBymflX7qYzGkW8x2AFpC02T/z1lamj4wS2o9i2dWL9CovIhwbB3PpTU6TktlzDCG1s5ShKA32sRWgqt+GWdGMfELvl4ga4Ylts95tA4goRsgSyAbpkuExR5TPE/Now7lRK3XkPLmnmW2p4p5s7HXmNKukd6vLMpUDMGHakYz4qYD6A6rPrOd8UNADwtal7qc5ZVSiYcLB7h3kCLA4LDXnOY2aRWKyP8E4PuaozVIo0bDhhMwtoRTGQqxlBChAjfoJj6EQJqtICnmOTt4FeQz2ZFbK/l4onsTg2xj/F9hbMrXvWoWQ8eNSWRNJHTemnk22QKSfBBW+Wo/tnCCTi8AR9A1MNcBBJvNYXlvrcIjcmn3tXG9pbf8pZ1bDabND0sqGSFADjee5EAf1wsJKVAYbNDkX8zwZkT8/J1xEFmgqsX2xCj7GdGJNsm4OHz7UpzRQ5b1FKqLV3WZSM3YP3lJG1fSFLOn3XZ2MHmsxx+MD47VjjFEUz1wrU/yZsVysof7Payp9xTKk/MJwz3uqLyNL0uujPpqJ26D6as0At3JrrM303RbszBZJen6tBIYS3SrdBwiiwphP2Rp/1snOelqLa+ZMs1jfaPCqaLLWi1IloYy6h/VEtP37GTlCpwuny7xddsGsV2dGuXs6QVGq9yG4prsoKqTwV7+aaYkFO+RZJFiLDIPXLj0p6y4ypIx8ei4PnQCh0mnQLbxNxDytFKIdUgZIC4CZe05h3e2n/+0Cn0jaVoA0E6/VgnP+l2aWsevmQTpE4XCWddqAi+bh7ZIb+07CTncbnZqrmDFWxu6VdKOJkN+6HwAOABibTk2kBwlDZ2YqnVPYyXPbhTVJ/SrI/5RZl6XEn5YD8l9K+kGdirmR6eOtaTyobYgQKIC7t/e0jTOh0x2pPpRyUwDLKxlwABQisvtsV0qV4L0re6VWlAPQe7KX2njaWcDbG40B7UXVVValFAIdbLXNLSpHM68QfOgcXKnCUJwlQAJg5m8YJdp1eCtDY5XmwNI6R9RQFkdob6niyjJ34xSy3Ea/my9lib3GdyaLl6fLVd+oibz+LjC1La6AOYmdWCVarx/ZiJ0EmrwWAVtxPwZSPhwp92odKM6aEUxoPe3r0Tve6H8dhtyOjklkRO6Ub9sl7D0F9gfWlYk+5OyK9rQwhP3d5eHQX9Oe2EoqI31leUcySB7joI178WoO2AWD4DahIQG9eRm0BDOeBP5eMp3ImxMbuOoJlvYGLBdMAuUbm24zKQ0nd8TVlZCVElXUFlSfm/lDNwJc2QkIap0bSXrnPuyiS4TJRuSsIuUUrrm+3JZCtb7WH3ShdgDv3q9NQ4e8djEtc+NvoG3Re+cwduFPQk2giBpBt9J9sUuNMn6knVccr7YiYwI4oDbrsDf3g7NUBlNGIaPNhyj8DKQpGRED7N0R0gPjBGM8dgoyzouWKagAHWh+nOO8yA5AKlNTZqj8g7ANUJhx38bGtbz6aHJbyCMccdu6hBxNHdE5nnTEE1Bz4rl8AxHA57Wc4G8FXe3wvvqdBp4XAOR86ON1otulsGals17lrl+HeDNPqD9syCDvDAXtBR8dq+xnZzyQWOAi99bNmjqJNaZjYFSehqqdr4BChQqCPt9yksarRFA5A/6IXVCl8x28tCz9nJ3v6J/u587JBurWfEAR3XO9T1PFuN42JCf1qqt8gZEXJbK2crV+BV4LBTnVXmvw606ntH1gnAp6XuqWKTPiuWWJqhyyUiJHNbnNlEbM/2exFpSweNfk8Qzzet5yepklAYylLCU6pvgn3MWqRkE/VLz4UJjfVLaufIl45WHOwGbJO89Q9AUBI4xKgdfY6WoqmckPuz0TMPioTpiAmu4+QXaG5F0dctzmh8l+Akglsfagt+NF7dpVnSIUEKPHJED/s/QNCHbeXyt8yqkOpOXMzvKe1RT8AQV38FT2YJ4yNyJAtv1Q5B68/WeIv9cdV8QTHL69Euf6BNnDxjHnoP/Vtw/dPWaf4aYNyB/Oxksiad5O9cb4ktvowjZMn6SKwJv2WAysV7OzPffUzJnwYVAwWIMa+7sE/BpvlGpaFnqZpWs40qI5yjHZmii8pduAZ62kXuRFh6EyvVBzsbB9lsqQiidR73U5TNFMv+4oadfxVP4MCmakZGqqwZZcx426o4IbG1WYQoSr6u4bmwb6yOBzpXXBnTLjXumPz8Ofc4ZchBTM8tgz1F09eHXSq7jX2LFWyEV3uv1+Jgt+j+Wd+uF3Ji2Q+5u0tvJuqXOn4S725WeObiSAOF1FpkQE5l8EXiieh2jM9bEph9t7h2DBTdiqQbEAMRAeKZ6eTYhldONqEEcX9yQdN/YbAcV9GLodQ1hrFXeqUWC0GrW3kGFR8r5LDouYA276sDwXi0gi4YQj+eA2wcsa+ea2P39cnFuPhmo1vZLZ0AuG0avfPcAAJkh4soTeVrFvIRGrsEabbCAOMJsgJYgdolMJmdMaOGVE9PL8gQKF8ClzNg5qfQ6Dyt1XTNaLF8APiKpzbmK1mF87j1ep50fedGPoYotHXPzsqBePGDBoIxditBnF6fPEYXUHz3iWcECyPXrYZIDe5NU3ANw5pyXrkqAJDHUtvGRcn5rqIzkpCcr9XmrS3dZx4lEUvQ3J1ADje1mEuI5RoY6iZP3HSPr56mXzIc3+RUcu7uVBbFsDusetJyGhST6A6I2vgPIr9O7PSfZdkBb1ra0ParwhT+i00Shb7w4c+btm8GE1FgWfO1uOK4y7VxRZPJ5jfE3kq+WIhd5HAAAuryVCbFNDGBVgNn3KvNPauQ1zCBPQbNn2shsPLBq8JAFkWPHRC/7wGhbwIbw34Aq+7BoXBeQgHhc3I9M0gHvYRgR/bZ4qY0ocZHME7/2itre0LqVmqyhW63/17jri6+IhtvI8eQsZ5PQfYzpSpi9/J3DXPhZDxFWsKOHlGfZehRmOTqcq11TNPCjXxjwgsLbk0dXy3H2SrQTMKkAqRjdD9q20kDlgZg97oqYHpxR3sUwYQqwWxdhQ+fL8DavMkClh2yLPft6LShrFZiOxiI2IC+xK9W+vN6DHRYXj3wPQqOiv2RgW0hUPYk2NNI/8JSe1s81JsV7tHPbhRdyLx3fIEo1+77EUph90zDtrIznFwk6iYhd2dWDVzI5Qfoe2Ai9Sr3HeABp8sKCrqaY13w3vLUHA02OloTU/5tKOUC4yiR5IUtKUe0Jok73zhvOago3lBwBpgUG0YCo//KhyWsiW63nf9VffNSsv/fyU6OaicP6F+3NcHCmMrfGLBeXjMITrCQrznTcaZySb4t04CdrrovEY786gPP7LpzcuLLW7s/sl73YbjaQIBLYHo8ZSDh7Ke84dYedtBxcm8OAAQcsVz1QPxDKDUc0IEfrNJve2JpQrylfaFDQLXy33WbjihSvO+WyYJF1e4Alw27Renqc/lgI1MJFFShJM6xj8/uVDi0nrsFjZ0odn/ACQKQwR8doppx7fAQUzo52if3I99afcG0nGDsx/udmahDs4S6OvnlBFk3So+7yT14u1KOiD1Bsc8SmXxYzYuOTn22/wfNwkc5Me5oabcxmgTa+S+W+rFSxW8vJcqPLvsz9qkvFG3KZVtu4xTWFg1xnN2C7B/CY8aMJ33PTBRmIpDquWr2lk7T6qk0T5Kwt4WB2ui/+eOs8ci7OSXYEzETwbf8ctZgtk1juaQDO1xsnehS2gcp2qxzR5gbpdKCGBT0EeesyAzLVp9zTBe1PiJ6NhJ6PD8bwOvVmgiqPYrEZUCBiFZsrotmLWiMkbvKIIbmj5C9bkEWnQxUcBhR4B4eDRE0+RFGCR0hocUx5Fio4gV0m1izAmQRR/iv/X1dx+HoBK2SJT3V5Okuaf1Kuavi4+hsxm9n4OOil0OR2D1ucrD3WQJZwgr4s3oWSVn6WDVyJI4u/1CngqRes4qON7oygAcHqPhW6URfafI7uQzNIoggAjI85no5qxmC2HvuOE5ogfCzBgOGabEVYcvfKdP2W4eBP/MfDfusi4nbtB2EP9kBrzXWgGpsMbkiS/dAKRMOY0p0ySpXJ0oZKccK2kwLWrmYZPJUUHuD5BKi/ppIZbtGXicN7edxuB1/bTprZkPEkE+2dGXvzOXYb8HcZgTHZJvhzwil9UpGqBs+0Jhw1jE87pbchh88pPNT4dIJ1oOoKdQPAn3yxJ1C3YJ6IDCydtbB32H/UeEsQYZuoqRUAVloaPYq+MvCYlYgzj1x1+AVWT1izPzIAPRbkLdiOKooZ3RaKrvBDIN9Yzk+rAHXDsjRPc48pl4bE8/K+w+KB3wLzt9QPoYKym5Tcyhe69rYXwNbm6GY1t4nS/sMPeQPNS2sVtmtbER9K6aPtZfUdkEScgnB5Sy3srAxMStD4t1GjXBGoPGNmTXO4ttJpr07jPTwiy3friTQDo1CW8pKkFeFCxTTXRLwo+30q59e/m2GwzmGm21WQvfzHt/931j2V0dELIcZbavZFMtjs0DZuRfRXvLB5Wl8mQm4ZJZidbB/sU9pZ7VJ1hUmcXyCFBvDM4C3037V0GhxTllCKWptY6h+a77Gmefo++NVmOrLtMQ3MF7qSM/CDgOYhADbbIDdlne8IDpDKirxkSlyccDUTwdsEPZW8zoi56JGanXolUvx/xW717sWl41HvlJJj/6un2xDuUBkfC8e3VUDUEYhvJwHrNVH0iKZ4IpLA/4lq/SswCj8wS5wFJRIW+EKrLL56AjHhvtxXbxgZej9HsK+10YfEXr+t/UNGwHbWrhziGgMVrsCyv2CqNlkDp8eH7NSLUPjlwSwSt0L0D4nbSyQ4ZCnXWI1O+FJV7CYG0qi+27saIfp8UkKF8PixVCRuajteJJKMBFcveqRsmiK5inVTzeV1QjT69LAaU8T8UTwRtfgvWTATto/hIi5tjnbUiJ6aloOTeN45MmOOonmcTan14EkE6eeXik1FZ4vVNxmJTod9Tvuoob0dQsPOD3vtUTJ6KxKf08G9/us5GF+qUBVL5mQZMFPZ36biuRcXgRiUpOSb2DkcpwcuxwJZv+mV99pPr/uZniUFjp2UYlnbwaN/pkKquea3LFhiWdzv0FgbwqtJu0sRq0Uqj/EzRTxXpEvUUmyam9CNxDVSI3ix1cVqdniJFHYpr56MzZ/HB62VJgCFgPZGftST1PYzD4AGbHZc0ez3qHjMZG7HISAZNltQ1MMczlYrdBx5DdGGinvrZniy3F2w0xpsRtV6GM1Z0fKaW50a/9pY9AoicZzLzGrqmlOOjwpVbCb3kf9uzHRjAx63J/vwNalDvVuqRWcmsY8ssn+hY41Ep0MAMWP5hKQ5BqZN6ceAYR5Jck5IjgdLN6TovsSqXxcXxgeXDVwS9Yc3yza5CszgXvn2NpFCmrlZ90c+yMZqUm49C+xECEYRqrTQkR78zvYB/12Q3hKWFlWFDIrc/rqgqM3Rrgwu04hO1VOtUpcICTh0R+A4/8IjmnSV30bbukJdThBuok6a+bgwFIGZtv/uP2Jg3MpnIvIkP+zNhyybIEyvf1zrfESDRl90VggaK9WTSc4ZgSerRjVJUKTwiWzb4NKLp2WcUSdj2Yua4GxLPYTGuNITYU2P4JkX0gXMavNb7EqHNASto9ck+DpVO6jrebjGJora5Ieo5qxobRPAcCqMiOSb8ox1PrCBPWpq1TwwnHD1VNjLtajkH4abLM7li5q0PSdtvFXgC2j7zSP6djMsA7I2R6zrioe2Yo1JvMhXjljXDXxby729qYO9xcBn925JpyC4DudOGZfM/Ad62n6CPVV45msFBCtmKjBZCXmglWtoGeyu1LxDXD12dc63jRq6wR+/JoiNJyxlsLelxI2POnUmvX6Bz2t/j4vaT0aDkGIyRTs5QptvBdEPbx2+4CCYn+fvZDv9aNrLVkN8J1ezFzt/yw2j/BZ0D7adIs8NWluqlIvT/qr6Mqh3lsQtg/jcNpPw+BmV4XmgPjmUIYuQOvANN2BD58LxhfLxXtCOEgplrVGqpHaAQK+P/LqqUJJCPh8OTeFrlGyzrsdQ8/cVxpq9t3QkaHMfzb//tleJmQ5yOw3X2xF4KVqQ6kRVha7e0X/u8urwJTw8UDlATixHYRSz48pjQOXndb5JwYGBv5UFfvi1ZAbtZ0P+Fx6UqcpXW7xsnd4ZHwp9UUSclcYo5XocHVuvT3kSkgLkC9j22+uYcirej5Tym79qtscDRfOim46m1HOxQgpE8ZSRNK2XygwmkHUBVEKHBiu23G0noiboL6DR75PmYFdUvlNRBW5gnFUdcivj9zsd2MrH5tS49LfHWEivNK2JNQuoU71XJKOXszNY0g5dBBgwChy7E32Pebm/u8VqLVsIPRh22hA7xLoyx7m1mS0XmZSsuNyoLm7AGJ5PEVeN5AvjVNERgBoV+07skNr0q29U7I/iutDAcnOvkARZ6sKNBrE5YZUo1iNRTuY24i7d1A55O2pv+FQUCy4WPA/mb/ZCRsxmM4XAa1O4lV1reJBGiZwDSFynDbiEv7vS3vdxwAsN9mx0cMnVCWyYJIpA+TLVd5OG6cuU+A8G60zJl+jJ49JZXBiAcm/p2i19swBSrxSz2bo7osIrHW4oPX0Nc+hY9lgIW7+yCPgHr4r1I16qTY/qSU9iQ1O3hO0gpBvWyJnJogYNK4N+lKyI2ta6Zw/qECJI3g7P2SD15wWnHHNwRfUj0f7EgueFQG2NoLZgMS6IRRXldhxoQDsASbPSYCAop7dbD9yDHAwBKCNv28LK07spLKs2vloUhj0GQFj+/7pgi+C2OfwQ0HxsyLoUCcCAx0yBWklCQNQewbF3rV5XqCpOhRI+sevkV6d5Z13X56BnWjIa507w65Y4IHKhN2gd3M0NRnNUXZDT6vw0uxB2ppSQ3turxMWmLCvzLtDy82+LzqSKQr58XDwW9QzTexeMn+kHZHJ2koS5XobTP1uKwLJhLaNZHyxtsaKcs94F9wdQ1nNXFb9s/oCHHdYz5AHlTludPha1yuMl06ZwgAIPrUjnJYezDGYzPR+2YrnW1I51yqZJ6gi5+TXnnYocz/jC2Gt2usoOnC8NEEji+/id+aBVW9dLba+98IyJzH8aTKNRKaq/eF3Z429PsDgH746m5dHasOWj+/94ZiT1e5zpmZlH7z1ymVWniLAVzT6RQloKu8ML6C2frPaJA2tHlqCLoOsqDClYTP+wBcKE8rC3Nws65FIrLa/em7a0I8a/GsODH0bb372CT4i0I2o3SGe+1irM43OYq+UmCIQ7DVycavYA2NozeuKWzBU5Ql4UUNnkLecySBUa+s7zn7Kr9q0k6mdGA5ILwHNBQk8zi0HkcxHQvzxlZVGdFb2UnDiYDq5NWLXbSx33H1+X7ERl7X5878JnZocoaVzjzZjqYbMJ/TK/KdYvct6uB2yJUCU9gAMbjMAsW2iIQwQ6nq+wHGQi2TuzfZ7adItE1exJrfWieBkm6Q1G3TcaVCig2KYZ0f2VWqMbCmMgQm6LAH+w4xGERTDKmyfZjDDuMop7LlfcRPTZlS5OfURBCfDvF4YUJKQFhwLzc5JMtovvtyz9+ggrlh++KftqNAg4RT1aBg3a/YcuvfDUR820JjLamg/ky14zBFqT9BfZ8ti6YoQVMoHlNbcfyHyTeSh3W7WDBe/JC2nLVKeceqNEStGJ+klar78JDEpHHhkCzp4KgUoNitAmSmBzBi31/ZcgVbcp0/TbJLUeNBH55BhSfezND9iTHPXCMP5BPMqAxaxI/X6JB0MzWlBCkk70KpsrF7tolEgdY/BxEv1JncycJG8DyQf5jYB+GFJSezTa6wxEOWW1VQV/g+Buk4C6wWpFjOOb6NPJPAYYEYG3y9Lo34MKKPHjb44heQRe5skURDpQzMF5qEekJRyvP0HtfMXbofeXyqS7MIpD7ROFLCCEKoh2PedE4I0YhkbVQ0Z2kPeDaQ5gY/h7jthuB9UsibbvEMO45Ig/PS+nJGqiIWoaxnS0QUgRMWyCBV9ySv7B4PE92VPpdjJ91ECZHNygHTlh4auOnv5vhu6tWctIPhXhp4gI6tdaIlWSkLWRtPE/tzBsa0f7prcoDDmruQ2xaNxv+ur8aFgMoFYBvorqKRQmvWQpdU8UGt/2JsBpNKmEh7an4vMUcJlSKEuLRGTOAqXPAEWvJKetVN89arusJ5Ndchwx4CaeW+xTUA7wihSZ8SHi9762C29CP/c4OHNUq+MdBHpLlpl5hNjhIUl/12GDRxYFdZZlPTwY8weWjmXI5OThr8BU+F7NVO7mtRZdV/0jGrEQvfz1qX/yqGsC3WPyFtUW818AppP4Ks8wIdIOth6e+sfAqHrdjP9XDM7XCoPbavv2zBGrjZr028DavPa26sxZ41ces/6yqLIw92ubQ+u6FtYrWNFCH7bGaovYzPzGwVaOC8x3D3xnBZGmwpO0ZuWXg88bJM8W9woVFJPELYtg/LNhcqwWyEqnm/+HfNIwesLGi9FflkPES5ID9PMJGBE4YTZrEmyCfrG8KbwuJVazsdx1AZZCDIWgNh3Rh01EmZXJCUWPdjOzz77Xc2yWAk6gSK23nT3P1etJrrPH4SfsIoPJizNESKhrQBTST3flnLNmkKvVerBPweivpX+wg78k2NmK2zj6ngHfoAxsLtF96yfjOc/ptJqAarNuVUPNBrDz6Mve272RGXHBvMHo90cu6fQM9t75kQW2JuowJj8Fqwcl8ZdmcxMjU49mCjQmNUirGb7+i0qt/JAkkUc/TrGKob6Gk5uLZN23GpGs4H39ngdyOSr+nlJRjeZBDtRbz1ihuxUUhBRPwjanxjIzyaeSFgbKC7C0CnjxRQ4VvK0x7rtx7fLFshSoHwwg9CGLIGGAcNKqTlROgCxivYHBF9YqonKJE8IONxeU1XKfQAlRIwelTJNI7TaQqrKZF2yBuAZX0826En7ISiK8CG89OkB0xH6vr1UwhzCqeEwUAPmvQ1s973RKrtg/EqU+76iIuXjfDyeTJDEsW1M+8z1Hp+WqyTh9X2MWrReeeaxJ7rUWSlhmWK0rhrGKri/8BwYUMel0AoFf+NpRXkmPS4dZEkMuk64nzIfrPsyuh2Es0FOP55PhrmUPqSbAivWQVdNcE2IyAXd3vo8TVxVG5VFi1A+/HGyeeVJVdJdXnvN4skwc0m/JSzbAifNuBkQElEoA1i0VGZEU2ZhHAcASrQGdkHTPUjDwb7a/d0chp1StXeTaM8FZod8NnosPa8HGCZlgPCxnWT5sDxOznfGqs84xi6EvrnXG9srm6O65knOd2HKQ5xDMgBjaAKmZxuFGCxdxAcphbjzUVlJOCRSz2xMAXphYKUqhTJTRq+UOu6/S5S33y2eY0oJzQ2OZiUcCrkaGS9mpAEERi89tTa8s2/SbtPg8Y7gCx+pNuePz4nwRaRKTlLgTSA0EHz2WNO/+ckcMPPl60A7MKtmM5OPLVDfsWw4NpIZVpJshLYBT8mtg9Wj1IfKbL6HvcDZPfHG022uTOLdKqdClctjssoT0BvuZTe3Slw9XXFfp2oKxwGdJ7vkmV8IMwSU63BYveXwLPObVInBA9ZIoY3kdoSBHWe76l5HqL3dHTZJMDhTiBlDgzl++Mj7cmg3WuE9k7/K4skWolvAZrA1LT7J1gOuoBpn9zlxk9Z82+KHDivb+SqpoxiUYwNgH+1jXWBj2TUma+loPvf+J7SguCxPmDRVnNAXCIVqKNCIvVwZlgPx3m2qvZvwxDpjKePWTiXosfgxbhOchUYya4SkFjf6p9i8sKRIasWz2bkIbEhv1oodWVAo4ezY4IGDKnioYC95BAs/Is2zyjozILA4aUfqL7yalPb53wgfoeGMjx1KuCcU3fEe5v7YJix2XbN6+p7YYAxGRLJdTMG6K0aCFrSYdoZ/KTGOrFFbYz1KS2y7PEusFMUKEuYJuHni0ADlba+Jz5+MctZAgdJi+mtJA697E4DMPT8z7fgfBbeuoZODEy4YEhBBNZGpCa+IFosKuD9Ex1X5DrXch4AvDmvKuU2MlOqvwCuSoAhqQ92xaTBOOEf3FgT2BKRXtxdCxXiDyVGXp/olUSB39EyPmX/KTkcc0hESYFWOvr2YSibEHL+oBa7Tnh/J+5R1of/h4A9sMdLNE5/f9bjb4gV3lj0SZ9wh4JMnc5bdNmJZbDib5DI98YUbXIMnTjlfhPntQAM+Zpl669S3BU7L7I3VgVwmaEr99qESRru1sDXJQKHBLqlZRoQevAqtqFU6ScSQhSU1f7hPyAr/EMXwQDnLNBx5iFLzq39UoUavsMzwesGImqdH+3klQKPAtoF2edCDXvDk2zF2bEtdSfJf7r5tRqoi+vTfrX67NAlNCZb2x87Y7hOzvi/ktKRtJxC8Tj9PA5cDg1fIjOyqVV+aaDvurUN0penuMKtJDkODPrGVe5JBm0SSxpG1aI8b0SFtHq2amOh2luPa2dE56FDsLrGIjQVQq67jEaGIJElPr0N48Du1Kl24rRGxh2/rMT3pcc0iREPiXn7KQWJZjn795PSFBppYe54wtoPk8aNH14anpIR3je2hpUmuHWfBMMTBWCBJpL3wHDGHwHLkOHEbkqpjRDO2cv83CpNuvMPVbB7hEm0sUiZ2iv2ThW2SLS1+g+TkUaomDsijQKDnWIECxVrkK+UvpJmz/basadGc4cAKPx/SoMB5KDFwuR9VNuS4HlSNcOQNRtRxJ3wLT4nDUZ2383Aqy1JSEOhRssqE6CgURxjtiUmCfc7AT+XoRtjN6WG1d6a+fnpF1WZFrj+O/cvzlW0nFfXIFSHvYcy5AK1GdVCDzIHXghlMDLiL8Gah19n6wsZg8lxrJi5FpIlEYsla0rBherlhVmsqoBr0+UvBjS9tAL/B0w4UjA417Bs2XloGyiUcuPelA7cqQPC08Dg0vThdQLdETuvEqGlXKjfbtRkgOgufbohm1AHKZVpBqLnu1G5mjHlQm9BjhPFt4g6tsTiC4M5izxgwo2MKb/1ND2RmKU91qEisEp5Ir+XpS7+jaknKI0nET9Z0WvxcJGYToyIQJMfpY/uwXvVKvj2/WOvh6D6ivUHA7aiz6DwfLg8Ap+XaLt7xyouQLwARMpoW83X+pOa53Cr/TRaZ58cwzX2F6wkH+sOIOL/zsMWG+T+de6anrfU8gCJ+NDXVfRPyKd3fF1UDV0uPYJErWz+XCpp2q4XLs6kJjmx0jYxhTSY4bOpVQ2q2PuyLlhXuKgDhDt/e5mTsATA39YDp7yi5oyqtzYsqsfp2sAZogaAXgQ5j3XF9oRkkt6mb7bZTk303aebIpd+2+UtCWToJNxboJeS9xYo8cgoBhd/4JbRQzr1RKaTAzspQCR6P9926rJqKLCsjMs92Upg8ugUNA1CsQe67ZX9ghtj1oIArmYfku9+CeQfEA5jBCqlmJ+KiK16TaS3kc/T632Z36tIHp5jpwO5IhV04tmqCzm5YVWLv2YRApGBPv+8zYqlYWUOu5TepDt1zg3ygdH7TLaWSvMFJGXrqWbAKRq9j3thBbaE0iSFcKZeFvz2BdQ89mgSfvoe5KM9xdFzuIYnvPIZY2yyGKTesVvoM4CQIA9GbQoimxBDpGaJYHFhMm/LipzZwYBYRK4QaGKX6yVv36auIAIduPI60AhTfhohNTFq1mzRTQx2cKtaZ/7kqEZhfygyNc5glxyQczmXBMw6CWaFdcNA22Ke1qhU3IH3mptXzXOmevZ+F4Ipb1fCimMyd0tLgGU2IRpLU+fYyzeN+9BaOHsDRZ6BNNRZSO6c+Pd53iX4priaaoCrTU7q2G5Zmxj1ZR107EGtLXWTDK2TlOaoPT+e4rBIF46y/PIPMuFQXe2/VSKsnsV0pn2oByi2JuwHL9Cq/NV1aZWTQ6716BcRDH4dnHMa/LiF+1df4F2EPHH7HAJ30wXNm3JbdOfDYQjToyowHdmk0vgW1QDVe/o5WUfUIi/oRp2F6mQdqQ3vduueKz0ca//aOz+jgo/i2fQrdyt5zJtCbFgEe995XlP0z7+e9dsPXL/tpewazzNLISza7zzvonY4+kw8XA+bCB3rHQ34XdNcv61hFbWfGW4SgGgoAUh0IXMjGLz3AVJeqnIT9rNQp5anm9z20h+nwrE46tNl1ahscjVInSp7QA+Qb1sprtQsjbs+yQ2JHqrlq/5Tfl3GRjCGIvBBkbU+fHotb3czTM2Em59SBNeSbNwtxLR6kwlnX/lhsEsHQwYr8LAcwOXGkAEcpozFfpJwU40niprOCBETKDPGakVKWdacJeP/zm9kLudGLI9tBdcqn7PQuZ1yoStos3zxCbNFPVFSVYW14Wna3B+2LwibOQ3CJUQOm9iE+O1Fpyh1PEov12yGH8DAnIyjcUtLPQT+o7DPZf4AsTzsXwSc5kzIw62UFpk8M+JCq9lTUNvC0xJeyKM2T/sZUGcEdHiVisyYnsbIls2UINRvieWQVI1+yZpvGViqLQOYPDp/ddGIiIaTa66yLe8IliJmm1hGUVi583VjSZ78rbGzR3NpTzMiDXWhoqY3RciuYye8KuUO3Ox3ksyFvWSLaTc4F3sIdIsatenGmw00TbijD2GPdkrxr8TIF+eLnMYMl/0Yio8dWCUMHmBsuehTsNy6JWKnbEV96pwyF2/1FEyVFFoiNWwxESGlKEHOVoYcgDR3iMYESz2RHd2n2qOHmvDaZUykJiAf3vc9ko8VdBsTkQ9bvqSGOLMLzua6ri8zS1Jp4SAce5XG/C747wrxHJTmO0LzAznIkk0O7yUY79lY+Kb7MwwjNqptTgYXdTBQsMVLfJOk1jVzxy69UujhUYsNX25DOa9Mb0ZTL2O4majV4YPKV38JKRphBcL6uT/AtwzqQSkGfA7ANe+muZHSMgqQNCV+wdscoUTsLnr07tRQRAa7QcRcfNXDckOelJxujEP6FfwOKUBcU03sOZ004sQO16wYUq+ObksWz7rlgrvWYHs+2MUFXFg4xXzqArGZjSvu9if9hmKNlpWso9/CexCUVBrWKaTfgxm6T7LhNgIslJjC83pqKjW37w7dgs57UH3iKCZGtTosfg2M6mo5ml06PBKIq8HToXRUdMtw9G9Txn79SpKZGodFK44DKVPxRFUb9QIFYaj2QdqGQoSl8Ka8ZBL5hRQa2NKCfh/NZEyEdBCzfNLWP0F2IT1Gbd6YS/K0QHFWNKwMEvHbZVre7dd4IJSuczrmR5KH46m8EZDKnYVHxEGgLP6O8jMm8Bw9Jwlw/jyMOGWeXabS/wBQ5dTKXDYxRcfEsnEeyG3etfXmshIvbk1sf/p8hS9duSOj8eo2UJC8BKE9LxP6AjGushjEd28As8ymCYROKf3btcPPeOR8Rp7PEwyfLF9yvw+4ku14uKn0aX52X8F5LyEJw1GgoJf21lvzBjXV3N8qzA5S4bQeTWHbBa25gC/a3ZOmK5UPRoFxqAzbk5E3LLCi7aZ2e7ZmkRHfq/5g8bciatWedRprnICCrEzdCkO25E9MEOcTw/5YAlB73QkKclzMdXWvYsm96rLG9DMzT0S1+K2WyLcYScQ+rJXpgD3kXSqa71UUxXZ+Dcv4WaojBKeFSJVGYcMpOAfMOOr2sS38FTGv8JRTSatN77a0zRA9vi8iY8SFHMvgax52VkO6/h5//Kznqxuphvr9t2HWi65JM5WAefEpMu3fhuLvynQchPhgKMfa/5VXF55rphdZjnYFrZmEYSLODvZ22QwA9Y6dQPnmHW3ltKw+JwIznK/NJMYdURc/lyKBUwXUlupaYMwgvRuXsqozKU1vACsn92T8+qSwJdS+AniZAGOAJlmlvK/u+eY2hkx+fTuQVz2ecT5pc3fSIbuVjGEYS0G0v7Bp2PCzP0XR0VC8dHxVr4CLAtnEJ77DMeJ5Elb1434sq+LkZ1+6WgZ3ip7FeDV4gtL6/AfYTiPRhp23UPuRuCjk6y6sRTLI8zDHIY7Krq/rqXM/uWiHOn//5JhX+tISp1g+cwLyEYjK3Uv9yZpnzHTw4pMcMXAlrXwkZS8tYinjp/C52Crmq1VmI4bhipw9WBh4Wow0NSZNtQgDwEJjh6Uur3xr9HbEaqg0G3M6ZWdmcsTcj2ryetJcAHMbBp7ezKr7JbRJ4vTlopwBVCK1JLRFfxWS0j/2S/usfqUSJ0gP0+gbl+Vn+t7unPpxCWmRLg5CUBYgg15WATEAAEFlHoIA9ym7Bum9KfBhOhXlv4Bwifau6yshpIAkNjLOs7k/6UL3D7/zkNpU6QBDjS1c8aDO5sudQrPVFD8++5GqmQ2EyLG6RIi8yUBF47H83dYK9Zx7fr9rgYuWWw/vvWjhBmycu6YRWrTSZJrYCYG3c/jGpI6AAM90mkYJ2ddWe5Ti+9m8YGnmim+J4R8GD4tnBMEgu6Mvh526gyZzoZh8uGrLAgBXrDDwSxX3MKEdF0r4oNuS1bFApHOnJStrbsyTpNyQxoxyVUy9KpmKPhHe7GA1BkeD8dMIliIHIay8AlJPgvdc0zR4LCI5cYO7iilpxGBKvxHAx0qJ+DRFHgAYYKP9l2dnizUj0ajusmsLsmw5xHCkLTopPripQXKMJUjGsfsQSjqOobeBEU+jVy6gbvX8jmeDRaijMy9ajvHaroKRJccVG/b3nG5gMqu8WHs/R1ngJB7HnhZmT+MKxmL9eHfPjAFdquWhLqokaJkHijkD2Xg3SmtYNFgBfiA6l9NBYs2O/ggf+mZ6C8H1svTorc549dmkAdHNSV2k2Q/d3zpZzPJeYsCLiNscdKPPDQrQm1Gesa9GnglKIvU1S3rKPLjLYQ+Uov5GYFtO+ggYrwJvQWUJeguktEabTckIu1XzswSVp326NFR3D29Jekr9fQDKnLeMdxVZZ2WuvR4ZHd0QohQFfS7+CaCXBOLjldUY6K3/HfoYUVLGFLYW5SQWThjz2Og5Grsv9hs5bi8FuYuuve5LUh6mRZXEEoUvi4sdNKeWRzgn0Lo5tN6rgljL79Uxosr170lxUbUIMl/SPk0st9FvkqziHLNV96TENyiZOaD0mqgnRnNpFfCSx3efbHFyGhY7xITojlfXVbAmAnYKDikqT/VPincP7mFmrd2qV6io+lGI/3dliRjDj/cQ4zRAhyUvJUIgRd/1wUQe0+RhbWBB7LA20r6AYPw/U/wcG3KvS5jEFtlVgyZe76gfOpZVZlT6Ath3UAjXJqiP+uW7pRlbHUqbKXYSoo+Gp4QbvqrUS47ADZVnOE6slZl3hlp1l4YAL6IysNevozB2am0WDNSuVYro+dVZVix5l/5A7rxqHuR5YuQ31eYgj5hVBRn/m20K1ARpT7lGVO8WTicOdDEp5MU4Iku/jMI8pT4tlLzY9OoL0t4ulqJ2fovNhJFs7StCtXy9Mj5wbgGvGFVLhOUo+Iv32QwM8MuE+Htvg7A6kqnP3ZhNj+s51xSGZefrArQO0Rx/NonVyY0mY1yt4Zjkd/gxPOIn3z4Ljhs5/L46a60NVaFv/C9aOjI25tgL1pzxw8rI63QIKteY0NdpliwqPV5ZgGT8UuR1aNg4EHbX4HGPdfTbGf7VFDMc82qPcgsWkKVkPrK6hmtmyQAcR6edOkqVGpdZMeDRN4MvLTKfrHNpjmqd3XzDVHGHzaWdAs4ZEQNKhBr2he4LCDdOfsg5TAj5SCMdF41eZakHpO3uOFGI3mLQJaWbaNLvrz0Ms5n5K9BqvX3s0pJOWo1YBhZ/VJ6Pjjrc4VyCgPMuFXROCI9tpeYGVjaDZ88V4lNxySbK1ZpaaxgP2/qCObAgAo9VJQ4N58HFCzxIZ/1BBRpl2m7Nte2ey9ULBqL44ldnXPbGXss7ccPNLeYEGUR2dx9IEAIQNrepbbP+ePL2gEHNAQ3gF3muhrGXU5ayxa77pAHMhpkfJo8srlmsOoiDbDrAnF92+XDG725p+gAvTFDvy8I3rS/VUh2CsYd3nAIsXRfllFcj2I3sO2VW7nkl0SUbybMnoxUIBOl12PyPcTTId1xSh4cdOlklpcjP19Qf6TipX6cJFkzGlQIzlxAteRGHLIrITIQ9CYGUTk7HNe7BXglNoX/MZifZ3DFFaoFtbF0kFku9Uuc1qQRojjUIIg6iuTxGvmumvve714DTU/oMvVNrPzSM7xOGY6cOn8xOFR2zMAcVRbXETkYX6n8hUmEeLWCDvbjV7BYCuX4p51C0y06CnRm6jKX/6aogRcV1VFz+o579xlNzo7fQ4GWFdem2RBhzyjYIAp5cV934VlyKDT0iP5MoQ2/iX14FauXUTrPxje/52ao4LCN3qnfzU4t2VHNK1F+xhoZOGt8rNAFxBRe1f4UPIDf3lz5lGwb8SOJGV5mkoHb7+PdtlFQwqJczPz9u86HUOOYdiCo9ziNhE6GWbpP1aoAXvMNMCe79WwRYKT+QuTFx6WPQi/DeId/s24K9iaucaYnq8Lic8+tbjBzqOPlWqAE9HSmpeQ3vJlq1En9gi38wthL7DX1WUPQaCSfV//DK5fcwjzkULH2tkeOo4fI9mk8R+drfQukQ8FsdCJ5zrAy66OZO31qO10EMt5lipdYw5IBNvn7hJlPDmQ2PIpw7sJldqzD/s/QX3MK4IyEqUvfJyrDHNGnlbr+WxpgBX+N8xZg+wXyvtFSR4Oq/tvrWFlQPjTYBLgHyXcxVd4vbz0hxBSpe/CDcMmeyP2QmBYOCvgvzSBujb4gFt6hjN0q9BkHQcoG2Czf1cuyOGUQHvpHzZ6GULlnJB2N6shoxBudwLFENipxjkwqB89zl1wyhHjk+8EPFGPrQt3YpEU9qUMsY1g42XrYeUfAwat0isZxmD/Dgnwkt8n1WtDloZBq9/vSOZw+8FcKfXONwC+S329KsfbYEZ9YNSuovZVteWBcqQfSBBkdLdttAjh+7WcoVzSbiaRLXkKiPgLrlP48bOtretYeH6XbCFGjdJJz9tW5brueuAicqNkEQUKJ7AP8TvzohgPR3dI6bZ9X20RoeRHF71oCZDuaiNvvj/slRaO2q8TDaqXjpDH4BU5H2pk9FC1uC5zFsMvyWsZ1DsvkvK2BF9MC8V+IU+l5ZmSn0rwmlxRA9COtRGqImtXIgFvF6jFO3vDAF6MNfFLG2rweOl1MwmcDk2YkgoX7DCu3PWTwp1hSupMzwfm3J//NFgC/3YU5yzhTZmxCuWOgPLmf/xrLuO2X2ZzM+w7Hz5fNm2R9SeuzAy1SIC1bBzxRoPUeQlA/0yhJgf5bbVdha9nPMGKt8cgPpC/HNr4oah4f6EGMKcDRFRYTa8/Gv4h6vF1CGEl4nM9AzQuMdX2JHRXrUekhIzLGvEkOE+4oiXnlQHTbghGFA7RJdqPJrbEGzSqekpGRBUT8QpR6BtUVfHvJgmc0FJeOUU+9Lp8G7qAvHFBr8qdo0bu7/GRR5qCCgPAwP0KKXLDcBUoTbItR6YIGINl3wFC2RUBG8tASO5gQ2omtv29gg40EaXI+3JCvlUyoki78Wj84E+k4gfEEvctc3GPtD8qkVi5AahOx4dJqdVa4QSc8apjkkP/6mbVB0OjyyjZMwjjL2Sdvh6g3jL82TXVIVlRF4QmPpNQG1Gh0DCe1fhCV/ctc8vpBF1la3vkC0+CXn+LFZrkLunBSIRKyl7ufz3w/qEpIjBylvgWnFATzym+f39dwgiewEmd7SMmZLg9IxN1s22vxa4iIwcGuwEjySu0fbQH+UH+TB8e5L1Gasq+iTuNkHSotFRrOZEQgaKr+BE+FUv9eSb+kZWSlWTIeVNQUy7jI5yNBYv9UNv1jlslEuUV5E1RcomisvC4L4/ku63O1NitbnBtr+/z4zQ5Bg0lQbT1ZUlnXbN1fNS8OVx7UH3hXzyVlxlYaBUW38kOJF2ZGgW3gXsfmOFYzMHzi5Lqz444R92dgMPXVsL7ZXszsvunDdH32Ge6eyuBmGS3HAcIqhXzlNb8ChuDMmRIII77dEZUoD8grHP2J4QrLVaOe2qqQIqBQIhH6gCK3rH9Ysm4nwvjupoRAMR5eQ1BPABNfXx4dm9ojrcdR4yu201ZKQmPI1BJv/nAfjDjKGzzJqy03hdKuuc17BeffeFiQi61hA+vcr1ULweCc/+V0ss64Ik9W5vh4FsRDC2g1p36iA6ZtNfe2arGzKbZZJ/fzOSTTchEnJ+eZmsBli78PlXsmOHxJ91zzGPr6fFMqqzoO7LcaG9cyyWCDt5hECraj5EdRgaH/HQBj+RFLJwJvW3DP0eLt2hd4Rf450zQuTCuBEKXgfyPjBx5+gCE8Fpf9ruMl4I9/z7DcxHzeGLeKr/rWXX1BxVV9lqOtPAB2jIYYHUbsQNU3LwfYQXbHtDEADsoIsbkE9BitjgKXnVavc/vZFkYA1719EleKgfMqo57wIMCS/tprZDajlv3Zh7WrBPRkSVbmACV3Gj/Fx3nz88VAy7Na0f6ekbHbZJ+CvFoAkty2sqZk0M8uEYBdgCQdt4OW3YO2/Nn2K3+xeNb3RSkQ0yHsEgO7xdC2ENDU9xMwxRmNPtKLms63eoba0kppXOM/ThfgGZKRGLIlwPNAXPfX4i2WSJ6JUwJKS1Z9mG43ZMC6HTSyyfvAG6Tt/922VDb1E0kGmwPVCykkKiLQteTf1trb/SQsUpdh7ZgVTHxxUlCxb+QYqIhdtCGYNj8ogyZEFPPPWL2WKF+1QWvOryK2Af/X3/aavZvHnSl6ZUfH75mOpBgRrq7I52U7viXbYQAoCGjNxzxVnEXEciZ3ipWwmWJMgrD1BMxRbpAOrKMwLhqbroYdzjjQM5oPU25yQkAIj6tgA2sQ4eBjX1rXrphkb6UfkE7HpAEuNCFqK6s0HafmBNaMC72P1IDA6b2Bk4vzz8243qluZex+h57H59448G9m5beX5wBVWUCTig78lzfRD6rTSXTwPstGuov9VTgrCykyH2UJlFDzbzlexF+B4gzazBYNrViwehGs4dODHDa3PkUNHulvC+F01LigijW+9hVytwwCpQB8qAyMyVdAT4JgM56S60F0dlVjmUBqxu90uoljFrQAB/hVw1qd1WvuLWEJR+KowRUd2VAIY0z2/Vh0A638nHKPLOVM+l2HIOjcKziAlBfimtEWRWQ34Uz1EIfnFC9MseozR0+H1QuiivE/Z/35RtjSjkzzi9e1jKTrmurPlvjjsAj8C3DdVUly6PhgIjwqeqefw9ciNwLi+OPVSKjrYHd4/c5y9JoRVvB7SimNeA8tKekujl3MTveX9uc7ul+efnfOdAPXt0TxlsbomRjBunIc3T+ZZRIcZnysb1Ro0NizR3LAYUx7jzsNZ7ra/+Qxf/EcfWP+CI6tAYiibhf94numzxkELFjECqp3rHHvVJ4QGVnP01Nqf7a3Yf+4AQGgFMgr5O3KWu1HFoTOVZMQ4I8kFtnZ851l77up+3cADWjZpGJlbWlMMQNq4RHyG7Aeare1n9sOmJ7b/re0s0OqeysSPtE70iheQaDLL3VF8gSQEWYr1NVk64fran+0ENJ9aHu6NPW2MZW/4OUt0Hww==">
            <a:extLst>
              <a:ext uri="{FF2B5EF4-FFF2-40B4-BE49-F238E27FC236}">
                <a16:creationId xmlns:a16="http://schemas.microsoft.com/office/drawing/2014/main" id="{360D5A23-B4C5-4598-BC57-BD42C31C127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18532" y="1087883"/>
            <a:ext cx="3382892" cy="2829507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5F25149-7E6A-4A35-9B5E-717E33D8DC6B}"/>
              </a:ext>
            </a:extLst>
          </p:cNvPr>
          <p:cNvSpPr/>
          <p:nvPr/>
        </p:nvSpPr>
        <p:spPr>
          <a:xfrm>
            <a:off x="9080740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RECEITA POR LOCALIDADE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Fontes de faturamento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67866D65-16F1-4483-87C5-AA442439330F}"/>
              </a:ext>
            </a:extLst>
          </p:cNvPr>
          <p:cNvCxnSpPr>
            <a:cxnSpLocks/>
          </p:cNvCxnSpPr>
          <p:nvPr/>
        </p:nvCxnSpPr>
        <p:spPr>
          <a:xfrm>
            <a:off x="9701842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42D8791-50B3-4465-A0D0-FB6EB1A6C92A}"/>
              </a:ext>
            </a:extLst>
          </p:cNvPr>
          <p:cNvSpPr txBox="1"/>
          <p:nvPr/>
        </p:nvSpPr>
        <p:spPr>
          <a:xfrm>
            <a:off x="9132498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1A60B9A-8293-4C65-A36E-6970F2999494}"/>
              </a:ext>
            </a:extLst>
          </p:cNvPr>
          <p:cNvSpPr txBox="1"/>
          <p:nvPr/>
        </p:nvSpPr>
        <p:spPr>
          <a:xfrm>
            <a:off x="970494" y="1061015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Estado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9172755" y="1558506"/>
            <a:ext cx="251891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inco estados (California, New York, Texas, Washington e Pennsylvania) representam mais da metade de todo o faturamento no período, e essa representatividade vem aumentando na série temporal, atingindo 55% no segundo semestre de 2017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Apesar da California ser o estado com maior faturamento, a cidade que registra maior receita no período é New York.</a:t>
            </a:r>
          </a:p>
        </p:txBody>
      </p:sp>
      <p:sp>
        <p:nvSpPr>
          <p:cNvPr id="20" name="Retângulo 1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GTCXK7w6cBjJMhDyn4I8hmQOWfYQdiIiERA/F+XE79sfMfy5kpbv6tyoCLs9QOj9yfjTlC4hJ1auToykviwPOGNQCbH5I9qSs5hYzXjrvDQVMk2177UV2uzPmaV3unqZ0GDqebMZsl3sS05RFvIWCjUz2olEVjywxFRHfvQe7mZxmRHwD4ojfn7XLszHRjFX/8tKgX2IxwffAciGx/OHq6zGj6lO4M+sYQ2EvC3B6mNQsQBSHD7zubp5yB/bs8sJmGsdJe57r4Vkuv+/737l2Pfrnc+hgmjBAtlq8Y/1Yt7gB0B3DSs1DURE4MEYffBEKmZMq086FL7EXN6uNVqvXh8+vpmWsObxzMOOq1az3UEjmF4hEWA4Ej6S079z00R2gWSi7O/d9vYq7h/80SGb3XGaZwR5p2LmZmETpthNOQs9tndXD/+Ll6VBdk2SBbTQBV7ziPN7bLAO5caOgq8sMReknM9afeZmb73N/3gcM7IUasZv5TEpl1pyMhOogAZuo5QBlaeBzZVEvzpn2HczZ1SOVvNjT1rq/+Og/fBJm1Ru4Y4rT7SjSo0Z5+F3zDQetGIW9lXMR5feMLAke+pWXHW+lpzgRSs/nXkNClHuwxGjdbMAILB5dpBULMG+sX8b0BW6uIjDDRCjvu5O54TnLQbRiQdFqoHedI0+WmvRkvP3PCtr5dG+QPio38k7T6bS5og7qEeCmlYVzfAKsK8SSFmsEztk6LGFZyXJ4NaZOihb5mUm0MGc6dIWvKlMeqIE0uPIdWORXgVQOWMDnTcXdfqs14+8F8vtuk4ChmUk/+USHq4UgzJdkutegJ0q+tTLHIo93+F2advaH8bEMYHEt2ytj96fgBh+7mha6GRgVPnPrxXZMbX/TsDxD5JUl8Yjq3jbwsG9wYM2Br9gtUrYX79aISNkFcNSuTQC53G4MrhaDTdbAsBGx30IhU30RngsgMO/oC9SDOlAMa3qA5FnvEng9/5wRLHqRk8KNyt/AIROnChcilAkKxiigaKBU1OxiZYAM0LKlDDPlNmgNDPC6NCAoDXXPYt2XFbgZ7kp1kAGzdoFV9jlpyTkkSwaj9N/KrMJjldDpElUWWb8ELzUP5bNtJWjK67meLqfdbMZ+af4t0ztlh14i/FPR3vJtbKUMJAZlnLPqL6JVjzeBBwQJiYv3Y814QnbnchIKtnl/F1p68Kw9h59Ld9qtA9UZMSP4tYw/smsan26JclW7NLYRnIc9yU9SXeWLg33q+KKghZAAGq2933/8VFJFqGdYJpyXqgjtmxodOVtMttFUx8ryX/Xrn0BUPh8LUBi6W4dQihaMuIMhDmizhDI7YwR45EjrkgDGwvtv6vXtGY/R4DkwOmnCrTBVFnGZSO5Tv1h8hAMV+Pdoyv677odkRDxcr9rHI9r29Sq7T2/Ty1O7sI8l/taqwK/ee92tkhTu1cWj2ixCeVXUyZ7sXnc+spZWHWxNveo+7jTSTOtAGNrKwi0wGLOf1CJARlKhI4DBHrUd5W4tEgw4vYnFG6egrqQEQEtpJn0CtHSYb1tcYbjaiUNeqCbhAhXqThDlC8UOd0Txj3rc3XPfAj9n0dqGpbhwna2sTN2GRuIZE9LMmSWajCAldFk4W8LeVKEcyLPAwwxhIPxN9nVB+CltEOCoq1yw9LdTr+RJJskgzDHlkaiOg6rXtrXTFTCyKpVBXJAlxN8sgfmwASmJ5vnqcwv5rZpQwMqGQivOrekgkdubF7+ZJNap9WL2e55EE2+hRIT86sjY4gPKhZq6xbng5SyWhGWidvtE7jwIEEKmVIOjo/R+RaqKOK3rarXMhg0VdXYlRB2DYeGX0oZ7q/0wOsl7WzQn5uQyCXi2wo5wSUsh0DcIJoG2Ov8pjdyMKoVjspw+MAbd5YsOSJBZ6mKhDl4FIHju0dPSEsZCxoLXfCT+/IHeVQeOzFshLgVl06tMUFOzXrQBZSjM6kgAR6Lzdgto4kM1mUVRJ6ZVozvOlTxOJt2ji2+gL48Ql9W3scd2PvKXDy/62zlrbsOX2KMMlbzX+Q49Mc6g9ImeLX5VNv7x2aPukYL5i2+zzIBlxixtuyaZna3gma/h6CKMFp1nGp0Y+31Wio8RpaaKidQJdLbfPEmX418zwnLk7u3Eyn61PQAM4mCXGVv7X4j+P94PnbsXXCQs826OcxRdWz5lEG+3X/IKDVyHUhfme6FsAodb5vUOJ8aC8sz7eHq4XOjsXEEXfB4IVHE+SYpRAuwLtAbbNOKzcpzQnSUNL9DBV79iMmq0Ikjqv6grASWQJ3wK2idpxbuhPB+gQ/rlhXdbGTxjMiI31OcQqC4y7J77l60GU7cjNoozmqLEAESDCf1ZismtA9O4DWOqNEIkzq8Mh7ed0lwJFmycKk9wkgH27w5Y2J30N/HS/psQ6xOhcWYtrzuos20OvCq/cxYOfZMPupV3sJtqAWN59RWX87bXdxK7b9bZ4NHouQP8XFFG9cKRjn9W4aXbbJhPHVLaJO9uWFXdxjaDbuiJ40Zb4qgEcWi3QdfbitswWQAeybKl4BkgmarFdPYEBkAB400Y/ICi3C+2w9GEbHXOcPjldwuWvXtwS6om3sw4EVwyIN03beAP4ISE7nCqD6Ul14pcLII4ZDeYdLHZMHchATMUyCApRWAAhmGeDwH+p4Rg8Vuv4DbCj5RmA/XfWjOblQPAObA2B7fOxUJ1uAl/9H8A5dnPH54aVEtg7JuRpgNEAIMdKh8oA3wYWSICi/UNrOBzgwo9NrwLJesS7XatYsdp+f4u2EGdYKkcBvJkWwhmA3sJpfdIYE3Om3RgzcruVY8FR6B1Ox8ABz5SW57lnv2CkpEWna+SwaLydA08++E6Zn56/W+7ZO/C6MeMlBmtQyh9EIEvsoD5VuUbg+kVAH8QA/FsdKxaEMa2SPig9BHBGxtN4SG9z2cHuHRWFCDV66B6y3xpLiAGFKgEqVHzF4DGVPtxINicZ6qrZluUYWeED3ovK9AFGVTG+Ui6Xv6JxhYk0dRg3f8EGFMJlmkeWE0/JyY0ztGYKdtyoaPJ1i/gkC7dXdwWSvhCC4NKcijg0q0li+pTc/kCtOiEr7F1ENif8ZHIUb0cdgA2xepMkLOe8Oi+zjGYDvqi8AxkA86K/+nhIl/UIDmsnWYFnWjzlP1YSCf+fMxlTQKqG3ysCxJEI0gXtbeiPeHrkxGXsSxPp18AldW0aHb4PrvZ9uwMksz88uyctpUhSj2eoc2mgFIX4EE01nbTdB91292PVqYdi+GB+Fqct7U4hd0bkuNWTiRO4v81XkRqL073E6Sd+gbof9kQPN83aR20EOqfr6C3miOM8KGpzRJW4RythdArIuOHQnhZx6ycnyTz1Hi0xDC14Ppsx49qYqzzh7CvFyLB438dV/DjbXCH275i4syiodeHgTMsnBhUWJRzlawmida74EagqrIr5sDBXyurszqMu/de1P2Gk7Q4sJd5nOJWp0DT1C8EDda5xm4WHUlC5QiSh2kgl0ou/VdXB1yTdytcfTBwqVF+Wj4WfioxAx43Q2L5M0XSyZKxueAvDmJVEnNSjboyZjAcpFAknrj/LSh4phyyowLmGllUdiaPkv1iYIE4hQsE1ld7YK/P+BDkMgDsrenJGvbwGy7B7CcNQYLvlz3xKeUEjDs2tcd+aTt4XWzOtb1Zpm6o9lbAaEOPPldRyI3FJ/a6mWopN5d/ZrtDu77AXv7MY1cRqz6RN/t2pqa+SClaTJMu7bCweOd9Q1YLzzlbGGmm6/bz4BdjU3MQ21AWW/rAfmZG1kY7oVPD7tE9Og555ZmpMSDEYO5ihBTo2SIdvgk3NLtAZlY+HnN95zfc5nFVGzEsagXiin+olG73M3oy5g9shpeGylc0vtrI2knyFKahPEBIy9nBFgtuuDzPI3szdC+jTexhwXcNU0JndDkjgv6ewJV/1BCJaO+FdVPa36EW18VGw/B04kmlKA1Klprjv8j6LWh0dMN54qniDjWwyWHz/Cz4VN4yJehnTdyHRiIxYvyWheLFmn2DBGIuXllDUthYntZBCzi1djvVaw/68jBtUoH3+ArCjzc2qz3e853uCMV5ai1LUCYMLJIDIMFgg9crbLouZqqLSi9MXr4S63CGvqiFYSo/0W+URgcJbRZ5Jr1KCg5cohrzAPD6J+rol38dP7PjCHWkAK5CSwNjHAAivLTC8aBv7llnthaoFLmAsftSyT4kan7YFfgj3Qx2QlZc5u8g1pu0hvlckdAyHUlV3Ofwr0ZbjsZPAp9eQ63yNoj/fw3wkVlg8wVe2+n0n+IFNEVZIYC1CS4wfGcP5Daz4UhIDStMC3gtNAZIebLBpeUD3o0zBdb/EhfkUDAxv8zSVj9ik7yV1mguQQhM86WjNozfwsZtYoKeMviWRcXiFvNfCszPKXHjcs94yuK+r9xSCvH+YGxfd3a9MRFHgujZwdoEeiaLDJwL4WqwqtuMPYReAJoBUgoPbTWav8ns8UK3SbPGtaN5+rDn7KTNJv+A85E25L1upyaOr89Qqi0fcpfY70a8MRCg0gEjI0F3GpFKTCqo32kVqVxpWkHVsTZkU+2gk1qQXDajLdjsaR8OwnTQjhRKT5/Hu0Rmv6KZKK1QyIYPgF7iJCUzGEPXnMM/v5VENzLCuD/Bl/Jt9i6RHl0z3Ql02m6cicyFvsBK5X08xbi4ILLUmXS6T1GjwvvvcG1PQC7a4by5SDLDq8vXgWR4CJY5KlliGrKk1tGMBGbNJ1aHWawdCTYhTqEKMUuHLAVdFYR1OdyXjUpTuyIOnSNcZDM9E5LviH/rw8v84jIinFzgtPk9v4xIx6AcrPIX+q17Lui2nWsKrgQ01dEBiUeNXIRYWQZDud21q09OiSRY7dHZiKlFP9nYpLFrVFPqQPxONgTkVyXr5c2NGBxiAZgUKcuA6UC49HabxClRFXA+lFYGqm7cXQZkv+903ReFjxFECd8wupF5VIZadOF8UU2EXLIb6wsLtnj7ihQMFYghm7Lf7HTTAiP82cKqSmB5/nMk1unJSLiS4e6tz0xV7YTkfB6UFNQIyGiRWfzvHr5xkgY9GaeRONOw9EWEJMlT7NTU1K8pOcbmeI7Gg40WowMqAAVq6puSalXabuqiffQNmX+/4pqlVn3r2Xwv9nwA3JGaPJhZPdKacqmTMOVx5DfguvmtRVksTE3EXni6EZ68XKw1K356P8z0Itx5Je3T2TO+HypeMvguyXBUQKdQwz2CiPt5gkGK+PZVLMzmbIOuM9OoCqSAUgPiVz22euMPobiONRm0CAhP+d2+YuWwaUD9cnkNABP/AgfLRSw4C4Erjlgz5DGtunebfRgHgZ+v/4ZdeHiTlDOmQe1iCqQDJmnLTh5vfYjkGImf209HKzHP4DYQSkRTxCLNvomWhIDfhrocJvPXv14AWGw5FisevBQG9OaRprrPkk99Tk/o4zVxWaGb03QDrdqOsi3/Ga52df53J5+u5n71rS8woslJMPcEWDVpGMR/thy0YPzn/nolAbXCXhVFrx6VgcHQdFEu32v+ENzEgZrs9lj6y28qvxqrIc1DF6mW+IcUilWqoenLFD3TZcCXJanqCaG4k70o8R2QTEF6RdZulTqPJjALaT1Qs3IcMMs3aP2HsvoO5HKDp4G+4E+NJIRFSeNJbaTWHaAOtf2JSwOZ97EkeoaK80oW0vVNP3v8mIIhrePXhKLpPonTGdiw0m9Q6bABk+PEm8lEu9FDgQhljRr5+jyIZlbpNJ/0lzetEml9/x0nhU7e7kVRQv0I2QHYSMubCvb3CmWCRMCx9zcTfefGsN/8ZVKhMGg7T1HhVQ22z/z6O54787vn9xjBIPX33C8WaWk3dlR+Wov1IYFKE9SiJ+tPbxbT6EqtawsTXl1O3ATp+aGn2Ys/EEQ5dZapF3qkIiKtVOMMyDfSiuWrTepcTOZqXioS6O+oT6+tu59bIVRWFf7xoiAiUviVh/rmaCasidVLyaS2cvzponl4gIwVhaanmagRlpgGVpui4yO9i46qLKP5x1ylp4vQ9XvJQLAoho+QDpylGUW3m3Nf3mLx2lFPftFxRdDwKzlVC0QRFlPNkvjqaB/rAYb203DlIxG3/uyDQkMFYjtfhWQRq6/UtyxKl3vGqBhX4/qbM94ZzLDcc0nyTlk8HCs/rKzRNL00SxWyc/JblBOgPIxOeiwNVYgOFEHdma6PGTvBUucBEympvXNZRzs0Srbkxe9eRqjZRVWM++RE5i3EAvn7nP9sMeFr4rqvOqXcjojAvsBUbBxI5L2SOJOiGOf1mijq2QgWlSEy+O8Hyw0Z25ilKnusSC2c0nOdSVX6SOr95H+uluBMqmK6Pc+20MrcFwSYTJ/PTUuq10F+DhqQIIFYUD+fgaFE/xCYIsVc9q8H18cg3CVwlVMFwNvmfclHTntceM+80av2B3Wn/s3fdGBj03OCCm25Vc2dcfRBS4EpsaXs/XMOEoW+kTtuptMP9hUIin01E4D7MG6iojJllMdSJ9hSF+y7KIZBLR7SJMl5981gzcfamv2L0fzK+skhQH04Gj32RZLuVFsqBqiVc8Gix+/KWzLoIJ6Z2cLhewgb45kx1tHu2Rvhe7ybh0kO55IjoWVcoBtHUtKox4Yg8i2ShjrrLmr3hdd3sNK2bXSd2DXybSvm3xFlp7uVDSR+pU8Dx4kRprFt8W+129Johiu/H19FxVvphA+LDTFksO5gVYT8SBzN77dnTJwaIsvetNCG5O7p6vGoH3sKy+UmNlck5A+CHNNMVIjCEdVXyQnWVYEzMwNWBoCP3P3dv0ZAvzRD6lqXZxDq+CJ4kcAYgNI4iB8dj2RhYSSBblYEhiboXlPAUNgJSP0uU/2v98ICxmN0LpfeajbNxpkALYpnzxSdeeCEW8bcnwKgyL7e+iYdMEqKsNerThflJ1UNNmbktHEpoVBD+QnJ8hB0Rya2kG4nHWAX/bRFSFUc2mHaLfkBInGWBik5fRKFLmDM3ap6npD56U1EPa+K8xAsdvp2K+Yv2CeFGX3J0zitAyaSoOC/W10o+S2GNxgqo7CznKl2QJvnM4VQYuwWm3l2Ul+nkwFWzRfEAVBacryYfUcz4mqqeP6TOp6H5Q/oXXIgUmgyy7sRX7ZioN4C3KgG2FpANxN2v18fGt4ofZH9Gk28oH5SqMWTB6+BAC0yu52X9BmvsEIPkKL6r/pBYuhi9s2mQB86Ua2heTRdzhM5UEKbXMp+9FwnbUFvG7nZ7dOqdR/70VYjUCdNc4wtA4KIDH85nJcTVZjWzjPYvbVtNGOTnJtok2Zf9wNH/P70yExfdjcHjzkvRUy3j/NOuUg5DLlOIgDr0AZt4y4BvbZhIlG69P38Hu957KGchjGXlR0+cJZjzNC6vKzZ3oKTkwEcPIGznKSybe8djns7FwrTKdQdM3nhoehlUDuOdGrNHs6q5cpI00YrykRcvNvDS50k1qHCmo5JkY8fRy8D3zg5Fx7utZtDwK9kl3+FJgzL2IA9diziuwdPQsehJHucx+ALCoHxOVMTUUrPdvVXt3/U1ksRimQiuA7KAGyjGl323/jYxIubpxALWqTgEJkyCef4vrYes4zuSwGHSdO4LFXPNlFNzSOAMQK46EvE/pafH6PcOse1AM1tf3k4nJBOsH8JKGp+/hUK7Wi+H5R4R9hPnoyz76qLzzTn5+xF5lchq4OUE560YW5hikJVcXAJrJXsAI0W4dMWVy2A6WG7QFHN9505oTL4KPHn+E3xMbz5a+KEoHp6TklIyey/hcMgjZZhXlvu7gGBqc2lS8v/TceXAMb0o+M2bBpO1Wqss95A3dy5xN8ZdpDydCPhvrl95lBVEpKHDOuI9ngbvWJAdjBa75RtUmP+wwcyiv8SWKP79YJ8y2FDQZ/JiyMGw1qDyuZyWsULCArkX6+pLSAJ7PKhbO+79IwsUzmY2qOfW/c361jX83xHj7GltL4sWf0EOGf/biEqXB6ssm6l5WuW0fUXrWd2x0UZaDjpKgedEDHqkhZ+q/hxVHYOD6WGlhALZqxp3Qmugo6u1bAJt0haIP6V1DCKGIPcqoAgcTgnnV6B2yxafCRdBUd1ZhSsxCGrS1MwCWgi6CzKd493arGO+KyZKIZoLHF1BcNSky3jBBpjQpaVMFoWLgXuPBeB5mWQTcHraWoEkriIUSxcPnV22Bs3VIjNVPpFU8cKvQDWk+H0ZkdP05HInHX7D12JR70dh7trh8xpN0Gg4NI1Dg0AXa00K2qwlgaCmK/ZWNKgtlPvfq+qYcNiDxKcJqUQg205m6ds58aLnsC9OrPS5yumXnLInMAZ8gGEC3FqfjRfheGNN4MtK3I4QD6BejyQyN5U7mwXzqP7oJi/Bh8j/MobVIzJawiTkgaz5CToHzPmM9qaiWboY1LQSgHaH3BqOSz3zzkR4CSTK+iHKLbQUn4R+0FpH3jl9GHbNiDpYEA+3s2Tnf22a/y9D1zDtgptSVj1Y4wH8HbTjxbb/ESli11ducT4jUDlmwBRBdrFFZYfg06K59STlspWXvMtAUdfd+N42r+BbyTFivdD3359LyH7ZHnWHvXM881XvJulblPgyWkN6VFQOyO2xboaAhWAGCWwrFSdyaZcT/Hpx6cubxtyh22kzL04LXHXqUkESLI07Fo6isZzs5TwDFt4IzTVnQh7xGddNePFTm9NvQB3K4mJ3GdgL+BYafo18ZEGfqhtjpVk2cO38NteQIHvlMie9BPYfphHJ/2/7xJe86oK3SYhhNIZIhZiKBlAByco5RqD15QivNOMZl8DQcbVpZfseE6g+9zwURHTpeLqna77vyHE/sZnMfsSXJvqu8j0N72VDY+i2lKAINZ0CGj62YaPJ/7M370/mWJIL+fAuyPyFPgAOXpb9BhLIfjw73415/23CYWJC7Ac75+aJUEV/Wr6NAY3ZbvCgOymwJANpOzELzjXzGvz6GB2pbT06X8E9844/+rDfK+Jhi8NUTZQ1iNvSM0hY9fTKuEaRH/fSXhI5Mxodj2WevhRotbCddNjXXW/SAcMBJrkazlHX4hN2gZZg9jNM8biOp9UfMbp0ydBaYs/4v9EMuqSzhYqSeAmTNB/DyYxQzpTuZF0ytRzII8yy3IEDSOyaa1RnHw8gs7a/FUG21L8Ea1JqKhP/TLenruSDtF+V9UIMJW6xSVAk86aLzayIwlUk+cJQxbaN8lQWTsaBgDyBy/VATTL6/zCkFi6O4/50PZikgv/u42VfGbui77zuDVRoZ8XHYn/YvuYN/bSArDPbCY+O93dJuwKu/t/0GTTjGt/6pbakhbqqETe76KGbc0i9ZYeGrEP0WOV8wU9jdZycj/eLfos2HaS/FVFeiLn1RG/XltR5KO/aScXMTTdyhkJuwl3924qOv96jqV0R4zHNGOTEQmed7XdRWc06K9lG3RUpQpTt61aR4eZcIloRtixduDGmhoWAa5R0Q8KsfPfjKTpLXjxoanqGeIDejJEDBnxXrcqvxe8X8B5qNPnGLnxeoqdxw9trY3E6rp3KWzWJmRyOAXO1uiJs+WBIfmnOHG/Rw8boC5OFmzSSs+8W/xrICKGdaBBIQ1C8wAYCk2QX4ykqXZc1b/vVp8ymnPk4wr73wniknvSKokmQ82Ads0MdCBwVx4S66dL/iN01kcLxaaCS5FKUT1Ni3l9kHTUMC+zIOMq/vHHEMTlhWySwE820SRD6EQ/hLQRJdcb/ORcqpZXdH+UCUIGwEW/fYZn7MRea6Adm7kim6N3vSrXUQuB+ou6P184R6gJ0wHYDt9A+8jiEbnTIw790Qz2wEZKA1sCvxZzJ6Y/ziZnh46hPJ4HLzs8oTcn6tjR7mrofQkttx6+scfWKpVMtRpqdaRMq9kWWzKqfHeAcQ6X9Q4qEUgbx4+lawzU0xEV05juaFaZqSoqnLyAcTVECSIIXR6+yVO9VstCjBMA+yQkABz9ZzWOaqgwhY5Rsn3hVn6f3HASowzBVe1mXvpul0yZ3ffVM15xR7Eu/2SYzRrSEpik57/Z13u6u6vBih3HSO0iOh/CQbU0BeZVMZ/km7niwClVgI2mRVCQQQ6nyRTosnd3oHWbOpX1FLIJsUOQSrNSUhA62JI32oB4rwXLc1tfv1HZxqyQYCqXKthluyEIoRJIarycGk1B+SW7ZYLbKxj5KXBDdV9BPr+BGdFBP73jOr0tvcdxWDzKSiXK/bPZuovWh/OP282QQlC1ALt3nMVVs/mGiXu3uIRvB4ewq66j+oHyGqzcVGrzZ+uXb8EICs2tLaUthpAwl7CrB5lwJkXUEymA7bWmcnJxWSaRGY87xqvM1SDJGkEpbbyE9zIpA4lDn3mUvTVX3shrDgxqq0IDe+2mm9CBTo8r8I+hkcgQdzfoDaRz5nh6duQhkpYBp8VS9xzPOSRDdvMqzCmlkPCstaEWVqb+b3QFSWtzrpWoB6NcE4mx6l1/+0rNskDbLbkAVti0eNZq8eo92Hd4OQ1byEhEZq5o7ibaPauXLvygA8R9wHNpj9bsDmGexQgt4IhQbJHHT7pSvqMhMDVZezB8E4la9UOfWRU4FcsroN4pPExjTHpcUJX03Uch/BSexxE02Xj+CvjVY8cuocbru5k5p4DzWCSxhsvKCYisMttmsPzgCGafZEgj9FqA7/DjQGvf97X8A3HhCW1pu1ejbZ9eDLVWNnZRl03oa6AMVQvSC+bOK58bHfFAXhE18RqmkX/HLarvs2EQTDreRmi9ZlWGEqZ3ObMIlwk14PBlt/Ng5jNIkoe+Y7DRQvofN0EN9DqMIksr4YGZ3uEbUaEiHTwQr4aR7LEu9fFwienTv/W40ObcIy9/tKkmla+vxP1MYypGcB4aWY472u2zcIR2bNc6ZocFgP8xbRaI5KTaoawSbCPCllGup5sOYPsn3cYxo9j+ntjJj4gMc3jRu8V+evRu/0hRcNDqCgGR2TjyoQk7e1OLn31+PH5+xV5YYlkhVsJ+DVdiYkm21I/kmE0bCOtFq4c5TVhyWW0GR5xRUe2LxC/wD86ZZBTaVrW+bnW0UcIjKrhzLNzvw8ESlSaCXVCUDyTcBZBkMSXeJPIQ7hoVD0w8eoJ7TkrF/4SmN482N4Vxu/IZ/7sEgINy6GzsFn2soRA9+P0z0WWWkFTY4CcAGsPaK+cYd+rrQCzEZYM1ncVDSUZoLPmXnTjBJvJaj8ysfJfwV2K49W5mglT+/Sv93aisRIfQRldD7g2EMnc3oR/kXieYbTQIaI+XYvuUyi1GQu6m9uqHAh5ty+nIuvaEWo8D1EI5cRV49YZPrE7MTIzsZBm2qZEmk23SjZ/vZEYao+Tw8Ae54KFAIlZCbn7rVYmTb1T8tUmn/fHSGbYYqJ2GX91GssYHWBc8ifx98aUsfKgiq9lagUm+uSsOiHSVmzeQaYue5FzgAkrUvWJ3QbNXZfd2EOQPCEWu3qikuWwKYhJ01PSLhk9grv30d1pqbt5Lo2mTimmiNj+9YV1VPr0hocuTUZl5S5+6RiHut/NnVlJSVLN6QiE182N3OMrZg0+xDY8zsUMh4eilCKnRNutR86h3BQ5or7ooOQtzk/iOBw0cv7LcJk0gUWUHRuMEl0cf4a77x8P8Q98ZahznuLoN5qQmSdwOLDyfY1D8P/d3Pw9pG1u9C3ZTpBKlpjdL26TxHVOoC5/f/nOsPypJsDzsjmi3Gbwt3GxcEnPPCtfgLpTEivGileQTaDp6BTXuTyBha3hl3YxWXkWzY3ZYetqD5o0R+/x3IOVvdhA78UDS+DEZ4GahN5+Yx2GVFq7+0uL85ikLexBdvkNmFpqkCMelns1zibm8nXrFvJ44n9KTeabzItPAsce5bbMO3Ss+AL+9R67IRD1KsPlpBLN/NiFhQjRgFOJgtbuH+K6LvczDIo67SFb7x6FuITfXuMDPyzat9jENizlRUV3/wNBLfAOiFVQMkJXJwCS8/mQ/xMloP0P1kJa05U/fhkYfJToMkzmn4yo/LE46LU6rETuot52reanIdFhJujxinyPTTSVg/gPRWtedEcI1fcaHfeAuxm5B/wzESEsROdBMdTOe8UGuja5M9LO2gCWRha4sC41apdE2WpyiWK2W5TWvzHJFTI8+mOs5R55FuimlazFBNBPp+vMCHw2iNJ2ldq8bT5K1LA1RMo6qR+cqRZehY3GDEwYp6OcpWjPEBz3ex/q9B5pMDnDzPPE6UyA0mTjieMdpMIuhYyUO2xQ4oEqP+xQVzrv31/Stx5CfL3w3oV1G4qd1gJkr7Fc/y2W9M25JrgfbSdgbBRfSbp+T3QvN9IbGJn/8QhhQNHBdUZBg/0sbqKzc97E9MhN6ksouUQPQssGAQc2zWtQF5V2SeRyk2NoFeGoxeGTYJnhsNnY/CcyCUzDDnxwZ+5svFLZgP3VYGZYbC90BIKiAdHt0go4GL1D4CKN8AqtChUpY8QoyM15yiYaLi6YRuJmnmM+fQaTj4TDPZIPfg9m0M2sUebUeitcWKBJtdI4M6Ql9UBRyOob4JA/V/jDE8/7U1VSqZjC3QKeXqCsNRWC6GRv9JT3XqMT876nFAvcU18F+gpH0s6ATnemBzKa6nNCiAKNOjWJ2WWdvSxPbPhAp5wgr6b7MJ18wCD56O8I5I/b7pK5RZYDuBdXY6ac7otjjL0PnqPLRPKDoUOQHQrYOJ14dHNT3I4Me8l9YHrdwUSXC84jk1qcnQDTX71NIfCTGH7J9JnEN1wUzWE+tOBkdflvgAvWpT0raSMS5sAeCXjc70gHZK4EznwTkmtwIavFQFlj29fPGsybZvBvJfCIUFaUgKzddZphsN57DaNv25PZeBDK2VvPaDYkpfUJgu1AISxVww6YVNTQMUBzG1g7rxdN0p0a6eEUwPt8tzY4MzswIMGysvcOASaBZDU9RihrHb1vegkOJkCMwXxEqvRxm9wnO62RsFGysoPClgLPTDpaz74hyEywNp/K6EjJcKeT7DQJCKbOfbM4x4C6Vd80CYSy5z0sWT/pk037nmLf9rcFWLwO1WQWA7w+32kGod1rfkqjOrg3KGP1KeytQTn6/U1/A41EV7xFHATF8DzoNp3E417PilcH0BO9tx1KRh8Jckqo+CozV/ah6xHQBThRQjhLO7Oyk1j9st9O/chbeyq3UrGbyBZDZ6DRWiJj/wNtogEZSjcR4oZTQep0dMjSTH9Q6IMj0QQXbGpMvUQN8iaPuoUt7RgGnV3/As8Lhq9Hduvr5rgy5eF0fhwLeGKAdJTyWz71jpaDnoXjaCMm1cBvFfiDRy/MKwGwa2njIIyywaT1XZvC6mD0SpiOdLNYgq2lzbYqEWEiQ5gaVAKmQ8t6iLRjS0BT3jf83vDgEh3Dd19z6nGGA7on7djLROyHEYiqXzSpxeQioeKwBSXc1R8EnsPNtU7cE8qmcBIZoEVuJ0urY92tyfLazCNJHCEgQ/TalCHSarKxiWdXRC7HP+tJ7bWjW30udmvNnfrGAL2sgOaBEcouQaC+Rgtz+gfQWjfR6Dfng4NFFVEzvIOTi0lFKRsjFn7p9i19xS8bffqIkky3NdFTiKrRjxRuKMFTCHQS+wC2EXjAOfRanfL3uxhsn0+yCTwA0jbElt3S05LMxGln/P8A6VAeHzO+pxbm5oyHfUo7gVvqf507d9yySIhEClwEiGJgFcD0Xfb1UdR54M81G1J0q36tDebNunpD1TS2PKySbNWWVUWgf+6d3JlBIXAM9FLCRae3Kx9h6/tbRdXTD6ixH330Fue8AhUf9lSBF/ccE/aXpyllRPZUZtE0+Hnw50etdGghvvQCM2JAm+gvBYwQslhhrTyloXpSmTvUvNBO46x8MEz0Ct1COcXusE2r1uBUKz5fb5kkyYCCQa7JOMNqkWryrSnM4VDul60W41d2PINI0UxYT4ZI6xRcHrEP5s9uKe8ocwFRqVKxIDKApM3hQU5YKTwRefdF9Vqzv2fKjqe5iYdoeq0M0/Qm9yRhnrLVB2PBe8f1iBvGUpnAEEcXvFzvw34WpY6bmJVoaOR4H8DY/GEAJMg5dd0PkEeg5QfyIbrkgEcIDiC+L7xb+ueoG81DYHOr7RmGIpdm84TTGLuqeA/ltNOJSiWeDPlv3WRJAUExG5cRXjdw75qiJEokHrikzfIl7SaIdJgOwYzbdwzlOq/dT/MFnT4qiXkEwVihWFTbwIGCXMlZwjTTxDZTqrOPwZBxqjwCUMZa70I3j+6c/2QS7ipvjk/SFsnI+k1Vkp4T5+A7elqLTlOe71voq96qYJyAHElU7ChJEjqlnABczKZmbe/1tf91lRj9DBaRfjODyx0gpQ5+Z/tx1e/ySIHIO02o2228LNJqIpcfo1jj7/rRMHqOOZDUsXDKQJIC8zuey9z1wF3Pd6MYYrPOfqVi0dmgJ08lmiwnWJtJXd5Li45e7bMNZDAKI2QqpV7UHX0zJcqwu1eSqTDnvLjsLlS/HKxEokovT9jyu/Nq2wWy0lVE0DLnFn/imbxjTJ2LOTNCKXFFeWCJ3iaEl9NuPd3SqWH4GijBRHKIBQZHQwhU69mQEDGfIApHULLlvYAxGiRAg2LDWMNyEMs85RJKBRK3xy1oOr865E1tb+LSOYeim27WEVZZz6PYNuS60h8fdUXTq6uoE+IMECPYT/3ql/CU2D7SRDqmoEB6p1DrSzm0oUtbzg2xwqLhnFFFrZorIgQBhrMRF/EulfHPuOIeukVMmlN5BZ3SdjX26+QOwLmROMz/XzQ45bbgJ/j0UGaiF/bmKct1bTmOvREr4i3zzgNla7f75RMHEo7jCA9gUgD7RoL+jyyUmiGNsHXLnk2feaX9ftzHM7z3iE4QtqoKtudczoIl6f4DYuZPTXDMFHA3F/x5w2rOVbJIJZTswi4CckeXOKaHkf+hyMqDUS/eHaEltH9/+M+v/ytZxrN9HoSQLP97MWGEZNE5L8CyOCI5i/R7/t9fNp1XBTlWO2ma57EnLSM420WZ7rDc0iE/Iz6QWhOYNt5eHlIihYxnOf+aY0bGS224I1y6jjDRC2BmIDFSGRcGngF6OJF2hYdYQc1gEnoB3mrxuEPvHnnwHczhQqkfdUwWcKy3IaIOsnSjusLJ+J/Khu6sfgEQTgsKKaeF4m/tJOICZbRdRfk3+VLUl57IcJkRlKJJS3Dmk7IB+PJUrX0OEZJIraQ44E2UgUp+JTYjx2aJordIlmvbu+lciO5EXBsAX2Ls6kzpD3wDIO+IjT9j76bgJC3pNeYsGu7OPJ9viX3BMA1dScb7Zdc13+g2GvEonnbH0exxrmXkWiFKA8iPkSGu0c6vHwrBHfLePZY9GwFdrztuA+1J14BXloOwjefeQomYV8ADeznzUm6vqTbNFmdt0mUnW43Az34owz/6zN18bydyZyDCXakAV5ZgUecBvuFxS5zfc/EEsz05ODliU4X+CNfAl/qJnD+xmt+TYWl+0Mxi6USGMrWh7Yv+n0FImsddHJt3p/k/HAGeOWfIgosPyubNNeMzMFMVh59JRkVmx8QoCznc89zBlAzG+07pJhcC2A8G8xpuumGTFC9itAoNh3BEpMfKyAVMS9cYnXnayOUUUUmjsXMaMD1bvVPgpreGPpUHZ5vFIs99kkq0K3+8k9B72JYNH9ulMDTzZqLDMq3NRZZmAOGEz8ZzfnQj9JklPDG61WxCRtZx7X5U3voiwLtVmqlHOtaHKnuxnLkNFd+hUTkoPE5+6fUmRhsjBmedpu3CpeQQFhG8EHBccWdEq0YySAjlBEOOGSXnEZYuX0ml6ZHE3SOsiGll8TWNSYgfihOAuKCBRua6CXLWeIYtNj5XWIdMpQSVtiLg6WVs4EUT6DekZGpAqpcM0XPtHqsYL90O5YOBN2dAhQRrZ2qW02DbIV6f2F39KJEzs9jutcdAHEfQwdSNTlEFemmNnxaXMKsrW4jE99rdGjNDGZNP5ZIMM0OmY4WhdL+t+Nok+gVMnfBegh68r0MC94n7Wu05uSULvZ3S4+rXR2BOAEAWumPViMElDJnZoD2kqz7okGODXlrsWfwYqskyIVJK0Tx9WOSCXPGnjmVeIu147UAAqBlJLP0aefJCJo1tSA9NpxVvjE8l9wRAPh9LjIr+ntHfANVnNZMjj79kn0Y7A7XuojsC+jvsMD2XSoKKS2REauCWRm8eZXf8NLpxGST2J+ih+iv9JjNTHi5xN1DbUqJhY8URIk0C3j3t7atzBOZ/YH4OyB8zESEAxF3HTl0zFcZHUDPjwac8diFIpFkoNqhisW8FoV0LeOZKYaVWDSxx/vecy382ojJdJIYoxL5lZSbALADwGOiuIi4Q3iqHAHI9eSedVbrPqgKn2o2SphBitArkqQ7Y9rD01GgCzQHVZJ8orqZx/KN3Bkq1CgWyioj/yZM8ueQylgVxPMaqbHmEFhfQLc0IoN11Nvsxe2y5M4E89eP/BpNQgQjX5dVp1UEc1uXlA7KtQA+xay/O4hQy5HU7IcYtbkvsQMf8oI56rMrkd0xHgcJUjzXuJ7vU4nq+Nm3rR/ELWn8BTLBiasURfNluSqiXIL9RIb3uPXn1uzttOOwIwilPNJksvMyjbDbItdYPHXrfx+wEOmEjUpzbmPVKskWqUK0GI44vKTE4bIG8fF3ohABaCIxTxK8Hzk3B9YiL6lh/UNLrUHtjl5KrkitY44EvsEuLAqRvwdMEwNghWJn7AIXLrl0GBwTHRBhJhCL7nAUERLtLsgDzYIVh6mH8U0um3+qCdxEP/9PgnLtH+P1nKceREmsK2lHT5H6wWVfxp7LVWPrT/kryLYayAU9WJrouE6i4QaLWp7qPt7pxcnL8yNGkZe0JDocW3AKlgT2/npG06cVbXuCBdhvzjuZJCUsA1BNUQ70XIKd90agO12SGWnVLihmH/UxubV2LNruaFBkXqC/kbcrWumQ/Jno79zwFgPGzsAcG4ybvzsJVKMfJxZPbyKVrgqshMWtig1yVHs0j/XQ8QL7/88AsdpVeozQHV1sXapV6RbrRVjsHL4EioxPT9igR69mNOLwr8rq6IPAeSC4b37a7zjKR5fsRQ5cLOaywMYnZ8U9NHZdFUo32cuKZUavqV2fT8+ARovosZgneq9hycvG9lU89L4SbIYcMtlxmisPxJibIUBf7Ov4aftIMytWOJskhNLHHbneFTQPVv9nIOjRUYzgUM0ApC1zr+KWzq1h6wYbcGQEzBlvenXEqM2QySYWeVJJTBAv9iPJe86jrHehxGH1rjAXaiL1xeK3fuw+Bf0ZBOhxJ5YpZ0FR7IooBRQhyOYz/cj9kwi1y7m0aJwIrRc7QzogRQc7EXZhFyAo+wlcjIoH8KW8LCpoib+nbeQUyVkMbXT8MX0dCpDfWsYfVb8DbCt7aTvVTYG9Qmethxs3HQgLrbc+iX5lWX+XuobZImV55QvArrWkFKS3y9U3p0E0EDUoe9o+vkOUjuqZd98lhEwfj4biWcSZwCAnoMiSh7Ul0PdVosx99+JENAs3njaEOEec5VLvTdkeV7RbMWb8KFOzbR3pyLx0rusnu7IdhRhayM7Ie4mcRKn0/J/Ju+M3DYEx0vh8qsDtIjGJlfhIO5w+rWAtahAkCEV6PGpCVun2HEVOIas9SEPQKrvPxrMP11jsDMPBLC0CSbvBYTjxMuYCz9hqJ8lR1EeTORqsGoPQxmfVBxv0sN9EBi0ebBdX0eUi7AfAPTy7Z4YNmRxHm4VJruGh2gftjpaCtO4F11uhiVQlUI9Q/bXcKDNgmZlddbfNsJZAqUkqDb9M8j9Fq46Wjj+70yfBo96Bk6C3anUMtGbIdmWN9W6hj8Mnn/LbMDUCTMtsvs02gO8YbY0IfGJo1shZpnz/aH05cfLoItWJil5ntvjLLkvS6CouFTyhF43nBjcRZ6sgFZvCAP6bI0qD3oFHfrB8CITw2fAfmWREyKPWwV0nqBLUGHICjUsEbh2wbsF5ZmEP19rSbm7PATPF81J4qMROS1uWW+J+gWMR2W4zn+ok1S2/Br4dVD4uhPAmmwtRZv9adkb2MBWE4sHk2gTS9740o+QMdEUxnCXUabMxay+flRa+CV6AN2o9hkm4lEq6i3K5BuVvpUOD0zMmI18G4nTV7/SWz/hKoSUjy/+Y4hg18bwnjzrJMHQLCr73IVf2BPh9pGs8hsjd0Eg5/UjmPJ2nZJSLuyEDWeY1n2XOz07pPnwaAnOQO2hTlP7nJQIfQQtfoFtFegxsAGZMDFleQ9BN5pE+xHAHWXydLdDv0h5qfkhg1S0OhV4UNY0fYpfBFaWx4v+ViZlKXCzmmSzSgZd8Nezx41W2QWY8nmTHlL8+wjv+wwviq9PgLWgHfMEuKwMnnuhT6V86zrrv2akWTfwMkNzEgiCrPcsevkn50jzD4qbEyewGwoTnaMsqAgtgF1OVO94pdEfj7amYAWUIosy9h799uFex7L/42krIlHk3AtrfNyoN1QFSqBT762HK2/wQznMTfKUR7GqbeLBfb1JQ13TCJdmAX1lTMaqB+hhR4qvgAhWcZPBXRU0i/FS2hykcprSJoqRVttHyNTew9KyS0QvkJATGigRH2tCB2wEeKc5gmb4z1bMn6yztyCpbrKEPdaCGFa8QHMNS6SngGdS8ByLitPtk+aS72Uh1moLvpFjoxADRA22Ry05QClZlLkEK3G+ieF5/G6K9YraLRtIEwgLZEJnNdiI30tBAiofZbMR1oAxZdWK7HN7RH0YMQ9pmtzQEPXQFjQE0Ep7mPnJrZlKu6cSyrrwxGVr3TpHuYPjch41gsyYwOl8mHoEJZL1pWBXZnrh9IEOiIlNVm1CKZ1ZFbZzi5ofGJAIYbeamWniwie1QI9txW9birKFUAJlqeckVDuVH3NYYw4C0uY6fXS1oKDqyvctj3oF15A5F7h6HKljfIDzVNGNBOBoFq+i6X7CHwEB5niD88oIAyzLwvCHCMGbfy//jWtFmQhIuqPInohOIkAL6Fmo0D8mjgSmq9WURLntd1z/uBchnAWef3QQZ4A8yY79uttvsV07JnpvwLWlnEHxPDiQOymh0DjrBvIqVEsBWmHjah2+1FperRpKb6gtN7Xw2zvLlvtAg5fn+vbGMn/hl09hAr2VPYNkrewwTGeYRHZ5ZQGPCWVtjFaxpuOeJkp4FyZnUurL3ncyNKBukDj+2Mi5SSo9P8Egs9vvn5AcbR0jlLujwv4DtoDckxOF7rvYQZSAZBZm3rkUhcSBKMJ2Jabl4v4uG8/qmGTQ7PM7wrgrJcTAJLDcTiXZ6mbQf/Y/W6RCp5gHb9wSiDaemXUfQB9kRjNlwwoC8Ev6RzKCTRiUSuUVvTBRhFvFi6bOKUZVpdSsbfL4nvCEqkb/pE9TO+q6mQ/PbaL26bo81zb5a5ZVQXrNQatAD3123w8hQhRQA6T/91oF21RgTbkkkUztNm2lS7LPAOvgjiF1QcXTBlEN+XBktKL3ATlQGhINlnVMhshNYAWYcxgycd3myId6dZM2icEJL5G71bsnU3UBWtStqrL2qwauqYG6RhThGPMhWPtQgnzp5tF12hFX3bHvZDh8MB1HzMSxQAbSmOQaBMvSQcvkMRfsRwxZzepNBPc8P9x5CdeyqXpdAmZH8SKjMWS563TK3SLbtqTRnNrfaphX1pCAH/hUqBhVu+KZ/a22mvwMSRwqndqwQ9hIQagH9NV0AHcAYdA2V9J7hXmHrID48Gb0WBgqx+iFOMIyoYIGQkXudZjiAnNSXX+udyz7sBmBoX+gRqIpZuGcBeOJgPkzCEPqBOxMHs6J006E2H29KNmu2z/yNo9Q0tLauOcmL2mfb3YKwB1ltmiHMcrdU0eoisGAvkAfgiy1Bv3YKLMWHQDuOH8+IxE0YHq3Hc9aoPc4vJjiejdWxH0msA0ItASUnhhlTiGVH0u55hf+5+Lq6f1VT2XgZHCEuQ3Ful93fg4oWNavRwkKpP2wpv8TzvjSExdg+S3+lL5tB/NQSv00LQMd4JT+6YPjfw4mbIxR+c9AkVvFsOSZVO958QNDgYvmkG/VdefSJ/Rg9RQFZUQ4w0ThXs4PFpR0bCXjq9hIAL3LJN74KgG0VHbfP/iL0n0H/5pR89iGXFr6X43o9Fh8IYJRe0uo9Av9FMdFifFMWPbiej/l3830ryGshdA6484kHyqj4kQEp5U+rP68Ag2OXmZnedxh/bpYQchw3VCwlZCVRMKQPT4pB55VdPW6Y3Hd9qaNZUTZoSxdCSw83RNBLRYrJVueC5F3vjsTHY53MFaxiGEDmCNON26pm3mMXqkraDSadhW/pYC1q/SuukqO+z4R9Rp5xoQC4ME7oFa95Ef9BTMzx6pR4yl1ptFokT3LMpiPPXTwh8j8T56icFKoOkDqqABniXqSr0zClBWTEf+sWNaQtCRIxYG15TeXZo0hThOYvH8u7YjI/fiLBxTnCmzR7aHfQQZ6rAehR2Ocmx3vFbANEFRfe6QdpV08qjphtG/uiQB+IlUuQ6fdckvgxWHzJrUbFp4/qI/NTAHAU2jiAXBo441OjthGN9NxHvxEKfShMJmGl27MRC2dOrrsx4StSG4tM3xmSqDILdmhwQIDEkCWIRvB9kEo155JuKIPdAdxJ+yPsquz2C04+xWF+zoWL0WvnqdJiQHnPk3Hihdg+6XtndRN8FM1AnOMJ6iEzS1Ny1stbnF0sKLHn8+lhvUeb0mAXRlKlJCiZMd9CppQy5K1hOeJrIEXvS6hVvO94H25TBk7WcsdOyNgZvrokrunbeHMxqRRe3f0mxj3oExQV+EFa/ujLM7EOw+vWiC6AUMvQtBSsirqWokvjKjBJuoa4DaAuVWDUdGBkXwuxUvGh8dX3SKGUdLPKDLHhMHLifwevqZeklROtTzj4EccWGceZZ0Y64n+VNp/3qvoyXsWdeiyj77JVqCRND7H8jbuaD898munG4SE1NtEE6Hn+zPwVTyqBLGkRp4/dsjTZCT9Nb/HyvSjqmVp9e8/ww6FWWSaUkXwN04qqAQLS4iJkcq8RFyx9KgAj16j/tgDyTIh54i0AX4sTiN4ijc0XZsRXSj4GWHb3y9pv3cuFTzpJXRfVD+qn0i+29JPkUfQ/SnCkX4WQ3Zf5sHIRm79omx3iLfl3vWk08iULowI5pgAHWYHKDkl68b4Hit2GOFSIWlduhU8+sNvJ3+la17UeKAAjhhXN/+er0JNyadR+35j7Vw5QN6NWq0H9w9ocrEolnG3d9VFiI1n4qdB9TKKInf4lbIbTfKzD6VUbb4+wNLdwlsyLtinznn7hfaawsOszVMlpRRx7e4NS0GFpqrspWTnDUBSsoVFWSxHPwQYe0s3Q1myBok1h3P3yHXFRA+eAOV7p6Z09JIfVBMFUqYm3wV4IV6+fHeICprw/KtOHyPMic2OqelTA94a8FlpnAWzYZaMr5ro5q2iaY4Cd2VabaPOnM24YpC5Q1xz1Z4DbUyQIrlmq0BddKreXFr0+MSoTcY8GV2W7OTZKjNy/keIuF1TVY2tb68VhnJO1ByizYYzgZwoiaf+oKPPEwhDJYx61D7FaV/Yvt9rXKN73iScbiRr6Rvi6FTzXmRfAwqaxmp5f5paXps7CTR9EGIfmuKTumaPzIWBE/P3eWE8vf0YuzTXEdZLSdXPCYv+upL3ReRcoClSM//hS4FkiMbQbgOkZkSuuFJjfvNIsw5TT3LTeVn0OvhRBMP0aHj0SDysPmbwc9t7+lhdCrouGuUjqA+60UyAcoGVkMhIligsh5oc1Ypas3imxHzouFJOIG+wq/n9vzF9Bj0ZMWgd7QdlOW/zJhw621E9Mm4Rd9BX9S1d1uNGszFbwjLOgyayuhsX+dB8WQCrLEAI0csAqAIVlQm4240/185yFX06uQQ9PiwBMfZn3SwTRgaZiZ+Z07F3J0uarGlYT1dbF3ubdEwiRqkJUCuRdYVfW6RmWjCP7J4TmcmdDBHhknabahkY7p+PUX8CsBgkl0V1tS1Dj9FjQjEwe/bNBW1aty4fEFjKN9pNyU4yuoRjCJZ1/XGdl6trFFeh2foXkzyHO+eYl12yxle+N2u154upN9ToqeWE4toJCQ8XqGRlbjysc3cl7MQtLbydlHPWwsS+Gady7XylS1hPnD3fQimQ2W3fbXPrUqGQgoVeZeJwVGja/S3mOZPEbjzAWlxp9yFUcsz6Ze3Hv0NOMbJkcoU+c1XnnqaDnaHITE0SSdT1OW4XnVZVz2i1n/ORE5Db4EopX9wiu9W6ZNCY91/39mPDADASQrwPLLuxds96uoSR0R5W7CzsjV6ZiAdQyBJtPNAfE2KBRbb7JQjiSmBSXL8uGSpO8ziNJqZ9axtEiA6WwcSRcJoJVUIUOOUt5BHRspzI5GzvCP3fC8CPOD8QsHzh3KiHaSQ2SMgK6sSF1fNa6Woz5SUOePh7BWXvktFq6hxXehlviPZfYRRrldWpV1idrEtcjD1Wyvj3pTPTksk0+LAwDKbO4kZ2Kf9oWo0G7UJT9jyZImqJv6HAAJZmIQHsmCAL5bkJYw8F3QoUg99Q3TEbfCJQ+eDTLo56huL0dzoWQbBFNhZ18GfvekYYgj33XSBcZJQBflkfRYHWyEED/TiVNdrcaDROnruE40rhS8RaF+ZsIBrK0sMKl5Tdz5aYZlemJNERTlZQCYawhApmFuNgCxkylOkorgj40rhnvOfOWlgkUuN1OBsKuXcigVN+XBAEAAzrbbTsnE6jby18vS4yMYcEo4ZvLImAKe1rG3OKWOyrA/RY/NcvKkYUB6j9KLJ87xhX6+kKFeMfHcjGONTevWz7XViEIl8+0NYChswlfoCHhpQbIrHRb0LbV090nbr8qG/ObCbolpIiVD0q0jSLgCfFeqrkvsvyZwGEW3HgsiqjCdFS/CDCxZZrt4oWAjqFh3SJpK1FKOi/ytWeXIc4CNuULSobhhWfudU1ShNegrdH08zJmlgrRNyK/IjSxLskJO6pkN/nUQHNtB8OfTkM19ESc8gaWCpbzO3SKqbulJ8cTiqUryPLsnHP0ES4pn79fFdzTvOw3rHEZTJ7fu2TBXX60/B3Xl1CUT7bfeWzex7BGKJ4MmNBKhe/PsBnEQS9OFMBduwjQZCJBBAnGpzYX7UvBgLZcfBavxEbzG6rYYA/ESf9/eCK4b5cjN4r+faGh/vMiDIc7YrjfeDzlPNfoINBVLOSeqS05CTSYwMmZrtKZhdAe7PHG8hWmhMMJpttYADAlaFFkqOGwJpdFHzHxXNiEW4ncl7cW1nWPcsvHH/1oSvtygdkfHCiUuavXRECoc3UtROnU/y6G/HcoYS2dvK58VMO1x3AytTEqPSRAkVRMYL51kbPNMT8bS1PhGjCXbQlbgVj1O60ytxDSSnH/BUM/Je+TDULfO9V2Ea8NjheKEALKpt7R/eDfOuw6CGMnL++PmW060ykRpGH5FIrGvMCovcfD4R73U8U7Ahu34fEYfXLMHA7WVbQHjGw0ebsyrfjnABS3BlLYaryKZT4KCqd2kI25J426fuD7VyGGHNVh7euKlqa+dn2YBX7M4sDQz3L3mKBLRwsqY0QOs4hIaZ6ZtUAIGzDcsoGbg/rC5KTPKPpEYVM/vrw3dbtaq/oPFTyeMghgUvmEQqSCXYMO+NFVxntJdVTXOgNlTOi5jJxi8vIK3B9tRnkfqMV+0d+WH/BMhKFjXItV7QaQNcCKrROlNgKq//E5SDpNPQTy+ZwptJ8zlX6+eWNFoR6rHSOPBR4z4bAQGEQS+rAOKe0geNVuCFlhEl6vNjqdCcHfIaQr20I2TERCtHObDEQfH6iNcHHl49Tp2bLRHHXIqpqKF+5hnnVXzhqB+8LVW7kFfUAf2qeEjW+w13O3uitjxH2llRk+G1DPwBfVPOV+FYTMcJ9bMT5NoJpAHIzweLjvWQuuzvkhWNlONzOhzBve04H9Z0UslEwHxmANX6Y3SvImmFXCkr3zUwxuH8RvKYfuKTFMs8wGGIf+L4QC+k+u3GsfaENuZERWoHzF+Q2t89JxyIrKLRCOZu11rhG8o9oRky0y4U0Bqt2l6dogX3EsPn3TuXkeqgYqmOp6GIseKsUaE5gHZ4GR3KOTQratCib1JKUkx+em2G0XIIs/IaOm2HfemiweqH3JYo15OrVqtmJVq2if1sBOHCI9jh1gtY+j/8B3WuLwB+0oOPGtSolNSxls/+qG6LcFoiMA9BiG2syTd489GWT/ROlA74dTzuc1tjDYvs8kur1fTnirbLB+7BZqgKC5aOyxp5K8QqueQS7LLM1plShtKJ9rC2RrmvNpDT9P88+ToosSejQC3RWtzn5AR1O8eokZZqD+io7LEV7ssPF9gXz56n+r282xnXjA0G9uUxGj5ZDf1dIDcmzTwJtRPvBc27KWzpJ2JE+EQa8OaUiZfHxcaWuaYJOR4fRj9WL3NDG8tzLKxPG8YZg3425K4Xiun+32N5cQvDsCWnKZHX2UthQAHPcKOD6t5pFzRekeT1hu2mf2UxV39BkXTtSuTBMVbbTe/n68fZgc9i5kDwHMUzf5rrAUYNnyxF5q+T6iw7aDbwMUmcE1nrmsDWA8JWYeJ4+Gu8E50XAALePlkGlxiNAUY/79rMq/G63qsooExA50IoOVQV7wnnspkp6XF8gaizxcR1GvIJ1JWxh6YSqZ+zst0/+6VmfTFH1SgBnwJrGD6H4cUHeYdYfjH+GB7A4e7nEBBkw4BI1MCjxchCNDbQvtujPiiV/ZUd6og7Y1aMO/cqb5mxK1ThZAfKypQbVfneTJk5DCVqv82HihZ+jyfoA7ziocbv70TqxAeLfxxe0IRMp/HOSgx8/sBbvThWsgBjO/G5PgJeD87PZhbAjM1UyH+Lw42d3k16TKno4/1Id3RNeI+0ZvIl1TuYGJlRtJyYzGLO+Qrv6nKf8yj6rS6l7feeT4YpsT4MhVrA4FxZBf6MNoM+RpIFv/dwjMZHY3H10DXZX8otz3C+y80eDAo9daVEJ4GxSB0z29whOCk7KrlVXz0WcBJW7PscEZQlKmlefrtAr6ARHUgWMTgfTFvLd2TRiZgPUD3jcT1Vorh7arddQ/33xEvOK8UFPv9PxGpPwp5Yg0VeTDN/g9q8eBWN5RWQCHW57JdXQoVDkPoUsJEh9jQIQgmuY9ovp+iKOQ2lXnP+5AdjM+qVbOs+/rVKFGYta7ZaQsjGb/kcifWooleGbdrW8BoNFGyvfGaORtaTokaQY8ltc1WTM/TEeTcK6mMTuiuTh+F4O9SAapz7yCVVycbs3omCcpn0MjxSuCEvtJBtNdXXgj06A8WXkqQUN7MxYg3OxZGGCVCP7fNU4dYiPek/znelvUmATNZDj4gs6Gd3KDVpe1Sq7PLqjFkvpXfB9KkHtRAnehk+4Za5n34Fq2VLPDU1zatXk16c0hBGPxxn02nNISujdK+asCjSDrPnXxLVxdUik0B3O5Qfy704Ypl9c7vTjza78V1TK3dGwUTbBdCI45hthXSzzSY98BDhv8x8f8Puwdmz+EXn2wb/CWjmjmF/NSEF78VXdiTpxuQkCY8hyA6zC0X/2w77U9jrc0v0E9+2M+YgzOEqL3lzhMwzJTvZntBUh6dDlRDAeeFKek240X6WGPL0B0tpt1cJmJJANVBFjLHmLErJUSetHSqgvN/jE0IPFMJ9LP6Pa0aK1wqd0BgfseCa2L9mZLQXnrNGQWy74yH2NqtSQe5H7KUk6xdJX1waPcLrI2o8ZGVKbEYhoIhoQVlps4mqgiQ4PN+PYXIeyPgaxXJp+SEtCu5Ur7vKJypC89qCcto6rZ32VJbREVr5RWHRmhEBixESDpl2raiz5evpbkkadufGsxDXj0oZ44KRxkMi7e1BiZXIn7MOWkXtRB4zx8sDbqIB6jDuNESxocUFaTZL/C8eiH53xnEPw8Pu/631SPEVNVmsJ5y3lLmXdORe8DlkWsygLcHvl4dC6e5yDe1IeSdcKmgaWJm9+JHcH0eXalrMSG0s0VagVdlBGjc+GYDAAiaZkrVgOfzxk8MvP5tAApuKqFBEGJy7G6ImPvgo0F+D1dWqzKjjIxclcF6q//yxea9ViPl7EhTDnlvT65vt4ViS8Gp/sMpSDWqt1ONEWClmzpFh8mdD+9CTc11yVZkjPYiBWToEQZZbpnrlyF0ZK0T+FIUx2eF1p+qbLK/w94TUGVVTMAyGLykE2syxlyK67bdss/ztymTzT3JCVnggbDuWMHu0JCFKEiB/RRGwTCdChXc1u2QC99FAXm+MLFvl0F/COMErvcD6i7DzGo4rxgts2hPxpPwix8dXhRIgGXExYk4fWl7phlPQjRiroWfItSvScXoe94NF12+jxvSnt1csWOElxEwop3lEh9nO9mBk28+YjB62rXisO4EksR6YVNBkBjoE65FxIDGYKBNjrnPDruuWArTzljXw5m1fPs0f2ut+LnsRpGunQNsfdGPb2S+t9dAkPYtSNM9Ned6Q1o3WqyVgwdV8fFVjStHKahqZrt4puTXXksNzEFqD+IBa5r8X1uGPZ7RJdO+9fhrO3CFoRGyHy8pfN1Gas9KtSdwloMQKECaIApXQ1o3k40gNmaHN81Z/Jx2hweXH6S2UJVP486LdzIAuYVt6SYQogEyltU9SnkY5BpTqEKcJfG8VwUuyHP4AlVRb+EXWyZb5vpYhGiqLDM4nhbPnNFdutdO9JOnNJAE6N+NrfWaN0M0V51cKEGpeS94NdQ5tAqbHTbL8gFGlkXJYu9yW+/CfIB5BFvsrr/gZSIb/KWstoZWWpJ6crEZlZBeQSLHTTUXqoAEjO0Vp3TszyR2kE/9QWon/Ac9wiBZ+Zavn+VnS8emWcficNNCMVLeRocIaxLwYZncOlHvy+LMqW4dh85ne88+IY4sGF1GxvU1ve4jp9HJH04G68A+bJyfW1cY3mvbSTpDjKzX8Ed5mHQYi1wTFi4V0h6v0eWOs4PUGIZ87XgjTwVhe3LVRTDnHuFvk8hteix5WJ1ZOnxF79hsUiZ9fkfFD6kW4MvE0nGi0D05LYGCokCzvFbYAX0QoV2KfZF0b1ITVgzaYuoSUPB/AJD+IEkPRZ3zpU/1x1dhHd9XeUKUJDeeIowCLcKVYx/Lw3+qXVWesLfmB97gY+SyOoArQ3lYfBHX7/l8Nt6Dh6vcZIYFVafMjlJE0/B1Cflrf030V7t7pw7DgnMrgJpsM4G3OWqpPUYXFmEGXOaH0NOYlB7r48qNKXm0GarIT88rX2TmH3z4qf+Hne9LLVjcNxWlpf7WKsllrosdoaPB6DrYpHN9d56HZm/J8+GRYD719Fxqx8U6PJgZl1y875GD//qlZXfMRK4cRItl2SWqXBBJ/qsBOtprhoicC0DiIz9Rx+CSzV/zleTMKGuWdMo52jHyKgSlmS/1eEKDTOEX46h++BoWUUT1W/ld70Cp1TL+OASAlrKhxs7rd1SfZJilajT/Mf/fhd+rvYJwJQXRI2NhavPbRszDtWjhetS/h0J4RlzyrgUgdMvt4TCIC9DldfxlLKim0PQ7uysQa/6IooS85nhCjrDYKWUnugBsBCXlwRVJjAUWB1gHaqszz/lTQ/OfEuvsaeevf2GCpsolmnHP/E5hbrz4jteZ2wBHDQqIaP0fSjCXY39dvfrP92AuIbfbSKgsxYu9WlGsHdn0PzbR2SuuL/bkSGdoWQ1Q5mwtpGHdoep3Cv9cLtVVckQ40VrvNYt63sIdQ6t+foaZi8nupgJ/f4gq7d6g7C5F1lBaeTPRoxqSSeUhOUGTdX7XHcH1Fo+AMC45vMeFJbb6owsxnIOgN2dCH4sDczuQTV29iILoaCRz0q8Qx6iWI4EQMqcueTXLVW4CZxMoLfMnUks79h19NWJ5mCyTadNlOzo/a+0+8a0cpkTKydt+lnUrFZ6b9sbUw2ELZy5t12u+31a40LpnVnd2M+HbbNqhWwp27NFU/HEwEZ3Jgo2rjVtAWJK06quhWwxyICs0j4HIx8hJNrVSSy2RDyM2/sxrhG3HoK2p2QZnFx/1fX8ZbS/tGWX8qVVfIBN10kS/yUGR6wOn2qRbhmt3y1qGGr3UnYHd6i0AlC4I45hENOzdzvlL9dIC47hxvnRg8t4md6YGCGch8EBlT1fXj7heL/R3RGse4ID5UREsfw2cWcfpp+MZj3BSHOnf7pWVgpR2WD+XkWbzE1Gw8uklNB1r6QqV4nhfWXiyma5cj+n0dj9nEetM4oG81Yw/B2zreliaKeAwCyq+2kNk3C9GD9yaCEgEHJVn0RmseIhZne9PU5jXcr/ECYZZ+utjlAxMcN+IXwfyRc9ONj4LZVhqCumAbMaAtNhRU2jc4IA271T47YsfTsANxaoo5Dhb92HYwfnbdPtijnZwK6bXYXnBWyDpRrzDGCZ2Zp9pcEKtcRqhaoDBe3cCar1IuqcR0AgCL9N19bTvisT1Ap+fcRhEBE02sZ0aQ+gMoqHvZiVgTEcm/k5VRjqnZZ71J6soV7beLNKJi0MWvhLRkr7pdzUXpkJ6JV5TV2gwK5P9xGov9E53K4FtQiwsjsiR65JQqxVpG6q2bdyiRERR0srNvyJSyzHAewAxK8ab3v1jo90kkHjRakyeKeSU3HwiitzdGXerorT8aTyUDoP0Bn0boZ8isP8k9667rKHUEBhLyCzXTMlZW9TYMClCTlRS1awrYn9RN3AoDvBu6sc9K/ioNzYSMK8e7vevy9u8qIEZAfH6CbIljvI+WNNSvWnPvgMZfdy0ttC1aaXlb7rG1oJX9U+f7PRQMfuy/6/o0Vg67dvmBndoUkSz3MExMXKWyUj0hHSc0OyVP8VzaQ+doQ1onwtfDamPYnGkDY14VK6axBr9zGD0twa/hIzjqW/kBlOrsL97IjVQpnljXx0vK3JQvpjZpPwGtr3Hnc7zQ02ZIVriLQRiFUntWbxJOWZRrTrJuhNR+cwTsebvCnvbNyjFscXZo5urT+cMwS/MX0C88uWsHzvzP0fSgYuW9sQeRoE4sWitrANZvzYFE/g/RpzGnr/2vNE+3CaCiE+yy/C/s8BcH0BIFzUfi48kop9VTPdAP9bywnlsvDGDMhC8xIm9c8JnINxB5P3JZ6M9CiL3sJ4eCiuXLbTpSS2QYp4nfzoCGDGzOX99jarxvezAXR0OjazOYtx4lChMsnM7Hn+UjxjgtALSGS1MLnFSAIwskEXGict6ohRZRDx2/dNg4p25mC0kK3Dx8ugdZhWcxWI+5XYAaX+KDj9F0Yvuw32JiEq835NO2EmO9b9n60OEQKtbA/rN9oLye8gZap0UEds2PBkerNJkBgLZ+3rDB8SZoLfftqMP9nWroRt0VQnCENqnX9grd1EQ6PXuOOid/fWfDCxiPmNCuqKZlVaoOr/CgpqCMGg4Bq1BTrSiG9ZzBmQA/u7nhci7Rctw7IZzOE6pw1RIVZQqRbdQmjL8eLBDs4yqqxsoWr+v8QgyYEg/Gu3Lx7ikmSJFA/9m28BXoJVCW3bw+U370F8f+gp26+Rm+MZSa2Dnoj9Ge56ugjAFrPtYbM4WccIgn+kOC8pE5uWuE0ltTkyyKOm17IcWQmwAqcA1wMLwYuviA4lpUv3eJAuMgOQCHyI22ROFNR2k6He90KbcWSypHWXFmQ3m1p//mFMdaPN0LTu3JN5T+vYy6l4xiix8LL8EeaKQkUKNfsrp2g3KZIhpcZQk+tk8oA4LKMl3Kjlz/Y70Jkzlm/go1WPJqQj3qsU3kqD+CRasp8idYBljrVnjDrr82SIlkXEKo4bbslDuvaRHuiD6v6MCGAHd60FxzIWxOo5Ydz55ZUidxxru23eCbNsjY2Bo8uNnwN/GMGh6JEFAB+VOUpqTj7wMS6/mihTSdp48487ZOyAbwQ6LMMyAJn/bE1YuLQXdc/UDABIf2VXLBT6Uy80uAo/tqlAMyVxEI+cWUKvqq8QPN6Qgiw20VurT22zyPHtF0hKY+nJRsZGaA93H6UXrTwQsA3IMZRVlTEyX5+snjcBgBBmIo2RRn7AEWiZdGhw1zR2R0SN46G1y6daidjYuuqVi3dljO6wiNT06F+NithHgdu44sPqDtTUjvpPCio6tZAJcmYg3+V62lo1spcKeiW0V5cxXFjN4Vb+FDtj0lfu5Ok1Wt61tme8KoC+lsUXlw6EjHINdemQlE3n5XWYvMx6rzxGyn+B++PMD5dl87JRwK/m54e763aJNbn+1oLoLheXvilzGF7wu/kUKs2JGOEIkoR8NQXesaK+RoH49tjt9VAJxVIGyAb6ucpXeFBALa3suIZo67geUudHD13Q2j2bFgED+jcHfd4Tthupx+d6r38Yqm887gSKVqGuz9gyqzpLSsQMtwF3KRqkVzZYZY4MiZmKkJ9UyqsQncV/s+BwTo9foxHi8ueIBNPh0bJVo7g2oZr19klOP39RI106fbQLDoI6ifCBGmUNM9BW8qiLEFPS2cD6dB9OF+3ZsKskk9ri07HbtwtwXA1PR03W882C/DTrtVPieBDTZaVXwc35jpczuDSBh15+wJ5vHWC1/m1QTkrgT2CizSQhFQYh4tIJByL63gpdCU1XUIdyJY60IPR83PSl8JzeG3Q+8J3oNX7iU9ejOHfttld4hjCvqnYcD3SbYmwYL/enL9NQd1dq1nemZs0MJoOKLgWnKDRHMT67hXhhdwqu09eXEIeL1FQ1LoYHOp/xUvIOYt1YdcexQZhA+XzCdq4e4NKGeQP0/FQbMzuIXs9Whrj3cH4kJVzLGPhoEibsZPhw2IiskNzlxHWV2ZMnK9+AsN5e32M/Hb+4zr5BA15lPourA+SIpesVmrLu77IsBgayFQTXOj4ZJ88tAm5CG5jbL8kGVaHe9CeEc7XT1mhLJmiIB6ezkD08WMItsKKuUDgUtxcgc5jBc9yKt1BxJfpOQHT1mdLQlT0g+VMFg5mSAWgNI9Md4Xx9+Tl0o4i6Ba1vsoIW3k7KKipofTt37bRU1JABJ7qykUidLBszN4v3Y9GNV8I5PHBuEJ9NTJ65bej28N+z/Tfsc5rsBZu1W2Czs1o5x1oKW5MIcKugJ1iGg6xofG1yWjk7woRAHw0LQ0ZQoIzdFOkuynmd2MCjzfeZl7CabfnBGULQN8gop5UOcQWYnTX1U14hpUIrcDm5IEjaP8A+TW0T9N9VPphBuvoBcm1AxTnRnH1Vt6vDnUygEOSdvIhH/tlvwAA31jZzioGL1v2r6y4iANxfGwNZR2Qlehrb7vzDohE9O2rZQBaT2PS1VowkhI5rKWYZqtA7f52LAWJFlMmigOyYOnj9BR6wUkVc4QwfEwuzT9mbM0H8yeY9rOcyXnuoyVmDlHQx2JaKP8DoWhMmFe7FBuv6+pQIJxtDq5b+b3JHjLWAlh6ftKq8pp/VV/SETlZdyi3tGKAMvPkOylnch1BtHn7QZOaBjyKTwn1e6xVDbbWJWDUZSzaO4qZVbN687nFNCMS6ryOW12MwN9viCaeFGfPBbOY3+P0TvbWwkSQGhPO5uz/n4g8oiaXMuuawi/fbM0quQmqNvnnnTcDVNNOwM0HVCcMtVmvcpCz2N20opKpp2eLV8yfG6mK8slhRq+WPUNkRv7dY8ap//lI7/bzL5Cv1zZ7uj8dWw1mLzj3Kp0ZY/ANA9GaMqEgCRocf8Rhm2h9G8He0kAH0tXBubSPz1LDr/kw79mqo8dblHT+KSlpmd909rDyy8+wUVN9isScxnP2YDlPSwoxHLCPCfChkVe7WupuPP474ATCNA7YwKaOMFyFYfjxAY5nDoIVVTn/ZwwIWSom6lY8RUK46M84+2qtTeoaYHD7J/5H8xtZ3wngnpgxY1SMGxX+u2E2v2wBLDRQKzBoReU9hcHobGAvjrEyj2Rygjx13XgtK7t135S2xDebpzDJm6O32RKpIfpPlB+uRm5YW6RwLDVG9Ng0I3a65HtPS4cFbalnNPY84Ntdy826JVsG7GfJyVgpoLBkZC2W9YHnB7lmxHbFY7jJpqFffUypErRCvPnwYryZnEmfp1Kwocj8L5lHULf0Z+CvMYsOKfZD2XpQLFYAOrSEL64pZkiNMn+fwl3aAnnptX9vzUUi95cH83tcJW8ABFNByv0OH131fZkOXadvsqetzNK1kfKfONbIFF1IX+7wAC6voYbXq34NJIgwMAknc0+PlGXJnfh4JcxOkagVUF6ynd+gLJihabijawufGWkfHLtilIxo3l4aEsee3jgLU4lHtx1Ih/wELxVpb7WmjH4kXoYxRYq5S2snIIzrabSukK/bdydqivdMWFB+ZGxFC7FLznirpv4eCYsw6YOdxlE5pK6CbIUOpolqEsMzAfQrNh0dYH4qdin/TGfDPT6u07p4Oe0Vk6O6lB6rM/fZSiydBEigFQGf/Z+rkRyJRe7/0Mq0cGSqIv5ILk1VCra1tc1ay0ZFnnG3YdLKkmSy7PInsWvtySlXXV8jMl11EiPMih6Si16sphTW5PJAz5y9c79PX77bpoTNeMozBbZm9mF1gWVojPp/7/a6B1d6++kvqjGolBeJLyBCAbq84E12eIW6n6YpCr00Z9eDu8btGXzx5buqkoqlvWe1JhsTVff8hy7L2rlYFjhbs6JgYOH9nangTKZbbn27hcN9/sYX6b6q1fAZB9B9zvqDBQkbtzBOJJboaRvcQN4XkPPc7rUmVufJy4ydNJ7u0zJwGqtioas8Dy5+RzxR6lAy4yd/4hanmfTLkOXLo2kuKLwJ+eIp15TtDx+LgnnRD+v4qmyVeLbOAVLbZO2tRnL0lbrxJ3v9BR9AhI8nEjgKT0tiFOrfHqG13zd+YkF2g3R4uI4hkJJzpLJAg2vMNfv3Xj/ZxsYMgfCG4Y/yRoJW7Q1TTuCc8bpotUebdJ6bVTt1x9nZD55Qp/JycwI7YhIQeK2/yeofWsCQ1GalVz4J0/QGh+PG67gz8g2X1pRTLiqD0Br57tNjrNes3+ASGeX3Mnr6ooURk1c3cHl1Je8W1eAYz649ICeagdnRlvDxykLS8bDsPFieVvo/C+oeOopoFqW3AMjA8bjlLh4p2kuvEfipSwv/7wEUHcqYgMUkdMKem/MwbUObvzOPGf6oy4A+KSGpT5+bYIVcDsu0GGWTH7/dsu5z34Zsm5csTbPiMyJZzEvjv60O1FYmL0L0rIYi/wShw0nfwMEe7d4nmeUEQSZQ/x8M7khWEXz0Vf69H7b1ax81m+sl+e9puUL+VjTtQ1BCaSurkUBAFokgeilKknpb83VjtByAmAAvTOL8ioz47QszjysnxIdmqMBzmrxXJIpSiV3yq3qNERGmO3cbgr2KbsILro5wMeO0c+CRQsaML/xrEdtyEOJS5b96Z//aoDOiWm/N9L/pkW9PGW5BQ256ATDGy43BIk7Yt0K7kF0ZZk9c6KczP6nkaRTCcV1IDlBpuMhwi1bRo2xoVWGWIEsfWz3LYZ3eC+PulBcBT8Ke4pxCp11GrlEu8oWk/G1IRdY3d3brT3dwonaNQHIJyf6QT6ZDQycVTm8b1m4yXaHlJm5bUY5p14tKHme2fQxBYrOU8RSE3dAHx3LMHWWgOaHSVmPJeSFcnSd4M9sgOMV7ap9S9SmnVSDALQPDPeXCuDSbYk/QqCtiJGardeP2lbwCNzOWVAZwPc0GRfRgnYmvwNN6DNvp9HRoBetZOsaX7tBaJbkMiQoPfra5J/QUmk7aYy+z4s9LK2weWfsB6M37goDgkdhSxq3/qtDrtLvVRGjxbOnrM30Lb/Z0ZUeXEPZwVBOOBueZpiHIa0euf/WzCFmkNNw8fIZRmHN9MQNLcLDHQNvhN3+Ym4sIH+Q0C7qm3dVHuy5GwFY1tPRVRjk/4yIEQ7gRcdm31TJZyNh8nWgx3Gktb/AzgmO14LSm7TJQELmD+8c+1qk31zclTLiwwASaOt3AywVSP5OlcVtew/Gebl2XSu5Iq2S1uL7XW+NBGVAQSEaAj9iIQJvE2h7rbQnedS35y1k+THBv/ZSSw3EdKO4z+v3lt9pDBayjvyRJNlHuZfMPwTEmXcWgv8DqukCbaoC4SaGdwk7pwNMTvMw7HuGsqbBSLANIkRZaoBCbJAAJ9QST8eog/XTsHYJxIj7iYfsxTnIokNZu6/0+bOtVzJaXxWq7YJeJgr3hR/ArmtT+4H2b0EFLzEqpjoaE14OqXv++VusMGDhVmg2dnknT5q0sbm9EyWdQraMO1gt7y/vPL10NxfWg7I0DDdM0Zm8L+broFMeRgf+xC+NwLebhHkzJqu1G21GB8CKxFUFTNbsGNSMebYTLfhfM4kYxs+Uvn1nN3D1x3xGKfVNOLCHfVbITTjvVDn7ReFO6GczPCkv1tcO0oMe9pStTI40PQH3lyng24bWMJVnqMc0gnqFfSBFNEL0fjstyFAGdIZtgmKYXWQIMwUNtcoLQ5QphsG1LbqkZ5yu/HBgvXN3ucUosSZUYW/Hfwu8yDqTdYj9W77O6LDuvdHtbMlGbqIckh7qiZ/FOmTA4qpSno6C69rhrgmnRkUalYwIiZUvWABcUxDDl3ov9aq7YIrHXCnyRJ42dfnF/P4fU6+4cN4wc8BrvQqpbme0TojgtqVvPihKEqtKUUESno+BYQVj/NP6kTHCI+O2O69H8L0D7G4Ux5SOXpd+9QU3Z3KAVcU5qvMfQwiGuRA590XB5eSw984Rzy6pCFlAjVhaAOXHojkSgjT1TRRxPlfoWB6xh3XV+WskLqI33sYMCHSswesTfMrwqJ+h5z4qbshRjunXf2d6idzphZLh807JY1qhhMi9DHax/KrpsqKWcVXe9btnd4uDzLIb8Crpjzox2QwKaeb9car+qepGeieWWh98gqezPafqutNW3PcJK557HkGoKV2EdsKA3WcWcurPOM38Rc8zOfX2uvq9SLrInw+Grq7tXb2mR27FcSzV5xVWKQpaXl/YKrJY44f3s/NL1VJuUd50h2hPpIuyv3H1f2HWW/HFcge5C8SkeSzE0Na2tEJnBs+p9KRAgCXX5tuKRImcxMRCV2vxTOF2LX/7a2OiGiPPs4glnSg3BXarcOssKi/UhwzUiwrwGbBmmuF9DpSUqE+Uqmfc6AlI4gcZ1nKrzL76neX0ej7tWeE7lrT+/wveu1iZ6rbJCf0AfqLaoUfwFPmYcByhrWhV8bRikU2frgsZNq9r/9Hlw7BHKYuK8Lhi7pmxhq5Kg/HWl4G6Z7RKplf1YETmDYxzr6D00n7yYqT9zKOsZuDG66hXTLIlqJdoCNqt9oAqiI7GHoBboaU74+wOine9yZt53Gi9tDYUXEkvXlAiENCIOwcXtZzGNcZbhnqiHcU02spR22cS+GjMEotSeppukTbtgDMl1HRtObNFIp1Bt52fNGc/JjkC32QCZrGF3XbcmqOYseBUweqH0oqd9hEVm3/sFbzfJcUzH1WY1Ixzkn98B//4EtMBaSGOyobRg6OPWOsluuLjgZKi55LBfRgGyMvwCbbl9jSKdhB5tA8xMTv2HIePjkfjI/X+YbhLjd7ZI1j7BOvXGwwBbgoFe/vW0yfgM3UtPiLxFsDskP+03U/H9zV7oX5mX2AtfuCH1PuRH/GZT8OxXqyK8hWqyjN4Clo+keHFzqc27OO8NoMOUy9uoIW/Cf3xSkkhW/0RgIa4Xst6clm0chyEpO+CyiKp1NJ9KVOt2Mw5PI9q6J1FomJaBuu6AhbZ3+Z6KvQtaKIdIlLHui7zp7SAXX8rioYZUlvf1TKbBjI+Tg1kWKIDYVdacgRKdkdSmIcrfIzT80Ut5lIlgLD341Cra7YiCD4BhoL7RzbCXm2sQdC5V3T30OCHdDyh0eDtpG/Q0TubX+w5zkFqx+OFoMSjOJDuF5LRcyAV8tUzV83PO+3KR30SM0779TvCaasuFOFHULiOmMgDHjZK0JHXgXPyOpo4SEHcdM/yP9EtQhtATZdxKGOyNA1u6vy0E73IXxGpiy8pr0MaVK1dREYS+NlZfLokYDZhsSYXkgb1zfcrt4Q2Aw54cN49JXrjRPSTHRQLg0i88NAUhWn0i0zQOUJ1DVB/Ht3eHJggc8XbOc+wLbIdR2vzGzESG+CJ6IPTk4oNBw3PxsAprTiNIpDpvpqzguouhvxvGBuvnlfwvCWgvUDZ//Q3LTLaZsYcUy5qr6vZPJ7RIkZdsN/nXZRZyuZLKMH/RJAWzV77K9JNJTqDWkhcx+hoRQDZwAz+HiplqH2G3ppolhYvMuA8RVK5+npf+io7Hlux/IUwEopy0+RjLh0qX7Kg03hNlttRT1MHPu1+QL5xOSIqS/b8LjFkITwC5BG7wl0zUUZdpPyga8wPJYquV4h5sSQnq0SRuWlzQ0jn46EZZ4Z0CgaHj1QfrIjfQEjTTo5gJRjaE0pPcpcOGNzrz/44mENnjFbfr4PHcx+7ri7/BGDxb2HkQSxjlqCGFqNhnOt2muG+q6nflSR2ThbbzUxOaEk2niMETfsIUT2NFSkDL4Abp1XWjqs9G/do0Faf5//FpC3+qUtSedODo2msSmC7Zl9i8LI1Hq20PtJ6DmNQF3gznWMYJj4O/gGQR9/scqy2azw8pMcIuBXRm5wiuVMua8CuD7dWWDe8t/83InWXlt+kV6QdJAcv/G2aHUH4dscYR2lk5UXffa8Cy8R0IEARw5q/7Ng7aLBhN4SsVtpyMhKJSsZ+2QupztN+wFfHAf7YRPVsZHNaw8fi/DT3+7OCITUOFF/rmgoEX5LTnrvehDMUarQ6Ixk1jLTODKI5/K+7aBj2tSyVxBOpApQasyFPtGn8BThAFVLUDWKkPM4W/wHpMX9aPWQvPN1S2ohuhKNtE/rtkKTKPIaWHGdiRg6rDqPajXh+0+CjMdF02MvmcDazYlvmkOPETfcqfNlQg3vuXIn1YaOcjXLF8wZnfqHfD7IARXQZaR3xwCte4g5wBrrUAeF6dfx+jbvSpYlBspRialGqlh3ggkES1pTzdOPEl3Hgu0SNypf9CT+ApESA78cz1ELSCxqLKL4JqvOKBOz68yAjrl4oRkC8GmTQA0hxMcp/VNh6M37B6PJ/gM+WSG307666l6IWi9W0bdz23niYm36qkZwaPfJKufCuQli80AD66tsgFcVt+v9QXjZh6uXzEggzAXQnVMfKPXMww5kPN7T659Q4uAzerzKyvdPA6cwoEPQyf/rWWc+7ob9AMPI3dXKyl3aeexk2OINNmZ6MEm3TVtYmBzAJkKmfsKLX65lO1J7YYd44ls22Z7vZtgfDS6K5Fcu/XtARR5Dc/gb8JiBZSE2IkVWi272++dpT7zkIVqEnnSn4/6RSt8Xg15THiEjo9YNKW+Ucx4JvntcwS1Wl5DlWJOh7MMynzB8dE8u39a4KXj5BTloedJ8r72Av+1U5QFXIx21Jqpb3M0Ek8APOIWCCSvcRlBFrEHTK9R9gM8lB+eG2o53Ped6F0CH4SIEeKdRf/5VlWf45pxmlXhsbKdMeikuFIjhzrRcI/5SW//VD1r7VPTkkt5bJAAmt6Yv5R9yscQ1CINe23UNnLmp7Q4x2etBIWSR3Q5jNb+m98hYSfNxslwDyyVMXpPC9H49VO6kByaJY2Hc0Tk+iBacSmm0hfUVnZLuTf0ZZlnSHh3dfhc1OJaetJinciIGrruY+/ZSkgtrL+mBDs3vFrAJjRC65f3P+UJw6BMWKFqHA5Y+49BSojdKS6PmSO+Sa0oLVswNYaoybxq3r4ZqT648Okl27JQe7RE7ECg2UFkexf+0gflD6NmOFIQ/aFctVZ4KN/RZaaqvfNlr8Geebnd1/n3UDq8mbzB8Eu0ByKvfBVfy7xzAWnXRbp3Kg+NuzbuLl0d2rtIqK8QoQKVMI7g5uCVydneCg0zg3m+kIPqGnshanYrfYRfdFypKfFeiu/ElH1ambW3doxI+XhRdRIkexYt0Xqo/p/dSS1XYcxLP4bFWMI3/+ll8BUFglGmczC2Nsicxi4vR/AKp5bCARRg8B1rkZsO/4d9Ad/DQRsQDWLDnCpV3v/CbVw/p/96ATbeWpaqyvEp3GJKSUgLz2FonOKqXeCn2KN7lC8gWZYe66Tdg2p+tFoahDkCy/OUxde13lNL+k4jRopwPxVTie+OG04MuiyADVOHkgOALZjs9lSg7UYgFCRm8BecyHX1XUB5AjsVhg3RacxvrEfWNr5bxgfC24l3QrX6XS36B93cX1bhw06TAHXbSrEwOYazOv71Bnks15/SHjQOgGA1XoUbSZaczBl5vTZwv2mgcwyVzwmkl9gCpJMarl6FNZ/thNY7tEupJK9+fQSazl5gyw0kY9rDO2/45cahlXMGSUOlQqjKcD7InFeEVNbrD8ASB04TGRqQTPp2Y7TI2r7sxE/GOowNuRTjBAdzzaKBlHt73IfH98PJ1QUuzx0GeL6CVJbs38z8uHEa9QhkZv9hDqf29dzwuyV7xWTkJqD2Kn29pAhGoVxvvxftZ3pq6AZn91xPS2nuuUrNHkGs9LIC5OgCB7NXQJswjXIaul4Prlkp0PnG+g3Ev73hwXiDuhzoApTVbnG/j+tvpf73SS/ecSw/+lSkYzW3lhkj11fiYrJpYiUZXNAG0Fn/x1+2Y3jC0+75uB0gtgcofzgycouMIKjqwb3CmhDUNQ5gsxzQZ/tWIupDb7AxCGQQW29KH9dj3t62XXeObbaTx+ywQRd5z8NJ5TBxiyBwOyUK7IG7rxfwZnRSCuv25GcrxQGe7qsC6CIdR4jAVxavxLldc6EPQ/ZtEKtEx+n9BZkV4jPfKS98QZgUqPZD0uZXfGNOza87H6MJMjibofZzbbr4erew3WlCLOKhlS0x5yeX/OpKhxzuhiY/R6iVUkwocqvrzvwcjT+FUxU0VbSE6R7MQJ/ugYLjzLh00IcRkmKP4VLV9QfKR8Lj29M6xPHY7UWExqsAfracsygOdLbCFj9Cs2EaEgEe/gIgQ8rs85HVlWdYotXG9/zyw5LICtX5Ij3z6btyNoqrW9t9ddab+Zw/cz8rC9d0gNTkxrN/s8SMGNXja/VttKVZSgmtT5D3EwIJmJXjsVCOCtKax5jjvfx3i4EGSdbZMhPKPg1fgCeymb6KU6g3M+7xoOYKCpFrANrDnaZxF1f+LdXVs4FlsJBg/wiYRqJTCO0vMNDA22OL7rXwNRYYKQzqjqr5QuNEGmxoDaONkiab8ls39nYb7/iGLDL3Oq4BqvBMssBzlDLF2E/PSP3/nt7cttoNiin4QlahAP6U8YReQa92eQlklKUdgeL4+q9QZVICVYoc10ajjp8w7LXhZ9D4/uzpI7LqfMktgn/1Apon9XZZu+tisf1+NUuyzXL1vsjby+iDFY7lTZWAqP9nl8rddXasRrT9bKngJFlZu3cH5EwJoXZ93q1q789+2USHiTWlLhvEOGozDtOoIwXIqJDCdjfgNm6Ad9CnTHygWxlYCFhU4m81+j01JDP5GrCHrZYXg0FUpY9qXgxT2n5V0BVyeM+kiTRw4yRnp6JtvBbn9ipUV/qzolzpRCrGqJhZYz/6s0KNNjh6GdP8ixqxgtEuV8NHrggYKmthS76vSTvru86XauQbrv4MqSUeVcXNoP22Ap8xDpogDx0/urJUBOe3pyIc74HJYowdhncQTpg5HVmibqcjN3NQi9NvI2i2RtXJ005CBRw9yIMkJsHMegk7wEkwEl5xTfpIxV+nuFHMZPxka6PmdljZ9+sdUVSaq754FjPs0+0wHDAxBxZUzy2BZ+0K7hvO/w4vUe3tXMUBrsHV8TL/rP9E9y/IGS3UoqYQhfETHkPF9YB6xz4n2gDzHPxZuxQp15sXbBAGJXZ6rkZiT0hllzl7aSWVesScEZWhKwNkrlTV40X3QEf+gHTOu9P6bkCBtM5I4R3w39+tlART5B9azdOdZUqGD5D5iZQn4cMbwZSkgxhG0IzAjmjauIRHeUF31hlzMbixvN8T2lJpPrs92RBAj9xqGixbEDvEB/Oz6M4cuKJskCoEwT2fBgYGvU1mjkZHW22T4Pn32Opz7OsYpyeLQqONtg74igSAYPIL+rPHGuQwLIfgawFxjePE1Aq+/AcGYiDcuU8FVfV7S/RxgNb96osiGcScOlibaRUjhnT/k1N+jKAMIG29lNg7iJWg0HNek4FWIhQd2dtPg/ntQ3ax8Sl9PuwG4w7lLgMk+gnFLC0wSj27WUn4KMNZNmRYYT9cXYCiJy9vgySnhwI3ma5YrTUcoxlTEn8kpoP/uPdoQ1PFEa+sTsmMkgDFZkIGnG23wW7bD9dzsz1nNuPNIQ0+c/08Vi2uRLYK5novc8ypp8QGX9l1790sLW7jCAG+OBt3jKpBuPpPP0Ys2GfWhIkT1ERMcLIU1pn+k9ml9SCKUXNU69NnwKCDwPItuc8NzEr5JtDcPWSbnF6aDLZiGu25m1OWgXIaCexdiV0u6mgPcvTfISk8mNHg9wcpsCpjbxufmG3zfb4WtcISY00bf2FBm1qLdlCzh2yAuc90vo7yZyc9DGsIZqFDS//HB/ng1W+1qg08qr7zh2Um86QSduHDG99A5ww/vLP4rdu7Ua54Z2w10PCvl8RdgWVCiFeCxOPO/HpqNC8RtIFadUD0N051N8tKr9rbEk0M99CfqHvy6T6vTgmFEuiDmMXq8JoakFCGlfo0u7VB7RxZh0QQ5/KixUy4nmqrBZdJfyBytVza9rQRNSgTTwO71IJTzY1LpQCnbhqV0/voumnkvWUpMQhdOeJOlQ1B8y7KuFQczgoJffdrtv2g20Wv4H/Mwdd6WBTGxD7Nv9NIdgARVN0xHDRBo1fVvzuPZLKy68pzwriRCsrP5YaRys94PoChbwAJwc5M4E27ck0EvqRdCF37BJ8NcDH56emmEkW+TnHiVBkcgmFrX3XZx5h7PWd9Wxi2NDFteZZS8p6xGKGhj/oBB/w6bdCmR+CeRLf5dxemG9fsY0jBwX/9svUA4OFI3BFdJxsHTrTWf/jpT8EXySAdQc1JqOPb/7YXH/laqOdLxx4x6uIjRQPgpx5TFmS/TevWVTs8QikZzwVknra9YcSFLU3yRPp/bE7Or1S0pM0pmQJwJ44m6Is95frIEdCIXwSurjGPajlK+lpbWyW2uJraN2X/XGq6Tox2mGUAnlUHSBmAczn3M5iiI5NFlbtLCUhvhsRXzQGDl1GSDD8YqpcB/ZgMoNoVaXxjmo6zYlok4sfCsu8Pc/dYu91wXANasbaUGWIRWHMQAdy5d34XOX+QQxehSsO24Hs6AYzvMZ17o3S93Dd51xzlOS8s7QtqoA4U8LgOzw9KuEOkyZWDOoi/xHdB8Wj+Lu/G4NJr/XwLb7D0bfwTmnkx8r882qPUAk+sGlznh+QiofNPnczkg0i4epAQSL4dTFBY8l58b+EBhD74Ny7++ghkwOJ2q4O+eW6El2IcMre83cZQAX9ds+KyxGqOTq2Qm6OoX6xKe2IUjDnsvrH9Cs28eryXFvmIp7/lehQ5eDeg2ht03V2HNVmtwEXl5q7lQTauLoyQ55MIiuWlkUlHy0EeLLv3MNjcCWsPUQxyD2Z77iCF0rC3fjJtW92vicslfEz4Ztax2Rr1eebThe1WBDEAkDtQIFFM3LAZcQmcenia5FMNiitQYLE3/2yMoMOYkIccSs11byvQEhEP+qu9UeXR/N1+6RZNtZk2xfWVXPD0pQOIvB3nRs8KvPTb1rxpx4tAaBCkxN9UMcdhWmev/Qn7BjIvcvbXVKts7WuQHsA9Hm7m6alw9QV1PLa6FSJZs5s+3U6zarYsomMzhxQoHDOwZGwBeiGpwtzWN1FuG6dfACjJ02jca+MESEO84+WModE2aPVuX5GWUW2vz2dctULos8kOvnW9Hffzphjvljrq/Vd2XCnGAuKUhknObiqUrzhjuvlK62oQLAgw7aCuJfXkbTCGO7EKQ0TcmNijCZ33R9MyhZvB4FNrBQtw/nn6P7HYZuEDsBcTZjyTNmc7NRdMyeqFbpo+zjVFBpNBOPlY9dTANiYxmuq2V62WKiaDkhDBOpH9apYsjogis9+afmAa5b011nuonlu2i0yyK+TMCo4YGmrobb+XQoxUD1ivBQU/J/lIiyyOAC3TgxvYsd6JuHQRYjOiUdITACHel/FX56UPhryd2CzdQ7YSdysXYZtUTs3GgtxwuyNINah5A+kilMCuVkqPktggvM+wLufDytvTWqpKbhW5w5s+KNTo7Bj/rDCetwRB42pWVttp6j1BZ38kKq547pCkh90sJ0il3mpXnf8EiVHKaqDR7eruu0JNxmxiKQHK7o/O00+0Bgx/Y68IweoNgATy/VGqKS2U1csGZeRgeGuekBXb3Q2IbmBQOa4TddxCwCQFIY6ZYSTzvp8X32I0xEexFJVNQmTI0rflDpNlnIA0VIjfbzPStsW/8R6Eq8ZhwbmAUrmvj83CQGcDF6lPtI65uPf9ru4UoGaOOOEvWgAT4hvz8tiBzLCwqlZi0CnDSXcbcAO1wkDHur6xJxwURLMtrCVgoMGBfkv+LqZ58lgCgIq/LC7x5kf1Z1St8w+dCwIz61FNKXycGGMCY7UFm7lENQ7OCY6++myUrnjij+xy5W6I3o91JR7RGCDm5M4WFchjem6YjIFEU9QGU6VZtwhaseSXYjekTcI9dqp5spFYNcETcA0HCsFtooysA/r2m7/NPMyD4iPFFQKW2IE+GlOvCF3TUua0AYHr9gHXf1j2vOctIg8k2TGXi0TUcRpLW3XrubadTKCnJHdVTFs28Ln5qJ6H5iGs4uF7sUSaiqGz/yH9y6bScpeYJ2cvxA7TPOU7nnsF6qJyvaufLj/sUHNekWmSDGNv2xmAyI4jBfqRD+OZUbS5aBU9Rzy5n65I5oVOPCadGt6i/2rD+z6NIgdr3oSllqwqJr7bHjYL3JltvDqPAxaaN1uL5XUNSge1idA69dF+7tH1j3UQm4EH1lODv8YGKZ01PVLqbgOQVg52eVbyV9yq/7V4mPsz3CfOTTqVpS8LNXuVTBQGGP9NQysKQbdr1Qpz1/WmqZPRLMqYr+sGjKlemNoFU3JVK7mD8noryxup9FUd+p6NNuI3vGftP316yLZsPcWTUY5k++8PylbyMjr2Owqb+KLzs9PXvEUqwD685zto+HXZKqzP4QN/Lnd2Us0S05h+D7ZHm8X86rsNoNPBqLXQeOuU5Tzn8BgMCAPdP4dS9V2KAUgsxyXw+hY8VSQZ0ufcGPKx0CAJdxqa8z3cUr5Rc67mhwlulQ0UsQP5c8O6uMxBCzNIX3slVj2IpnglwnQGqEgm3AOsYgYIe+WO09jYWOn84qFTtq4FqMzmztY96IVMFkLpDYZxpH3WCeuWrbHB28xk795mj9a+Eyt9IjbcYrUEDKg2eehl6Qszj+gUBqvI1vf+ok3URZkHIVk+BL/BNcF2m1Wm3fnfd3S11TFxfHiDjDUFkYhuSe7RiygVkwLHoLTxpbeadFpAq9tjCnCTLQgf0PO63lCRLs8a3jRTrPSdXQCvukHcyZtKMNW4Pcs77FENSFVFRXyTTrjXeXkY2VXYkk3TlprapoV4XWI3XPOXphVfIPO+X23FriTr09G6xIwLtcQsUVeZbxk4cyGafgzD8nPOy49LLmJpE9PqucYHaRP2OG4Ne0jDOGWSfE3iizYCv4+M0to045wHcGZsvKyyutLng5iui5MMCpMMFdZNavIJSERmbkjbUrT8+BjYQZLplDA3SrpGJMuZQEL5q19GM3GFpHmJLtRIrBF387vQObtJXi0SNCQkgP8ediOH3ga/7q3BU1Jii/gr4NcQeBVBMPPvPYA5MLULwWx/Ls2pDycG6L6GzZC2L4Z+SgNlICsFYnNZDP0AXOl/rvHZsfBp3rNKZWz6zyCimQu836RxUjCKEDxeQw7J7g5HSrGPIAACFGfeZNV3SEp5Wl5KpZQ07KKMHrPL793htyuWQJIf9nTpTiAt2P9E61wImWB4uEByKcHdhdcwxNbQ4WcAOElLTama7mKj7y4pCENpEbZ7lE1zs0m5+tz3pH2RCy2MWcu+clvMu8I7iW9d6h+YTm/NoARQl85I2rgnGK1tR7ro1GXy+RP1pvKRn/S2tj85TsZuKJ71x5saOEIkZByK+JUu4IXGHUh1ZfW4gttl++bCO8md9+tpm5+EwFonaMymDhOhkaM34GL6afx1WnXmG1gVv2uW8XFR7fAovsQdZcP3s16D5ToPPQ5Kt4VyrZarYePZlIBIYRy3gvUKDMU+D2m9h8R2iOroODHH7OH4E3IBvmUbBh5N+wcVeinFJEmnj70Y8abxSDSW8j51cWOySteL2Q92Qi5EvKqeDHu3mZAakqucbBlpJQzxHsAgYvhQSqPjX595OJ3jszPt7+HqtkZr8Ak+/T0GSEnNm0es6ZpAl9wz8C3adeMrvnJVssgXr+15NByIUFfQqoJKFga+iiLocUIVanSejx3POIFJ8FpH8AhpfCFcqwkOQn+gEJpdemvLfTVRY7eQlDVBjVTv5BI0JN2xf7/ZHbTpf9sXv8cFsodtR/jX76LDX5S9nQqYhXspCJ8cSbflQF7Z4CDV0W6OlAJoKqpZ8oX36L8RorYhdMMZEQUeDQJI+0o8mTEk7arEpBh30lUyxCPKNRwZOcyv4s7VxqfKRJA4zYwY1/+WIrdgMDCgf2tWobYoQjvNYIgmlShKoY2AGFe9n9nXPdjmkyP29NiwTdmkkOBWcCBFoO24Gg9Dhk4WTb46Xe37cJF0C5vv3HexA+OD7Mc/6U5DTacrxik3I0w3jpUvOKLuISoCx9hkES0UyVZ+z6eYmGbmWvkL/HGRkZGpYDeYRw1VECymXKf8x4XcyzaJvtuYcankWDhwyM2Us00cXsUa9pGvCtrDxre4Y0cua9hFCJen91Vi8b7Tq2kpJfncGjOhaOD4SqPuFV9Xs16DeYZ0tgfJISCaGRAB5MgredfkBpA7r0XzYEI3NjhdonrV5Y4YbuT/d8btcbfhBFFhV0p5001RW3ky+w2G8193DxEeue2SfsnUJXRmmiTxCs9GCkAE3QCDa/mudyI1dJARYc0L/UXvQD68hT0kT08mjeMOek1zalhEgzMp0aRSyvfBsEQC9cvDIyOv9L2w1a6uLf50nIflY006HsoZflZzU/iIBSgYqueFGMrON7tBGX1S5sqm7GThTaNFXsjZxxrceMoUtAu+GNxUQb1iU/rLkwNp/LYcypWF/bl96aUh3HFoQcq37doUp3Qht7wQyzkhSzjFEu6Z+giGyt8LBmGJx4GzeNtwFKRvjHKfOheDQjS45S+x6p27DPyQ9UDvJHPI/sfu/pv9h2EIGnR3CmaL+YmcFVCph/O6RmM/mGXHtUm80xTH3m+Pwt09qzfQh0V2mbsitRPXeUXjLoG+jv/VYt4M+EkhB+5IpAo1h+EtT+Ovkqhq7jZCmq6hVOiRS7orc/SRZDGsKO9rcRP76zkuAv3x5z/7iAMpB249ckMlPB22DNUQ2BoV4xKx9EXhceoD/L2jt9k2vn93xlNbdAn6I8Vm8ab6UH8MSmrt3BUObbEGuH0ERDq8T/ltkB1ywHXHBT8CK0sLHFa9Gatt0TldIAUnABESahjkhq9eD1Qzc7MrRVfhjRyBjkvfHdrbRZxWBVHQmDXDYp3D/2x2UhWL59+0z4jxqYenUoDk1FX8Z/zoIKU86HRC7MtFzoHDyrGvXNeRkrofjFCbIFIsJMk+GgaFtHAWgwMa7b056QrsjU61pQbyQJncPnXhkGj/U84TKiUS7H6WiMYC58xtg8qAs0x9Rk6tXq6ao4hDtSKUniqSQT3fkYLTU0jQjUtYhrrk+zpcTK1Nm9WR1329x8s00NKQ5kUgJWoteR6kZdNRzvdM4IqV7aV/QHJ7Wl4CA6bTzQzViaXbVYJQEnt34cnF1WSdJrh7TiUlXtKwiiS9aMP6LiZ+KEsS34x2NfTEL1M5EypGR4LiSB5+f/2jymQm4uY/Bh5TFttWQqqcs68cPj1mvNvsRzgkH8mLzent+4c8xeqbcl7e0tdxBrdqt0pWZ5Xog8cPTjiH0js9adcKjbLEuTMssmcrhJwYaRvaezWA9EanbVg6PFwoRK0obkwK6izM/x6F53u+8ZQBS9mhOfkZjDGaTGNZLhLllkrS1f3bQqMGVIw5O+9xGN7FOOe/Aacd2rcyK2+3RBvvq7gi70G5UnKlFrsWSRLzLLXzl2395pEDYqcgU9UTUe+fsX7ii7JW+Qpg02BhjdeORDqNhYu3o2cxgsCu0MzN6a+XQ9mtJ3VRf3mOcZHup7a/NOdvTbHHw54vu+YHlQ4wyaSllSJvCt5YVWC19dt43UKelA7jE1Lyr2tk1knrEyfnqmWRcaStjzQXMAEBA2pOx038LgpWEItNF4R3uzjhAh2RLrGPMDTVhDPREJjMmWF10kz+4eVvAYWvPOOlX2SsKIgp4ti651F4ErjYEln+NCxritmpTL64DyPkRIXY6Ksp3EYYUJY8GKk/BZvYYOLfM2e5irF+aS65jdHr0AVN8zRQtJGrV/yjETaTutkOFel4DZ7DyMh5eAvMhHEsUglKy0RFczcLZBss27cdcTZ1SBKPuRVZWwgjt/pnxt7uSnzuEla2m9EYH/asQ2A9x0EOZgU0VRfhoH3WqOFyqT3IqQtGiUKFi7R9sS+diwg6pM2MgI1e+FDTfBzhqP6xA7/NNxQCfVtgQh4T0oS/UnM+WQ0ANm/V3ykAxfxU7VwOYsexOlFf0Y8WPL3aGWNw3edJiN7HwsDJ+Zo8hOvC8s+IDjShzgvjSDtIjMHzCYEy+/pvLqFKuQ1S8ufoKSn/p/b77LpfzPk7f+gXbtr6hQoQlRXUT2/MBKf0ImCHyfsI+tJDnwCF84x0lvEAaI4Kabd5isIUbtSTn/oF8b9ZvvQsqWUyOmMx469qCTEUu+nYT9nhI56YXCAXoI/uVF0j6uC9B3sjuOu5GXqOG2TcR+EsdU99DizpvYK+bSPXPunrXbT5U9KPy4f0qZ4HwlRx71jbe8pZF2uh6ZeDqRZ3HkryOTV1rZ0tiJTE6zzmhjvQDrGFaVXeH10H9khmWAwE/6k4HhoxXFSNK4/eQW3xUbrY2VMsWHGsR6ARbqROhUKL9RhPEqVxZ80i8QBzh2NmEuop3gGA12pz+L/C1SL2rI6lARZe/CI/PWCOs7GKtxXaV4nifPQvAsdm1UzImXl2IEEYJBi12XzkUgMoWs4GhvkYoI0qYs3CHsvBwsQ0OWs9OmnHXD+RsXnnfJ382ncexjxZfsnp2Tfx5cN0kXmgNBDcrxZxcehdPpz58aDhq9/xpeg4TTZeOtwqc7xhxT1hLK2lLbDFTiYRM4xcwKNWrcadzhCV+cp5V9Y6nro7R5zmoPUwtjlCnFADhNYnplb8d3nFNgmmm/Qm7LuHd2ea8E7sWzfmffgW6y4jarMLpwLi9dBBNmnM5p7ubceCPATuWeHq3ZW1fL2GUiB0OwOKtZN+GKOXdugHe1XIDnFjxaAhNqEuQ4fFFL3q/SxFverLAuY7i4cAq4oNFHKim6RoyxmjAFJEkmUrnYy68HT3EpbcVf3X71EOGpwtVaVhaFULbJNeWt/0NsgEs8+iLGRL3mOMXLw4ULu3Km2bgCCPZPHZiM43RYNSkgSfjX8sxfgbwRY8OBhNJC/DFr/8EAuJQaKE9j0tUQPNsvfFVpKzUigEdtfXRo03bdAR2jy1k2fMpTldRrg2OqN4ZxhKu7WklkzOGv7GolKvDR9K44QjDpaBfQ7kzljB3VSCHlcr+vnmd2AcV5lt+6KERxyKjqH9S3U8y++zxuTaetkuhzcXto6ecf0yRcML30NgIb0rlCsZbOJbEagc9YRfAGViabBhv6BjL+DPv5mvF21uWSPEA1wLn6MVJ3URvuzeZ9EjQBLUFEvwD+XOpIxvcMx6RYakVKguNXhSSYfhjTcXagdsE5Ef2tiI3fwsquMe514hXuU12C6ktROtb2sFsoJxzgUOkiTxovycDB4JWi+DjU6qbO11zDHBwrnWCYHvERa20P+lFSWzaDBjlDUmWWJS4IbxO9Y89aVoTuah0VdNSOn6NzocpGeBigzUJcPOYUMVYddHXKo4xgqHOSzNcwYkxRD4QH1jmga9mQo2YiFJ6gKSzYj3M03reeO4EwQIjrbfRyeXWQCvZGm3odZ05YcqydpGdoWw/DJdCGnMx5wVuv9kRP8QhVFFatD879HW7rrMW0frW/HvZLfMLb+WZLoobEDYd9DCsU3jsPQEsOvI2+WJrlFoWJP2J3tIuFgPGNAIPPDWK1goGsRu4HnxKhD7l084UVHV1bEes0t5DC4kg3UwxwxokyXK98wfOUHG+QQBQKP4eINMerUJbnaUaT0KlR+6Z6eRbHCZnr56pRS6asdFHdI6QfKsAG7g4gmRdgYtRrcnub8gCZFJBDoK+1BcOlTK5DM7/o30b4eBh1UBzvlmBVxDlz337r54nXlEdkmxcU1Xe38+Da9nmHSKpVajdoC7gMLB4cB007M0gObemuHezkeDYaP7GdgAbzlnraVrQdrNLjYQVCS4eWe2u/ld2TWjauqmZTK7xu8MTDfJYa4bSLORKXj8l8G5tiX/+rzdO+k+PQfEm7HUbxm8GExcP/0/qeV2QqnOCU2NZzpImoajsRsO3E8QaGz6b9xLXFGEMD16Ne8LxrLs/uL+6KDkRmn7RbpNslAMGjkvMsme2N37BZFe6/GXvCGdEgr5AIPkZVrAz1RYCcl5JLTlVHLhZQgJ0jAcqeYB7r2OvGKJwVkBMypkHVq5AcSx7IBo7dMJ7m6yBJ08oV4vyiAZhXLtVbq6nQ1UYF3jDHBsvmILe8xXverRR3PnxIp4asWuPtNZ67T3nfxFBQHNVKzUAq6zoXbUEkLD8p7w1ZSs+UrO6M0/UkBikxCwunSToHN5HirpecNoikE7+DiErZbBMhoOXrPSak34p4vqkYAD/vnlU9UkF4n1OVoG3CEtZvBBh57FhRJ2tUPstynqlJtmRn05dTiNs4bc/DjeWUEHpKLF9GO0NLG8Z7bIOJZEwo3nuR3yB8Vn/AmCG/18e4hlflbfM2vIlQ3HgGHUE3M0JTsHBMm3gkoP1m4hCwWSWSjGVeNM59NFqjza8WlhHsU6RS4+Z5azGA62OIMA9WecFbP3sHS3Tl0q4gcYA4r+ob81O3N1t2P8tk8vav3t8ueJw81Y1/DvhjosKvxY49Z7tpNuv0UTqV0RIVBclFQkbJV5lz2YWfxUkJckdt7jKZJ4NeXiDKyg+0g6TgrmAHxz6JzZ0WgY+/+InojDV/LDKLrtQjqClIGy0F0a4IoPzkvdzGQ7/TEiObw8AioHk4zgP0zGK02IRIT4jsViAr+m3Zqx08R2OJWv4AuN9H2TVI02e8y1uH8Cf0kYnspFDQcqLQyUF7or5Zh/R7+S3BOPUrceb+qFd+LrshmMyvdCDqqkDD/BAKR4JaqzVgKzUfZ5vRfQTAocYp3ft6OFEG7HQvndivRBlXRmzbLnnu3doiOgnZ44FS4e2/Y6ERsKir/lc0e7k1FQ17zamT0LHaBe5p1BHObnnf7yjyOJ7FsmmVTTEmkt0tEHx9R/d2Ex/QZOSXps2YGfJ+utgF8gRww7035aOMHJnaN/F5W395GOxP9v5QwWSVkKYssyT5TgHk+lx1BIZ1AnaZrRFJvO1rD+KgUD3fkqV5cXhxa/vqicCLYPxliwzNkWnrSrKCoYPbYh5/pbS7MP5TMs7wvMmFA062P6XB9Z7zmecQng6SyFxXzXZSm5UmmIVnc1cR1q6fdFSklL9MZULciYw0+fb96MFJ0QjOGoy/03i9GIMHe83KsCeff9lpATPXzKuL6WCn6mmm4bMFJaMxxVpJnZqFfmMXvYoPK/5KMN/okCd60wtFZ0btAOlljK916EDHeu9XI0trWl48H1UQuyxttl97zcyhMUdM4nWLMcN/uoZC7o/lHeVkSP2ExkrgkHq48CN5QQNrnIVIxU6OvYzC/ZqwmJGVTrRQ2NgQeXeOsRYfg6c988zqgeA5Rfu77B7NOdGo57RuxJVDj2GH+HD18aQB3k0iwE4rMmgggElPNK+siQfSxDkmG18KV6C+cxoUFSV1mO7HDbnZ4CgRDY6dI8QTPFSv18TVmNiAAwODhB/pTRiZMJxKxr1CQS9hDbdKHiPLH72bOIeSXZBJUfjaWg3Vogy6S8UuKRXEEDbM/V5EEXPa6hb3ibnXheToDHGt19uh8RbeO8gt42OMyR847oub3D19Yil9mHg2RUT5a7viT0Ai5h6ubMVURYwzH977xUvWmErs572cXuJfLyeADLMwZV2FoGws1UCBrJMHUSxeY8xo7zi/RBz8BsiyGbOsY2ZvLuedoBzlxbfgkV/jczwo+2AY6NKX0n5pb8lNDUDbnt91pF0CbMWFBU007ELwpocM0HCgNFvHhEWx9mrd7LqMGEY/LDuP1t8/VDiWrEsoEmfsH2c8hOoYPkogLpifyb9fBa0AoS+akePAN1+DFcLtjfFvn/o5q7di0aUdhQV3sPbucy+wohlXLHSZE3m9NePwnVOOTKC1KopOKsy00FY52Q8GDwU0JIPUUgq4tQGlaJu0Dh+alhieOfG9jJCT3JuCRd3l3WZjomhwsjFyrMKyM0FzUnm81EwCb3aYvYVclX/xZrpwaBpgBma6GxBTwE9BRHb2wgGazvP3m/GfedOz0bEwCJVuP/NjX+rN2/+MU5YJvsgBzQOJ9LbnpTsE8D/dxkpMmsfZW49pIRQaq1IQbYFtZR1SMIX65kNIdv60Zgypk4RmQ5Sz9aPH3XhwmvDpzAnsEZZXfpY9e1A2bFcdawMXYBY6XtZo2JA5S+OhQaiHqpcqRMAVVmUBEYaV961f60ZoZAWz5p2vr2xeeFVOTOP2PHpeg+nfDvjccmsoK7YjQAih4inUGYex0TOp0LHbQjPMVyF8L6gt6WIkYDPmvbxpVr7A9XFVun6LX2/N1wLN5a/IunqvqXJpEICG2QplxUeY99Fn5mC2nkk0pt1E2Du9Pj/lWb1vjFNuiWgKjvh/h8+EHl/d35G5Jg/ALlLeSy7Vtws3ImfxVDlcN+nUEuTh4T221cJvKa8OBqe724FStQQXc1hdFm6EmxEkuZDBE3NSDx6g7X0hRk3R391XQaFggVXnhfQfUAbOyVhNiPZuPJweh/XwCIyQTwZIJLODoPGJi6BdNjo0q7FqmgYGUudSeCXgtsa8jzzzLKsjvZTYvefimOTclQWcCmKVgmwhGfdAVEZejedh0jFJrnQEjjwBj8nv1O+zu5Vjo1G6tg1bwTfwIxVSvojiSgqJGCSbc/rDt0panqHjXDqv3bO155TjdWMScTz96nJBsyeZcH8Zcv87kRSc2NiVsTB/dosMvykAC2U4XWNMIHp/DrD4nTg71psZWttrkqCQ3Xkgcak/bS5RETQ3fnNUhAFcM3bA0Nyyzb7iyfs3HEzL2m4nc+ixPhkFxZyc3UsYSuzqTeJg7Pfpc0UYurl0tak4vl2odXoFndSYsQ7AswQUaToEUyQati2X659NjNg+Ksa9loy5Apqmz/ee9xSyX6cf4a+dr7utYtOSNWGJrE800BxClWRemRzPrFc90KLELwLKe55J1hHbYS3Spfy7frtkKox8iO3mrobuSNnvWU1a9q/DoWyoHBsIHdT+xnY3LQJMR/J2N00qqe3nbW6y16WkxQ/CqgNt6ednRvUrKw6LolvBpaXa08mZfYu2v3NW5TsCcTP2kGi3ZnrXHK5qF9qh0ekq6rgiD0FlwRLhfvTcKqLqpJJB362086JL2jRLUnonNnno7Ki+yU7LdODSkcHmvv56FNEW3z4RC9qESqLK1eaFM385H0ogxxB5GnU+0G7OnzI5JtNE6oyPLtm0GnT6kteEsRDiIr8/J5ubQdKn9g6+LrZ/I3sw1kT8Mb0lWPiFO6cTBtLAAYNjh9gCBLdncqyH6Z8vZ8Syw1w/E80qDXb+9b5VZhntu/rW65i1e20qLwFGfej/ZXpOLFMmY/E3z2KF3waa+PNLJEtgrt1Vvh2C2WPAoh5wgCZMCpL0NCE4nh8gKstS12gxJSP1vdc2jG793TDJYW8OmX9T+H7LKHzaGRed45yRrgTI6aUb4s35sJSw4konWRj/UPfTyurxPjdQQcpYEuDZduP44v2YGjLskekx8+tw3q3+IxMCJKviQXKpSXj7JDzChydsNZD6ujVapT3vGiT74p6GBG+X9ay1l0fQ1bwKb7XpSq+T0H6/2n6PvbU3JXDb6hLS3PFIVBCUV0Ri0pf1fgo8zp2qiYRRcqZanEojiHhCHrE3Cfy0pfeRXmYe44gdVFfSwxiuuc2FwbV38+cKvlk6EXRbtoGAmifwxQkyI7tYeA06J2JTvq+Oi7YPtfeIsN8koAquG/TQncnJOAVMFTTyzjBlUhZQi8JzIfyovBdskF79S47S0qW2BDgrrCM1Of++40+EFLgLYMm+ZogoVixFcxEVSX/HVB3Wc2I0BOmV2wDKVJioJZNj//WntgLkcWv8qRVsVu9BmUPjboBRbmUboSZgfinnTkNGX+ECCzVJSNowY+YGiRZYR42olpomL7bjg4e8QBenQXNilvTcZdso/hbVJdMKQ31cEfi1VrLDzLrAS950z6f/w0Gak68pVAcZaS58CH+w3PAG7/SZ1+UBwx1h9wYhSC03Los3+c1A70UPwWnCwKv77wgggEXnKWX0nLgltlJ2ggs5khwvhHs+x4aCLMuaXy90VxFYAtLYvYHsmnhFnmQeR5PLYEKK9LMjUl/hIQdtyOmMxU/e1HGV0wgn04jgKltZdoGrgjJsoweZQzzhNXoOe+MrUiklGldsRXd57LnBQWN1vsEQRHVyT7eyfpUJfQQCwd4FN3zYQ4kFD39O7v0e2EvMOtAPooyyAZaKDSDsYlEiDCjZeQ5jrC/D0iAVlIDeCUi5DJ4EkEkwcUIq0AILebAZE2M5MTs91w8O0f+OitW7rkxRlroRVZi1J3hYymbIHwaF5HHdZEBr5zbaAQMGNsuReU54LaPTOuMYTM4iUFMXY+bXqx7ymPhdhQwhdh2MXHD9dycGU5NulOnkkiZUv43c/dnbSJntay9MwL2PJzoiXCpyumXaslkYUpKfa196tvJWimoQ0Y2w7Mc9qoRJyc/4QNKd0ILEWDo4m2wazSnXiuCU9/HXCL2ohYzuH5/idU4v2fvJ2U9zgPENExyCqYYMrqYPPSD93itGqLehCBiXJZ+UNqxLX54G9/8KZp87mVnuf+01uOTP57OW0p46QJk3IqXV+aSsrrdh7hGOzRVNX5kBIulrkL9fD6EWfb/4PmJ/D1i5lwD9uIXczNotSvpndqwNV0+i+WIkI60OfGovdKOjfbZgqSPia3Cq/WDP1elxpT43e2I3wIjBSC8LeciRpd5y+Li30elSDErE0Rc6HjK15DpsGIkYWD4ehvOz17U8Uj+wAglpEWYCmH/oUSSJD8FzResGmhMhaeZ/cfoTn7+L1eOwzNmxj289/5bOR7g58ebe48mldmljUoNv6krCRqnKOsxRZTfCNPJlU1bEEIfvCmiVguCmYpqayiAQbr6YrLYW4e3q2pgxJgheUNf6ZCuMbgR/vRBPpJglM1X5B4zkQcKVk4SA42GgU29xm88s3sIx+POC+dMSFzfm9AjDG01mAJily4ZXcTRzdo5ze0cUGqArhMRrnXSXElZFk4yTI1bH0WA2nAqolHOrZ9jy8bNRTFYSgdSr0QyiJkfEmGGxkv/nTLkS9fvhwYhNMkRmuI+wfd51MSZR4W7qS2apNtayNnU6xoEH/KzMO4+CB+wfe+nBwtoSRNkzxZR/794JPllDqTGOxeNk8Nh10ebML/5gf3rEbG2bC0NSBNo9URZ+Ru9V3ln+SsyZJWjwsuv3u9VeCDsT+rzJ+PZC7uzdpjfd/vre9hKB5vlYKSlB197HBT975QaVvUdGGWJsUTorV01JMhGz6752/QqAzwAJ47q5l3axl0DnwO03CK8LV9cIgtqEHN0LpXtAueQC8jcZjonmgCVbiKUceBbSeuzLGMICjHPgtu3Nm+VTRhpsnyagCNwfkFNz1H7hVeVHyemA3AmvgmsF0uMWhNVgSD+ieTJj4Mzhfg3vuXIPWZVx1v2CV1qLhYY67wTURBSJYFRyOXmiG3wY7ntxpDcrVfKmGseY1pbc/kboqlU9QmbPVg0On8nNlVwne5l0OQwlzReBD+27i5hzhgyD/QOM+dJFKMNuqmzWi7H+f28GKHNhdkW/4Uyk6HfGbt5wGeyflrLWOG3XxgDuktryu1MrJcNPvcwSodPD1XseSDVZbEAre3hu3i2yzh0o4YST/5aFXjG7H8oN7YfHNINLtYAw2VxGNNS0KfuyW41hIv7R5++Y/TpKIMKgvVo9xExyp6ZdJUsBk0M3X6e+i9T6gC+4YR1ETU3bZ4N1YYQKDMr/IPRepemkP31WGnJCT6GiS997HjQibIU8tEX/GKDuphRQ1xJEKng7pb/fyO7RiYyiXmrJcTOFOkpQNjj4BK5R0mNUgc30Lh9Rw0UfJn+vYKsorcScUQNcf1EMgrml6jqpMvYa7j0p+qP2P+6jxm3xpp3MseANtbu0z3VBSsfYfWr9UH2hOVEV3AGmJ0oHTfke1dxDC7UTa9XxJmZQ3AAZRzFoitoWPsu1V8Pab6iT/Z8vRwWbaTaq2Wnx7ajATEz0n3+e0BVxavHB4n6pV4YWoyyB2EKNozRydVJl1wGYVEYrM2vC3Gq+dcYojFviUYcdcwg20AbrrXhn+NclH1WIiXGxdNrVWztSIAEHZ0Qh4N2JQBRkxWg8tD0jVRLvZIy3TKxvUwiWNWBG0aVw8PCtUT56ulnC+cGDmF/Cg50pKLFJBa8BdoXDEM83vHRkF41slJ8LveI69/qfCqlNZWrU/KUqBEzSiCjhEXGGohEstfD3dlWVNQeI4KGwTsMIlqvKnwH/JZ4OLtyFBPdHlPOweUHqr3lY9nHs75AgW5T17N63tH2mkU+FXQr/4jUYNyMYWPkYCuU57I+K5xIo/lMxXs12x/0aXCcgzxpDm5dsrp3L9liPTC5kFi87rgFvAON2YlmlmlrzR+wk6JiU6DFvJZTMKfrT2mE4cDcuiqs/EsubDJ0DURluM3Zu+2G9cslVdcVXNfijoCSst28b1FNZwF56HaYzmw0Cx/GTw1QYj2rBU2BAblIJh/E/imYFN/uuV9liVkttQ6K4DPl9Z0vPg73sK7I5XE9I0PSupjtF6TqqDddYIu7dSs/UzJRqSRVVKKAdGqeeR8I9jtk4GmZiosNdSHQlunP+OmzCFiO80SwW+h99luItpQUwAe5WzdoVfxirkfIBWGkY1Fgn29Zjj/leK30DrF6+X3QC3j+2k2H+8IQmp+RPv7NZFSMcVqEcEffYK8lcRL8A7skcKxzB2HPPyj+eOCSQMeTaR4QZtKxicCV+bX8UXPuj5CcG4d+HI1w3j+QYrbzY/NMXNqiAzeet/Iih7yqzTaLn6uBeJD9Q8DEPeELjmy5AHfKVw4A+Jtn1yVxizE/bTtSV0i1EOORU18Su2w5PxLxqJqmEFistvL9/RXUPAMXU18La3YXcjg+LCNPyp4WaA93pnN8aVXaqEfxOnvHMZWYN60yfsxwCfy6R0FvR5z+fCh2TsICFvUSohAgtfS2O3l0Ik8I1V8WsVQ/xPcCIsN6/oVSgKfMBsCa8P1I31m2leZ3lOiHnuZ2+gA/X8ibWGoMesSVznBHTDGxWmKmwt2VUhCWXgW9Q3n8yauHWTELBojbvojC4PHcyDoluteWYS3naymfKU13dXt8YmT3lUnVzukD1QabMBxylkWqd26Yesv8dKO20KXdvT2GU5ZlRB4IED7elOEEk7GzebLxBLhXJXGsKBKs2uCNYo49rE5D2qBOnWhWmUokEwhK2oU1CVPxHK9ic+n03awWlAUCQs5FeI3M7ZeNVHQlGqsvzg+q70KOsYUXBGqd43MGuCLhbtVo1kxXYKUvzwv8Ba1GwiW346t2uvnjIpipuvb+plOf71z9pMz2Sc9LiDTtFe+7PMbDlzWwnehjssGI7osJ/0nz9g+kiimc1fjOHpqfKwxRLpj6qk3D2Ax4h6QVzy8/NuKKz58v3yEzbfMJOPXvRB0iVN0Re8nL4lKpB4vzLHTAXCPExgrf6hoqlRwPtjE6dzwIgeNtlfTDr9rxLtLE+5T/IhNJLboZ1dmAEVNOlBwYNWmzlS9UYzNfhJ28cIdn9ij4MnLlXg32oAcZDwzJqFNE1Qrd6u1aFFdZNWcyUjdkHqXnreNjv7cbA4neUjnxIUdXla3U4OPOoO3cKF+RgHi+7E5PPXw0A4F2rWUuMpKyob8KctPF6BtQ72jzqzYj9U9GCOx40adz/VFG5WHhy+6okTWs2ujO+6i+82b2FUrhvp6/S/NtuoSt/XvwBZ8UHADoQciti0IdX2uvoh5DgcysdgYdrWGGeUAHXL7T8YuOlQZHJk/TXoJOLJxFsVpAVo08Hdc9P7+ZXwScVGi+rV5DTMGAx2nIZfYHFnKOh28LOY5AqLnQFhsWFm5M2kXLS+WtSBW04bLipU9u8X1AWSEfVlgRMmOrflYIWU9FxTZIhY5PdMEgd4DsX4wjnwGIoJtZ93NZIEJOZLF7gTL8H4dHsRRhSMVLWiT0T+p7bWGzFaMzM4tJN2We7C9zbMQHrC8VjenJhjzBkq1H2EIt4TrDvUhVOXJzXZLIzcCZaQjY1Ah2XnsHanjPsUJ+eZlqoSOV6IIKRc7m/yY+jA4dnMWWFWrB992J337nXUDIzvGEmYXUVUoR0Bi3vOL3Dml4uie0u8/0g1LlMl14Q0tDNl6icbRFNh9m+TeaTNUvJ9HjD1QKopAgHW+qUUDt7kiHYUANhjzyZKYojy6aHPG2ww7kINMJ0f8BcZfcfAO/yazM0fW+ifgG2csOEDLkzLNjASRXUrlMEY12HPp0YcvcLBh9PKY3TiAjiGvJwKIaQtTUaKIEH1LkWmFbInyP1195sShwcjfltRFmAe4ttCtJcC5S8s4AhPqNhdNUX28HQCZ1+iX5ExOC/tt11nPhE1OkRJsu22WyQcbEQq0I5OGtxIx49JFOqoxmX0778ATF/5f10et8APWT4zTgQ69pSngabZi/zKnMBUiiVhfWxEacUUnnvmlmjs73LJOdWvu4OIp30EJJkUeO3JixML9nzB2HZpso9CNS9lyD/5EgFal9BoNSTJZEKmxMnqTGEEXKwFHCpKMcQZTrZrNWE0YvfaG5K6VaixVUP5fyqXiOpEpuc4mpSfEBWIX63WLLnUOic2kp+yasJwXS4iFiSWis3AAX0poXPJK3kZbKk7XY4zdluZi8fIJCIVEONz4vojUrmkCKFqSLRbTltq30nfyuGPT9OSIV4dCm/9wNPjaCrWPpTtC3Xew+S1YU4BIALdq94TYjGdtneRSq1bfBFk4dGiBEwtGbzE+TNIOsbDr7DCU6APfd3VjLioGbV8qfMkvvXQUW0fSCaJDR/JPNiNNd2PWzEAsTXTFBn/GQKAPl2gi0mM3yS4sDiEZkknOnATOHrzyH1gamn16PZ9+mzIAs3kn60DodBeftAUqCDKdY0xItkiyE6glHMA4SuXKG8LaSK8K4mqLKSMgSJJ8AiATPaspvLTLag4V/jwx5tv5qt1jahhNOeSym88ymUDKUk7QokWKJQzcekNtqsY7Vaa7O3O51vP2fypvMMDRNKequjz6Iy305NPW4DqmNd43z2SAoiDCLVF37ufuB8pWNPjpHKHAWL9z1K1Lk5DjKfE9KFvxpZF2o5P5ruugtFSWPctSWchXbYwYJMEg8BCUf3tMgEC1exDFzBjIM1iQjflE2Y5un7uqj6Fo7acur7XGaoVfIYC/xJXVeBLV7EgZOJxiMXyTTQvFlm0kgJZZ/ScGkBOyandlbXNbA3TeXWN08Qi9IsnYReHSsWEABJAkWCN6e5rtwOXvEqf4x+ImfIENqX6j3+Mh/g1IVU/RdZmoQqczrahpdZBRTvcBIlx/ILoK+/KBz0Wz+QnG4V4w8KDNyTFrFxPXH9bG5CCzdcAlwr1h5Oh6lsR+Y8el6Itu8KDrkbenmbKkjwIIaxO0S2SzgJem8pMB+t4MQvMiMiHOFoo4opKphD/Pj06JXHZHova2gMfM6WhgxvWiFO9xpFEW/tFg3SXvUpaA2R5Ro+0V4sTdTFCkH1csIvcWZeHFNu7ekFYs75xD7NU/8UJnAKWmh7xJWwwQTGayd/M3a6AJLtxoHaU/LSz+bH18awN3YQ5PjvdgI/Jn2k8/iwpoq39iK+H1/mrT2+vUjLk7t2owO4FJq/6mtiReaE3aDQy4vhRsdaPMXTwNlHyQi+jadJqh/Bt1ETQB2Oc0lBUVu1xRAQcQD4ibBjy8+tHWIAjM04GxOLTPGi5Ck4ytK3FXfS1JFKnovDycvkcOgb1PsT//Gw6d4BF9zo8tqEU0GbV9gUsdWKDshEd6HDQR/124QUzn6QTQlQwKhyfXmuolcl5RfbJBpZGWWIGpORS5vmxxzkbq0z9l7GbXxqrkiqvvBhRPsNG28GiP46L2pUSiBq+fsL88QCtAg8ag54CktqnMmRmHCfYW2uQQdAxRLg+F2+Crl0lGhAQPSoU2+AEK0w8ubjll21odcZLIDMJFWbDG5+p2EqtZ0kuMYXcJew5Xs9O5S2oIrb+mcPuVYazqMDMS48UFhB1K3EPr9QdOidsBHZJ2/00f611zBlCQ5w0nhfKEAXHZNbb9f8Sud6zWQEnFUSspdL8oJwYRn33s26WGJxSWTMfzHOKxFdd05ZA5jdSFsTN1y3vm+k3ar0sQchUcTZY+t9sZPooNTV8RgL9TGg59er9B1tjX6G+1YlzD49EGSEQ6prmB2tF+aMiA7wqr/2ETlSDGezzpg+Vjuw2GIjyiJXCaZdX7nh+tpFsf9pUoJ073JNIRjT0E/2EeswcZJeyx7tDDRb6ifPWsx4nRkt6NRrEqSG3SvtvGHD3QJVHyWntr5VCGDhpZuC9gsiDcDkTLQyfj75lTjWrpPT86xo4qZ48cF911UbKugiHOWerX4g5frEFRLo/sfNMSG1xx/UbKoOdO8YUymgtrXO1qA5kNLSU8V7rmApjYvwP+MR9L5nx52FCS9pShku6qKmd1bpUeWfKsg3diOywWyXXYDA+UF5RLjB4f3pefrU+J6Ngygx7yhoetHweeFynrYmrIy/9tfm6d0xcb+3X/lNDyNTTpEBUxjxUXVE086IkvpN61aIwSj7NLrr5pKBYDr6q/yImtQyZys7/XdjUtafj+wl8t2hz2LD1pRwEeMfuuCfQMzkj4O3K5oc3+PVLj+M+nQ0vtbxexdrsHi1VKxPJyB0uf4EwBBPwvHBItbbcrod/qbEOY10+6MGq2qT1LgG4ELwXwCO9xjy2WxlKDTpW5PTiPGCFAtB2bKhizknqUhHi/2gCkt0dPkaRHEazNC5NJXHMAjXGFdwS3tBH8aFCw1Btrnae34mQF73hdcpexI/LpLYdfP/IZsFRBu2NfGSHez/moejzwOkqjHws/n28jdE1cfNVHmChh7SR6I4yga/JsDDw7T3FKauz3fzvTUB6gjUzhiNhmDP1ki/QvmVEdCqoRrm3hE08wTdjUv2R4oKbJxXUHccsZ/lo8w7lbK6VSW+BUMv+tyIcY55P5bS26xxekszh+fZhyM2ZO58INFEDZIXcCafzHkHZYDWxF4tke6foQycKaxD9AGfl22i8mUp1+BAb8pNcraUVTaI2xzUSsQNVgQ7ypQrrnVFb//9Wy8rcgK9Ot2qAE0JWyVGKW60tYcE/DuDpieM58E3iLe4u3jmzqYyWBRFJk30sXl1qGmRP6o2oegg8Q2CMtXPBTAoG/DsWyLvE4I+arXfU/uR5BCp6nzEqZduB0o1ZJ615TO6sfNj6YsdjxLebSaSi7N3tf6C38fM4EOqKVlUGCC3AL+MD+dH0AF1d7vBqYrqFKB2eCABVWCxGZosEaLpkzxcSuMn0hWXNHgJGeQ2u3iOw48l80Nkp4XZQ+vB1UOm9LKIi/nNfvsRkekhT7/MUoarqL/Nv16Wtct/bNRolhwEg4A714pVd9D40xvvZw9xtoz/aEGJUDP0z+Je5H7f48V/O4ZF4CvzDFOu1fangniEAM50TQsW4dePiiWYj6jDDaJuY3MHEYU5c33oqhjWh69bwaFr+mBOQAv0aHw01H/6+nx3xrAx/2m6Ap5JzFZBKSc5p5tAAG53VXFc1y8GKR40RNMpvoaL2ZCyPYMS29t2WBosJdokNV3aEGMWrIyXlqo9gn/aNQ5/fU09aE/BWTCnBF3u4Wx7zTEZXtjJOdtjAv20nZwOBB4Yjm2au5btItDreK2B+6cRBuXjhAYJBqZyRy4bmbfLfV4LDdjerfUKK/ZxoswX8KYPI5ep+xZYpqBiySfa9jtYbJs0HoOuQizqRlMIUmkz1g5HaVP2fwFOF1TKcOwfuMrnSEjaojWcqhavx1BBHrM3F3+X7mFSS2MrAQ9bZ6ec4Sl6+fhZ+vvGsnlq69Y/NXOz2jOxlRSJ9NW06kpUIBiZvb9PPqxhT5eCM/wn3NoSBkAK4sDSUVnVe3WWCGQ1hdmw+bT1rqGpHgXAOhfxYd+sNBIBsJvdK0jLysMwb2dbskmYq8s1ENaQdXS595p2C2mXDMHhfqs098TxOpJybXne0La3hAM3BOxy/gUOrUhFo73Wh/avpg1oBU74jPIkWBSsFg/OWh3v3Ql2RcPwZuVsN0cb4kYSveFiM791JI/RbwiNKWmkPib92dBkIQr8ktyWo48VZo2xoWbGAgh8SvIMdJ3WzBx2FV4nMNyk+crQuZF9sBNYWdG9b3kqI0HfC1i6ex6or4X1XUdNmnvxMq9NwvwgLnvT8lQhQqbXy6in03tsQG7sQViVD13MD+vOu3mqBNzXnv0rKaGoS3YWkcIChvYu75ChvZnEJjlAX6jn1vtXVvvBeXfYTZOgpp4yfjPtIukhcUMH/fpFgYb2yQ7NRKGign0xquz+rPAPZa5Il39WvRFD58K0YeGyKAbczE9CQrcySIHS5YGB2W+wGGm+9qzH298AxM7dwpTVcQ7t6qYmzO5lIWI7fJPWnKSPYsB/wrx9RS3Zb5PprSwqI76Txzocg5KxDA0tZmHxP8pwv5qzZll9qu2IwV5dxgcprSjuiLX9SnJTIhfe52ChTbVjyp07WK8yMb5OgIks3PsoqkpWrCcodw/mWx1pcyUAslKunnbuIOHSO7fAH4oasT4S3abVvLiePQdEUkM/mp/lHOtOhqGkO10FwT3TsZ9iUuI0beesIXqU6JRPuN/mGkNVoz7+LGkxnRU9OUKX6RkQ5iE7/xLOYBTWcGZFfznn6XA85rsCI9LzTiZhguyqYph7pPvapRiPcBhY6VnjFQfFSGUsIbTC8kRV8DP5aNhUHN8pF/B4pPjpBD7U0Ds5IRN8qDiUnabbmZPze46QkkCgnx+G6WK4AULUAYyIbWJ2VCc1WT65SKF7VbH7mmMkTLFuD0JENpbCHrVs+AIM9hP3KZnFRDHVzVLb4tszOUzuuJUg9aVUCRkRdTgffeZxNRY31TxvSOajDDCBe2i9z92nt+9b/TeeJE+YvqzWmX1wva+bqmkA8UIwEqYqkLpJIgkxSBWZjRm7B1sOl3PexFi+xIvdGzLVXMewY4qot5Ua61PYOysR+iRDzHAd1YSbH4uYS2AIS+1NYablthRJGFwGK6HGntDreg4N/MpVMTNAGvxoEhwugIpPgrsMsUu8f9Qug9j0qeNsyGs4CXlm4MAt0R94TjIyeElr6jhvjESBd0kIW9gBsMKTL7U6rC4epa0tnTXGN5Os053ByQP23/2SKbHnW5szlhSjw774rJ72shPiBpm9lRrah1BmgE0gimFAZt9WNfm1/A352C8cXpm74XZSZoznfVyfhhzUQM69+eC44BsSgXfQwan1bad9yx4mOq/4g9j+P9SDQQ1uhQZrNigj5ctxkb0o0NWxSmtXAFxn5VH/oWGtuDdvZ8xE1az4+mH5juMjbuR6cAw3YliBOdndWG4zFGiTZJhsDUfwQ5txctJMDxMkhqCjbbsigISPDiaFuuRL4he8x0ARiAWUXqbuCcEDmywErS2sQyi/YK5edywvX+mF6yF39nWhUd1xpTsmQED2JYGFrMO1BsLfDtQARCyD6l7G/w9DcL3mf3iw9LsUBSopC0fVNuHoJdSbQWc+f+6qw49DaIJh5ElW3sVa5NW6+U6euP4JgTq4fSLYtJjQvIRGaJ1iog2aAswMHedy0NvoMpIYCOZA6L2t0Bdo5nIAqzRIeFDktPOU0qKNvZdr5SGs90kSaoUeMiyemo5lFKZWPRRpnOeqj8lSazjDEMZt7e8aHW5vCPDXxX0RWtYmURzWlA/Nj73kwQ3dOD2/k40hGAWywNfMF24mj2yJlcWK4mZjQnNieOAfk9gUaaAyyTHgFH49KwmIuV8846Q2ogInhKLQ3NsGojcC8k/KJ2T/rkgeRlPi8NGHpzNYarjR3vwEWMxzDgSdvNcWb+DJ2opE6XWzTCRIqepv7qxlYCi+g+O7IB0dR+FYjjFbUU5W1UyLmn3Sp5GcstoxPVtSiMXRJzWy88O2nPuhlsq8lxk+Elgr3Lxc5qByVrkbm7T/Bwv58ItJPR9aUDm+y7eaQ2IgF7sXJvvOCkDHeMsJxEKy4oLDT7QMtwmObg+kIA+Y2w+QFDPl5xVJW/B4W/GaRCVRh/lNjfoCuBRwXup06NquwNmIglgYB3F0d0PaqH9qnMFt7fKoqZYjaLmL5mzWCuxk/EutsNZOgzJZ3Caf4Cu2V6t71E5o0e56/DGIEmfYnAzOht67rwf/1AT22hVU9dHDmcsvVn57iaTpS2s54dV4kheEj2O/KyN7YhxjEbJA4C/+PAPX7493HTiL0Xzv/2DL9W1CNesYJOgtHZHJgMJS0f4jte4XzA7AgkIV8oLjDAnhN2BEJxsMh5R5lCOftdBSA2ASV/skZrvMrGmHaZg+8pUR3m12bog2GxauTOW1OtcwB3KY4WNAjfVJI30fLbl7tO18n7zDQSzFGv6UC/U1UGi3kNYJ16STm+Hz9261CivFt2ppb2++gwy2OmHsNW1rEQAv89ylcqJr7KpBwXHz/q8/GO/QNBMTur1+gWVQ3+I+34E3crS0jH2YKgcJtVwU5TshLhyfyj/C/3cF/+b2XA6aA9Fvo6N62joKb9/lh7X/P462wH8LFeVUjUNDLQMYkXJKPXb7Dx98hTPl+tEdnPCERiY+HmXS00Sg4id+WmGHJ1b9YAX7c43rSeRnXMAiIKvwPua+1Vzu/2W36qh8VfsiFbbvNPXZBwMeW4beEMpb/EPrkeXOC2IGNAylug7l6BBoJk/k65zz3AxhFXyIHqpZwjrKj/lhn5MxopqCGaBfUGovjWSZheeL8Rm7Y+OZ6TkgRZhRjIArkFn2j+jYVaJm2XldzkP1RR36BViTOnutZ4qe0IX/I2G12QasiVBrH2o9BtIpn5ShYmDd5pQH3CnCsSakMPQXN0oyu/GHzj4tgkQX1NzVGd9K2IZp7xKtzsNvvgpDfwpFVRkFmV5mCOcolrHhoKS3lU0EV+lM96HlxsdX6OYQCysO6s1mptFrzBLM04LCvqS7hqh9QSZX26weEj+5cS0NphaYdAjLOiyG62DdXy5/QA2IVDfuYZZIbSoZXqgxVjikb3pKBVKWJPPaA+k4NGsCC1gyeHst2OXpzJU20nafBlrodkcaYH9X1h/m6Mhjh68mpzDqppxugXJEn51uKy94TUUJzqPEc+rXa/9U4BiCi3R+ORCWIQTcYOBJIjv5PQTyIohCJOxGfN5361lVV8rFHAvrrCgPLwvC6SKDu8Ja816tQ8Q5zrc8uqXaYgvA22qXTPGd+3XMKiWWGG0Ov0jmbK+GFRrEuX4xZHpMi/WPr0Gy3WfAKSRt7YWS6KSETAe5tFAgPDGYff80Gnnk8XpmBN91/CqFM5okTNibPsa9TzIX5x/a6lZHiblIaKcFUrb0L93K2I8S9FPpXEgo4tJeByYboA8Cg==">
            <a:extLst>
              <a:ext uri="{FF2B5EF4-FFF2-40B4-BE49-F238E27FC236}">
                <a16:creationId xmlns:a16="http://schemas.microsoft.com/office/drawing/2014/main" id="{A64CF87F-42A5-4015-B4D6-94B5D1634CC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414601" y="1112833"/>
            <a:ext cx="5555960" cy="2829503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Retângulo 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lSxMh/9da8SJc9b6yqhyrQeg1C4IoUJbPq09iQ+/nKoJQWh1zfB7Z5DOR1bDpemz/rQd8e/ywweMqshl3BniUTbkeCZhXKwsuxEY3WexUyCv1+IZL+uBdhKxpwqJShn1y2WVZkxoBbCXUDNe0PTjSFUVBPqy+PogWng4ytSzCE8Sk5TZ78DKKL+pE3iXNawKkzOPx/xuKYViA/vuo8N/rkd2/VkCA+wt25nehqKvdHsXh5KCIGUFaYxR5LCsWDhR1rzEfLZjGSh+qWMH9lqstAlLi33iEkD5n2qBO66Q9E11Ndw+1RfIB7nEcjWzbIPeMpXmtEMKj/An6lxquunat9KSOPtIHPm4KBgmgvLHigit9pT+GqxNJQysimxCiKxtjcKPuMAVH0kViv1W8/ChpWUtPow62++YMjtIubhNCwv9hG+PjxrgKqtSv0KzJNte74np9w0RpWbQzCMD7ucmITa0B9CDygzoxxRE80pwegD1ksyZHeflGvlft8iqHkHt8M+v4HAHWxoilDIxo5SDXf6SIcWTWrv/u2XzZUAP+fvT63gsmkbpaCuGjrAOwiz0kwMjSxlHR42KCx4FM5xbUSA8IiONskWizRNYIh09DuMl4+aBMj7cp8DxJiF/zyr0jwr0EmeqZV5N/cxE6Fx0Dy9Z1I01v1zpmnKG35cKzTYrIAtdCAZqxRbNLgK6a6PrQ9DazGjWS3hC5jiLlyBGvnWSwqMEc90jA+ufjs746JjHOC7npVX/6LiE9Gk7J4qBALheW3G294Dky0sZ5NNECj5SkaTF7Gg8BlTQSg8fek6j0EsEnmBGTZ7AuUhY4v/yXOrXua3KzPi5S/Iac86vHVEc0A6Y7QZgkW9swS5osdZYkJu2x59SjjVGSGBfmC1HM22QsWbeUCVly6w1YxnqpSeSYsxwU6wXkiB2AJ4ppbbd5digu7hJFAHPlMYvBcUL0+M9QEe8/EpjkM7vNgIMv6ORZSyYuTtF2AiA7TS0JHtCkiYyafk76qhsn/hc/ywbCzY0XLYbCCcLDJW2JlICA5UEQnDf9UAWkLPtEk4ARtSc9+iI/n/O/D8g625mWzKB1TW1sEh7lIr8+vllTp42/LbUZ24ZpckL3g4bJ5WBJK2H6MD3ZDntNBPZpy2rnKhdh36F1lQJVYilQL9elovdbRidPs8zlnUaGEToCuy54esOgrID+LICSbF93EC6UrqJZnK4foIMCwEwBt2ZEu6ko3K3uS3e57Fr+HqrF8C/9nASmqLr0u6nga1zU4rl2kmW+ZPYYhbgH4banQi1eBZyRmne3/XXsH0z5JfHrtIWONSBDCRu4Q7ow6NrpnWxssQTSUO9P5lBNTpzRHuUmU3lOtW26RyoXlaXBL9gO2h1GEAfaTOoxjh1DsaObDqMGbp50rHJaSoFQa1ezD/Ic4sJQVR9dL5CuCxC/maJAgA2dGOVvzEhC7/0gMI0YjtdZ50bseq1aixe3c1hqUwuiaizKwe/rcTgSy5XVsCgwf12COsmtdhgxZiGazJ9CTpw8GSVQyzDjDWPSke4Q8P0BBvBEgbM5NRgsTnX+5n8hOfYGWeNDQWa8k++pEoK5gNCIiAx6UfJkAEE55V+jqN78+q0bmWRy+d+1X3pmBuECUUTTaKX/Dp0mJRXIhxAkADc5ggXxrADdtIQD+AfDmZ6sD8IO6eXJRJZBghesl46yCQFQIBpy3Btfgk3pkhXUDcnXQAF/ottnrYEuXCGZdCvZ9gzO+nDchOAsD6lNTfDdLoIrDEREWSBWkrfGyE+JarmbRDE48rW0Az8POlujMSwpbSb4dnOxJpoL46xODBUPRfac+Vorvdmq7uS8c3WIMfL4ydjOfrUkaE29pNQMPcwI+/AcBWmKBdUKy9dgh9jLglJvUcYY8Pn0Xxs57U7GS/fbfqsOTldkgzxkVKpdVgzCAnluxMEPIM01ZVyb4um/L0dMXdd6MQeobN7N5mKosPyTlFdhdDTiFv2gcXy4bWoj6Hb32nYyAVAsdzEJ28vKoL1UzuNdkNujUp5gJ5hPwShNL1ffC0R31PZx/sYKgnQplv55hbvUTUywi5vJGtwk9JM/uF2tDgYBeOEp8bqM6TH1xCzQsyeHfknPKj278aOYcY+eqN/nCvpJOrf9UlIimvvOwJQwI0GZDfYJEaU2B2wQ8vUmoZjzL32gA3P17Xw1iZF6yiamewgc35l1fYjgQ+de8pX+exhGLgsXrHu9/exgnBaSBOFK/+8UPkIiom5QUxfdTPxf5yqYcrdDaQX+GJfpiinsyXobWPaeG+1N0R9pW9OQxC/HVkiqv7MWSQ0rIR1yhJHuTmht6Gl3NL6UjOI1wRAVhHwr+hjjNTdnaD+jPJF6HlrMCl0w7ME9+z8oTrY5Wflglo/SOYxsCBjeuLCeUSrXNCbYiHuNyf9WIXXSgA6KuOX077fq/Jepaz3cF7Fidnxp5PD5QvTU7SHoEw8j9vynRj5pmw6KpiOMGGYiIgfPaC7H1BO0cs77Itjfjc2GhWzy5FZM6PkPZ8Ezza3tPASQNN+zj720mKJH3HUbG2pVplduHHcp3Y3oUKVKVpVifvXWJZiPHNEvIKJBfCqnYZNmFCnTRVuFzD2R0UKWVbKeI5PSgpg0aqeLTFcMzIG9TnbCFUsGrQeQhwLjDZimEsbM94w4Fs/d18Y5YLHFcNBgSwcyDXl7CKLqmZnJKNBOyks3IgcoJ+quJ7UIviDYr0EEj39vwDHeu7fyxvIHyzIIcS0jJQmgH6F7EKR6LqyAgUrQy4XCfSUBTSSYSwA6v6HGCpWDIObntmg/OEiChTPQDD6qKcBooVqrzoR1QkxWfLnftktCLSX6cQHb7Moc/LOzOWHE28bJNjlFYBqEKJctXzW9n/5AG0JpnjUJYop5c/QXGuz5SEqRsMscPUjNAGByY8LvU/RdvQAZzTSIVjhoeZ9/rxmEURnsc9JPYv07q9gO3Ut4bSCdzdFm1qESvS5o/Y9zQ7b8t3URldCtY4yan7JF/uMgMZX4oD58ySDR5kQmlY7m4x49U68xwIAjWCWNEiOXfy7EHNnjrWRDwaVKUHiR6BA9vKkhdnan7PMAL8JnfVgf/PxyIX3v4bRByQIU3XbPpQDQIPMxU7CtFjEl7AzZ8w6t3VGoraGMVZCstU8AChcoYooaU4sS6RreX3lcO0Cojhykmp8dzFSp08fI4f09dlzOb9c8UoceX3S54sP6T3nRNlwmx64BgLfHEP3C5pdAX2xkpf9KGpkWJc0ey/INqsWX1o9eQo+dgB//R/jK4fQmRM3bULQoNtVBu4X5NtxB95w1GqOHsYoNXFd4TS+1fe8gXQlGL2zYWbXsnbsvyADbL796VBBVRex6QZW3jcYkYtiq8O5AO58qDyJQRp8YNh5FSRc9xtfGUQd/Kt+oN2AvpXYsJd55gKnA/2HwkXhnf0rM64f1No5aJyc+/RlILMp/4nlz/uHz22NFT5PdldHObkqC+jkctnJRn5c76Mx7Z98MkB2SygaFmuQJS7Dh861DOo5An7J+I4UgCQv5xdOvsjG5LiLE+IsVn7rQHFZ05aG6qvjz+6BPdmEwDJE5Wpdz3n0AJ/GTDiZxYRJZ6mOFCXtlG/8xmjS3CVE/uNICtczCJlLOTtike0XPsrv5zo6nm8+Eqd8IRMuFVuxU8vV6h8rubtRiYIgtZDtexhpbvV3J32dHabKUcfjc7S+rovxpIpFwwkwhcTNSQMTiHzjV3+Hgtv7IXRje3OFUG66t9wCjRfWWy39P/uh3fRP0x0ogUUjV2JRfT2lzyNjBnCB+a2GowTeNx62mjqc3hRbRkDLqcgkrmDMwtkINRXIEH1b8vmJqknyHcen7DHwRR/uCj/yMGsif+owEoYrPaYoGU6RROkcHrxC4H0GBnqTsCxT3b+r0aGZ+bEH+V4xt5D68yCxjYahbN7+ou89S38W9+ydy9GuHC2k74bg/SD39g0F9sIqwrTLo/4Xl/iTVJrqzqjgSEW5pmqElUMjTubdfLy57sHLh72ieIrIUt0JrypQkEaY3yTghb6YaCT69zc7YuUP4gLSvJuDPJ3401yl9M7XKDH9cCH9lDy/obUKzyNHtUxlPRnvBA06dZwyVN1yfsOu/dHj4Znc1XHLrpAxvszWQafKTBcVWO1gW1EUJrIuVOY0epbxp2ZbjZjKdHEbeCud+btWJJFZNoonNzIyjAynh6udz0fsdc6tSvJiCTQx5wY9brmfQ7EI/lc4VkDMuvY7qaOI1NPUQTDAuP2pQtzoenJ8zs7288FTx4HHgmOkvkEymUOzIR7x0qqqAfMqWUxH32pppa8mdvFnOo5HUAhDgpqPWkjSmDKC5ijU5yrtQwsMwo04nGzkVTZsguGir2MakwybsvLHf5v0MuI7e0DvKRjvvY5+o9LMsDX1yas1iTZ9RPYXwGm/5fdUtTGV64mSYHEUTE1F3U0U7KWJx73MpfS2/yK7o5m4drCd/XHUqJG9z6tdk/EfviUuFyacHKrIIfm7BdKyAOSOt0mBJJ14qrAn0kjcXcKQ06G517CzVDScKgKZLY9+8nZekfJAnyZvbHiOPSNB1IevDWbPhOe3RW4pkR8lWsf12e46OlWuEBBtVL1XybTpfwO1H/iXtl2W/l94NTTeuoMzRxyoyiNGeTaAsKGwgUEpqigwQ8dETGkIywCZAbDZnrdjgPXJryZ3qlsdHEjMEH0fz0fh3K7Ch653gYGmZF/geAgLlP5MRTkK7mhuWbhDrsJf7io35HxvZjAiNUxDmTVDjff+xKPxWzndVeMzj+o/eL10FQM3vs25ZXPH1bAQ1wfpWdPva1SUpSUp4OyEVekNOSAgd2nPei3Jkfbbppp1crO55i0ChdJCQ/NgX0yHCqXmCLdGsOwJoBFXhC0q9Mwg82gIW/g8Id+v+3oP8ESsZLKH+389EwNpkn/NDkPW89nfYYbegjuniiczh0EYR+pB+hEfjjBPe+uI8Bf9EOMH2TOnJAB59WsPopBg8JVg1nWprsjRT43gjsgoTU9XggF0tFW6lZVCS1pPO/JJinwI0PfPSDP9gxKPDlYlouQI3xA0qfelB9/yK41a6KX2QvOhW4ocvY3x56urwChEJU22ZyPh13oq+y1i49zEB8wIpDhibR/Qw9HvZoAI1s00YzBwwdc4on0Hl9yAN/ziRPK1oSTN0GWGeyaz7Wmj+bDow4LcshyLms/pc4XgNCcjtJN0tF2miWfec969yLA1Y/S7WFXExRp2l+63Vr/yP/lPg+m77QDNEgvVHZIrLpAbanhJmzvze7ISiaX6gtckYrGB+1scbv0j5hCCb0YttYN6VthtmaGoef0Zy9S2H6h8jCllRgMNpc4qjxiAPLhmMEHMecIZM2IYPmnSNscwK+N7LayIuCSYoe0As//V4UtZVcLyMDk72ukfiLLN6aTpYi68mDzJsmrTv963Xn73SbZdlRxsyx48b+hXh0T8zqgj5Qa9Wi+ZzyifP0+39h0V2vt7u1DVVF//fdocInAnzh2tL75LRbc8LdtFdUHTdrH/wmafd6fzsNgL3j7d8jUyfkD+KdzCuEj1CN1zLUOXTIRHZ1/2DxSOkFsSstNI3brBDg1+XoY7sLpmHLmtBA+myadsSOeRzlf+yNFzfAHoAYe6Jdqzdoa/ZDlx1rVocFHcTejk6bPtXx56oc7arb+5T6efSxkF3pFsNJMQaV9LhZKmBGpfAOx7pJEUVR2nMPg+LC+BeXlvI6qMWFhK1CxtZhOUE/Wn60lU58qq9XsGYDAlvQKzmpGuqk749HRGUR/2ppCv9bUFDLkvDVJjcpS7Y5+8rnrm6iGBTfNxpKmCYeaFV6rh/ODHDaJesDKz0ttEHQQFcWM42OJfqXxXtGE8y3ClGRuX9uuaAdu6ST+XE1V5lGZO3hLEHuQJNPQbdmupO7JFo/y41NaZwtNrc0CWd89FBk8U9llj1pH7lbFyD43QLkpe9lTnqAF5lbi7YrfyG3ngIkWPASJAxDwJQkdJF4bOuo0Zpc62+seEhQ5ijHMLQjjqL6CG4DhzpmYcFyydI1Fw21uwDiHktSYHd0xaHuY4S+ZujdZq9bNyt1xzM2DGZJL+jWl90hs8HXNaP8FxNVZKo3uivTNFLKJ8aT88L2nmjjx+wKP4rCyP/AdvevopOauiX+iPVOe/71STiM2zlrIES7gVue6XuaAKO8G+OgqxGbstODeQmkL9b1pyp2qE775vJQFp7uhlKPZ0KhJyQ/q2AwUV2xZtFZhkCjjy9DfyxpBa3sksuhlsE6bjejZPAoFsbC93zJ7rqnzPHQwgBOZPDnrXj6UCvo8QdXlNI2hFOUP44WA+p4vQotBNZQIYQNHBPj9O8yOx5TW8CFjK7XdE+UyU28hLJ0wctGGF7+ASwX2uVpgRj24W2HgdoHc6FjXnNSn7zPk9EQMgZhCC9IptpfLkI9nOwBk//hzMLXuCRw2viBpI0C0q50n3DkMxPwZCcn88AT+2kn5s0rUk+MzPSodgdaKcEgv2c2YWND6AbXD5kIKwFpITpDT8Nbomyby9w2dpPAWAnF4ubAi1kPZ0Aaq6xFaNYiCBRjdu3F8uwwS3s+DkECADG3E3Q36QEjHtKZBhq9OXRvZh3RkRzQOOYeJQSiw7tTBmJNsRjWzBgX1rKUrKfIpAs/9aFYEqW/kFuUQfvw9crCq9b792aWKiQM8MEEQngRcTzhBu4UwaLTOXTGuqURuSvAqXMDIFj0Dzei36/7CUNwAcAKucW6XpdqPywPphOm1+Ks3UR5eYjKK2XU9QuUHG21350KW10KMKaMf0Y+YbPDd342iiX20zWehkz2azyyAz6IiEdI715lxd5gkwd47otEiGOvP7v68Rplhx9okqeMuqK+TdC/AIE7e60EmOEvDWaROInx/dVryI5W5tcEEce4duCePUFZC7YA9bB8mNP7OQAzUUMnITzPQfqnAajPoSHM/GA7nH7BzwzLziNuXvIno1cxCjMUfUcZPG7f9g06VrjUYHjOeTIgoTGvKwI65Qa6A75P5ClHMsoCfk+3HeOyZ5lEaZ4S3e3PDXaCQeePlGMOn11gaZL/gSrz1eHwLw3RiyDaz6nE6p2sh1l7iTFmfQya1/YKO0qSvAdED3H59EebH5R77O83qkPrtH/b27fm62wj7BwPKcul2ItFvoOhMp7GVixY1M2J9AGTKu/cmPdVkcsjbMKs6i72fA9Puu03AG8l60oEVdiTCHEGYvAyVnBUau6Tmcc6tU1bChdlH4rigKoy2+tdrKA9oQ9+Q1eymLxyMlfBkE3OeOVUVHjFMF0eSU3Uc9nAtXyAB4ECspRe+5sKsmD92xXZ6BQoa4nMrqRDylXt5tVHHtXyVZ6rq8U4xdHs5ERXtDL5v4F0EcAcJu0mHheCqDOu1JIvxoYkTD2XDW0rqXC0QCyXbu3PlXqi52jUYLj+8qVOJXFiz0ZPDRJYnlJySlwIAnHcYmQo3YjqOxvcnS9gYv3D/HOIAXKie3zrqKJYRZLZf0hkwmxUdQJT3li77BHd18wYUn99u0PMcWVfeayWQlYfeH70ueyTCLhQqbIMkHh7flas+y0xkBjHVcCmSPgeAocbTNOlq7hiN0FYI3CND9x86tdiV+SoX31CfDEcpqroocXViRmQcQjSIwUiBuNjTETmW/I+XMZyMSC8sKyvb+oML8yYkafOOs+HsWEFaO85RnUZSu+WzB2SsUtWxBuwLM20ZBmUOtuXvw7zEiNbrDcPAhTwgNvJaBwAG77bKVoIBSVIKaMC+VEcIw0LCLhdKkmzORk2+/Y+cePQzfTkWLxQIBkIfsrBabsv7KNF/lDpYQ2h2Fu9BkTYUC2Z0cybbOj6Q9DjDjj/5IWyISm5JNieQibpKwY/W7KPkooZm5jvMZNzAYhciQAZiXGJmfBDn0s20c3wpa5APoNIkJXv6Ochd8nvZucTn1iCUsaWexJDnQbz6M8pWV65w3KSR/IAERwjDeTWsUXjl+HcoYks8pDN45vHGs6ctS/zA32wr5wChXbwAxMomwFK1jJGYo5e4ZlAde3xsfrv2Z7DSPTqW0jxGDkkzvWu4ug1YJ3jxIPC3ENztHz5Q5A1EWW6Klp7tCW3lZHiKDT3+XVyJ2IKwbQ4Ms88dagfBOMbzGlIHklnJnxdVV4qmYde0SUYKwHYxWDbk88rkSrwFCVhDrXb3CUZ2OPc7k5pOJh3T/OolhoMEo+VYDHeZhYFtTPT3ABQ3MmWgI3OOhZGaYgBDG4JgZRqAV0SbEv0epPCtMKKwxYNLv1I9F4hbYNx7L0FHnTNnP6+N2h1P+N6/Hqmi21rRS5AVfaSsKT84Wz3huNMQOApOPQ2kxT95Ih5gTHGXdYmGdQMzwd0REUWw8h1Wx9g3FX/bAs9XvDxwq4ZfwcJPbu8r29mYzySRSKnDYPl5fomfpjkBewcHcMHZWMh/ZZkkVJiLHH34ND4IK8mSeHpUdpoXELcEyGV4TlP+Y7/g2NSUraKL8ShZZtHxrJbQSduASt40LSSrBuKDF6F6xltDW4im5zjgwl9ZQZKxCca7tTYM/FU5PbwItFAWnoTOv8B3FXwfD2/+2SC0w9iOZ5LcwdElcwlF+uAoPimK5iF6QiwJNQvWYfmdu75bs+QlfTA2hBxMiYgCzorrNhjzyWAeiT5VWnCuPobmZjhRd5183hLAb1es2RXW751SHxCsHal1h8VeuEeP4xgVgWd1lQ0YWDdrLYG1oazBCR2uZ5iIUpOgbAmtt1xr7q6WLD4I+xEkvpBhJrsLw3l4JOBUgG5NMhg2Bbul2z42meuOI06WRv3o+MXx2ytKMmUGfZIh5bH+RAkf+7gxHu83vg0MjxgejK49Chu1+H1a2TeK6yx7pKF/3zNhT0JFGDUgPWu53o5bHdwG5F7Ac46itCvMg4vvlEF5yu1aQLgj9NL88YZYWvnP1vwrsj/1KlPzMo3WCQA7O4Ay0JunESfOVco8bhDvOEMY4rq0xFWxaHCMHeMJiwV+47umTCxA6dTn2pLu7L9P11raTDKcKg/ZDphP1WWkuolh9gkL0rhkcCtusKuudbuPpekzLYntiUMjm+a2/gcJHGJKdN+D1WOyR8jsb2qhFlmccaWas0sa6EBQc9JUSw5aCsvQoKmrRkXoF/oFYMPwD6vX+DPBi8OJJ/OylycsPY4y4rehcGu2MSFPfWfUeSc71gR2dm4EzyvAgwOr2SpTSl+wSh4O7RHHyZSyx2PK6bkG4/jZnYPcA72lR+ZfSHVMwyQIhGH1kxkCDCP4ftnHXUyOAc2ktS37a5e5p68FeoUOxOIbwGv3iPOm7InSZagsak9dRXFik2uR/KeDhOA3vy3PU79KvRWAEQmGaCPl4u7oxafLFwhaRqFXUf0Bt7ynWNgQJHpjLh6Z1hKxbLQvY8u6W1fOFxtZV9/4QsB3TamQp+H3UIq5VGmiyN7Nkdwdqhuc1Y3bWtYMxZRfS8Fo4+hKqOYE6iiw6viGit+ApawDKTw0AkAPQOajJ9FmqxaEwe2W4PV7avpdHvhKpG2Q1oZX07YdQ3/XH6U4vdWP6gYrttJkbExWVqTPazpdyON6EjiiEsVocqtcZwh0fWLufSZzmCgUlOQxzUmmGduly8D6GYPVIjLn7JYGU7mAIUBD1CCWg0NKwJEWPoXQUYYys+zE+565sKT+4CYvplyKs9RGLVzb3CMqBKG5jl+zY9oWfbHHQI4h8fCYA+AhlD4ukgHZaQ9QJ1M5BRjFraPLUQc5wbOvlqQM1yhIXvEJzN8kN6jTpdoG/e+/MB7pbAEjiBIdmwhbHGBKhjNJeZLSksVlEd8nz6VBJjnumJr4IsFD7N8svcGHkPr1I4T7d+gvJ1gqKVXiQjaNQbzL34Xd1Pvh9dj8/tO9RkceZxk23Ii1YFB5gcmsh4NnA7LKzRE7Jl9zroF9aoOnnjQ202FMHOHFUqtlJZHTmPRakv+2s5jIt3N0tG3EKg6+8IFYCkPJWjzdb0qjdd2nu2JNh6NL4U5jKDB+EOKNmZJrCseh1X6KUvb+QS6FK4OBzMkhkAjNfK5EEyFSEf/v48WE0iAzj/cv5D2WLKOiJI1LYrgOUoSAq7JkX9cFFVlRoqlkm18S/dP4uoiwx/aiVKb1FHkXJDTbcxLUT5pBRUhL6cdSgL3xzPDyw3H96axH1/h7Acioj10z0I9wFaMQWnttTB7b0lYyWBOH+1BUwY2JrlLP7cFqbNWp84TZ6jBriOTR4rIR6n9QBmN6hyZFAm/pdIZ9yxYOH7ZauU9CF/nyP88sEVj+DSobGGg3kMh8mhQmObt87qd+ko7dZco3COapcvACV2qRwCIn8oDTV+Azok19NOXrnrR6eCbCIkUx6CPDRwuFG8T74J7sICovo+xgVZePcHW0U1RItyGpg+fsNX2hrcAcQ5IepMFgyu7LUVCl8ZAn9g1/TeiLRQgrsSQz6qgSp9rtNYnDeW8AtgrhEOjS63qdSgqIaiGnO4myJewpj5qIVWAmdeItujjZ68Dul8UHRZX6GSwIe47SGgBgsUU7miDdza5r08Lgsf9E76QvVzy0Asx5y0TeMDp/DQwSLFVHoFJyNU7VYl2JI99kVkUI3V4/npg/1vs5jQVM+TAVNNbQ8MD2a4ZHYJtMpoLd00GOP1b7l2mhpUh+jacnqFtvpz/4JrEwbIvkc3kLq35uFJ1bW5ANrQcbtjFGqANIIgjiSRJGyG+KU3z863oQ9ysu1JTBSs0WxW86DFrlKwhjM47Sjt22adup1i4SKtQaghs/onCm1gk2+S+h7IvOUc8mGI6H1As5L57tkyzXC4fKFlDsB0/uQ/3VMg8iDgFjXnts2O1UsosSzFBdZm4pVaZ9Zx/wzHPNrG1+11C9MjmR30Au5/OZ8dHVKiZuDNzzRIyYuUhk6VKqFeTvUb8TtBsWF5W6znnek9b5eJTdCaaSn3YU/xYJZp/XfJxsIt626XeoyyI4hVqDRgEQVZIesES8EUtPcxbumcXMxH+Nbn37PpjDHJmLJpiCRonDrFA+ra7uA6SkXe2cX6Sx33Av+igzz7IMNZx3gXuP3uudf72XLdVz8rPAbOWMs5XZflFJNIT5Bzb0Wmc1aBsOM+6pqEnypx5edR0XQevlkIEqG7a4lXjtQopsJUWTCaV4LmiZn5RaernhicKQ5jTITuImJY32T8QC2tAMcVhZ0R0dO1cO2hEI0mNPR0ylo44TTnekX13oPknCaMKc63rngX68CIbo4RywsHFjI+L13kxiWkE5aPRuTuRBCZN2XF1VDgmsDsplWHYgJM29wFYkHc5kmmJLpAWEQ6Gj/rMxO41n2nZCdjtRNnRXr0onX7SX73KjTCYly3bE1VyKwp8S8JHhWZiEEBNQevdMFF6Ja6ZNwZFr6QeMrcXxvbT6/C8ro9M6zVNz8A2g1pE/bgIBqWNFmhrwsn57XUCu/q/kQXfkDBUEsHKkYezqykHCFNmJVeg8oGKoE2TTxFNLfd14jvFUfeKlDaGwH3DfpF6m4GJ94Gzb4p44E4GW10RYZwq6+KAUQentbqZwqbo3lwcIfLtzSw2R/4MROjqFvyXjuYAk4kif1MfTWZ0EkKk7uGlpFFmxPhHk1Lcd43Rwvw5wB0EdWm3hhtT04Yn4Fj/E96SGmkg7lKRliwXaR5lJrnQ1sKG74UnNVSLtOSEcszLeNfv8M2SJr4KbTJ4TYOSfzCpbUrvonL79STTxitFb70/VVG8gPUG5ZY0e3TmviZnZNA8f5tdlU/xK0dx7bCpm/z3+lFCcrS0876vU7+R4Jf5BF/pPGX7u5TuOPfu9zg4J92qAhY2d4lxuN/2JRPBI0mNx49wyp2q21M+yjoYHH0N42/2nVzQo1XfgI/ueYps82XWZaX8grnb90uedi8OL8Ixv8Q3E8u3OyTLIVro8Ven2oQS+nqXO8kPmpTFqCyNpABqTLRIjLB7TDO1i7KVzejlkuwQjGCFO6MipKpWpZLTO1MwezYJomg5oVYJcYl+3Te6qq85kEog8GVWbmJmqToiBfoSbUFCdcoSBiK+lAo/CHpJG4vh55GRNYKbXhzbR+c9td4lVQCL4oAg1YZpoSR1ODg+VgisVbcnoZUV3AtUFaUqwkIk4hUgfYlThwQZH5yJ1yzSnmckiYJrKfWf2+fW6AdSf+RtnJ8IYq6P5oneSb3pDtDnqI7RK37VhYhX1Fe7t/y5HUDN4lbqU00mwVw98QmLCzyM+u90bGkMDZ9y1dLNRVBS4Bqa+3D3z/noOYT8sy9xNuFpLnffL8tZg7mHa4CEX4n8RqCPOtDuN35KJBFYIBuQwcp6Fn/yVEiJ7ESAGqpbiDh/XEVEKfJat5/15hwytINQRz8EhzwUz3lr7XFOEDTbi+K1vcX5ioFuxT+X3zGUJD39Zc9HDvBvLsp6J9/1NLKGdVqWSBhoz8h8kPkAJr+adv0JTACdBFOdHbXqyqVX1A9NBcJpyZ5+fs+hveF8Y4Eya03iKeaDq+qbnEpmBzM21S6CjxM8J8mulB7mHSR+LHOdg3C/gvWrRBYgt1KZSQm7l6EUJZZxLa67gQJjM+seBnHsh/zYkxeHU88kHTRhn8SQOLu7UvNTKFZ0BNndW3TXcM1DSOCKxnQ7yPlMrhIatJKX062N5/96h9T6fA+R/AKG91Kww+m1sa7ne50G6xXe1p2VJmYG5FtUhZ7rgEp5HpSzKpGDCuRp/Rr2gAE9feeZW+A7gKHJRZOAosuHiM+4JGPkReInCm+Yv+XUmdg1lBu1X1xjih8UYf/yaB+QlIig0qo30SEAuFSPH9UTL3GGESP4UOGM0DpV7aOF3m/3ITX35nQ6Kk95AGvYKCHbKZOYG9gcBRlWcjssiue5QEdiUReX1IUobQ41UrEUIEbWQslBYEEQDKMGl/QhF6KQJVoaRejPkfv+2sQEC8FeHo1q/I6EkH+y60SUwsPJDQgzK82BKRON9U3qyHTxvwWsa4BLqLCvEEUNCp9Y/M2r4AXsy8CPezPlanwyIjg5ua+sz8MTAbp4AWlHSnrh9j9Hx5atfbhlpKSOshcgO2ui6/6hzUKS18aDEV3mcxDx33GSMjizfGJ1+up49gM0fYmIEBG5QbqU6/vKCX/O8PFu9ZDJf2I5bgZYQjc3ynL7DCfc3A28w28wwVqZW4Gwpgdl5+Ox/zw11Dl0z6KcWdLBZxRITP2gi9+JHp9YJJZxuq852kvdc257QJl0+GvnUMjgRzLsTzoMIpSCudcSZahEC3sxhWHpsnHyH8HuBaOqlBRbA88fCGaFW1nk2k4ubNaleOqN1Bj/HA8JBdutKhhfvGuD5g3w4xEi0l8mnw+3VdNAbLciBj/HSZ/9Q6HZ3K3RA13hqgXiU/VZfRov3s3o3wdzFXGfG+5cVTBr2aO/7gYmS7y1hJjfqjpwHCidts5Hej/cc7JBXwulBpL5ex313MSJJyxMJQiyxCIU7cQQaaHhwffD4lx/JgRN09XaM/r3oDisHCf5oIbFMFaugv3ExgfGhb7eG6vHBNTELrc+H4XWMmbv6O9yY9BVYSAhTm3dYVe9HfLejNhTbFtgxx3d3fQpnB8v0RGqil6ko9RSXjfV5EMriphTjdClgjOBYVmIQM9IhYLsZI+xIBJWmMN4ZViRHps5UATv69fWIQ+7x3fjARBKWECd1G7gfxmHx39Xiicjr1rCdlUKuaQhj2pY2htWS7t0nVL8sIU8v+gGliu+As8ZZ+E7LMTad/EZA5TM2dMk44isdhBVo1XRJ1VdEHSt/M8phDsIB+Yck/rEgAjLCV1dKmSs+4tF/3c4LFQTs9XKI4kElRrBGQsIPL5odev5DpDjyzPtNTI7evzDh3CgY/q804oCPjYvlcUuwLLnvNJtEtXxg5UwLNyoG3bKEKcEQoqTwRM3mDsiQSGeLOiznqEyDBC9b0pl3ITXl/QuwJhphDc1WepqdvtiHZnkzIwrcRI4TfDeVVKxom+Am9gPQKdJpm93v+nc2LqWAimEw2zksE4B1sOu60mRgZV+5C7UhNwvJtSLmqvpQkxMn+dHTWfuWqoEgIW/pbWYX1FY4hJUYrF89vODD4Ev+3MZ+tBFOY0uhR/Cc3i/+0+xvEh4lyY+qDSPOYlGCf/bHpuWcymTJdxGFKwLtGs7CDwYh913nHQLPixQWBbVUK9q2VA5luzfR5K9Lh6aAAWDWcOsJ4zUEDRH8NMllllWki1t3+86YCDq3tGbJqlkQ92jUHfP8O1vhdbelXz3BA5w2vfG4Lajdx8ITzmGNkAghKUhO2RLNDvZ+GTIkn0uuOfNL1h3pI1fVwYbzyzuOHUg5fTwZKAmokOMqiWNcAlx/7FbVIvaLjRabsSIVaO5S4dAJ15B9cIUkMKV5aNT+mURMJXgIxJbd5KNJhjP0XjUC5+wQhg46a3QZIOjyFaMVt/sR06txiqYwXK6CSN6pO9dqBR9hJ3ck7tT5Du9YTFkitnabS+/IY6rr5zr+1gm4M4GXsDtosmxYPEKSK9oiDG68k5hsZqQO8AfahpS64O7wKqEN8XiGp4W4Uhx0NHO8o2XrBWkSNH7PrpZuQFluuo8o/e6vSggQcYsMDhIt2rlWnQ/A72ynjlxdjNk626uKTXBbkZAQ/UtyyKB1JxnWgGlzNkuHqokIwnBovIYpEbluK7Ez+NLG/QmYDT2o0W6mkGoEKFqHu5aB+az1mZtFWtMn63N+HfTjOJ9rsnytX9CXWN75exFOFh1tdAzRr6TCJ6T3nmwRSOlDym+70aXZxdmWP/3cC9lwkwkbDeBxHzlNT8SXolk0SNV2tR9yKoWu0Q9AAod+91oXJRoSd/JmK2B4IRerfDak6uB4uHCZ03z7xx+GdKYJd21gciMgKza4zeeq/5276GGwCBqiaoAQcDLOZ7bt2yiA40uftTSVnjpcO6clTgteLcW6VagiqRnMZPB60s/NKqWw0dXrF7oMF8b6V2UHJb7kO8zHYZWyyYDtTrVPgDmGdISNRdiU78KUEb4DTZKZfzE5dokkVESQ4gwNhRFqjLnZVYDt1B36MEl4JQj/VVgbEaf0i11Jbma9q4xHfpS6cUrjnFsb/0DEQCCeNDwCryjzLHeG+kkAuLEsINgQDQK0PYAv/PSVh9s9A6Wzn2ZGe4zyvSscJ8/HFUBwbRlaMkLKMAN37SMDRsV6DraMrjq9CFvm14oX56jqnK89U4f7H0bxlYIg6ehZvFXgKtBL9cLJtih4lFiViDXLC/15a67fEe4ysu/cxfILlJLktGxeg0SO6Tjs46/Dsu6D+0VYhv3/+pM3mKS0jVXjNjqidQNTuly7asC/pnBhB3O0oqzwuW+EBMkkTmt1B50mKo/jfdBaPUAz0pn0ZG6H15NIEG3tgu25XXHECiPdAkVYhoLeX3ZcND4XBMDz4eM2klR7RK5RBHEvLcZ8hXkg2DY0hYz96SzCaBe2mAlGwRmrD2X7HbW1gBmH8Hlfme8g7o0mBFyhVM3zEfJQ166Vel807t+M0W3INb8yoOUFgHqTqNO0R6Lp0GF+ezrT14gPTVy2/srJSoPi580ngxHX8jU+IgnjOp2CVolSFWqO0r/U1IgfKr9+HWqxj2YITw99Tl/Nga3FamcEYl32iLUcGbkdtfGFe6x/GpWjUHNzcvr90kmCYYPpm1XrkJZejpfFhAwDN0OgWXed1gkXN8/5LwAs15fxAFOYutqRFn4yAcaKlQSobQLMjbPmvLqsCdSUmgdGjCooAwu7y/rfZwOCQ7FL1xsLS+pIQYH826R2VUOc+L27TdygNPXENwkNBbMZSKGZGcT9x0GtPS4nRJehJn5p7Dyes1KtI2CBPmXS7EEUp334iVq5+aHk+nO/QXDBy4e15PGK3J8T4yzzHwajcfJLzg8cb72mCEEX6ixsP8oZ1aHnkT6grE42NtMpMXpAejHoEnLyNQf4QApjeKxLACXZyEjiWhB32vJnK4nj+iK1+l/QeFdifK9BCUYwINYhm92TgnQdqo9dL18Pwtm3lB+2if3XFKNAyFxB4ETOY6r35c+rclCbDJk/WGJaWQj5Ib7RrT4E0bW1a7X3iEwmdx3PUEl0kLvIYcjFA4RcBcBNsgKa1gSiWH0gWzXyWsSkg/r+ZStxPgcW8m2wXIaJfDNIQWFh7dvpX8HfLE9q71tvLdpL4H46UynQdwCAaW1ytN1UaoyvUpiafTGIn2RHdLpsA4PLt6XLH4a6dpX4fDM0ELPgupIuf8nkQuTXqBoeU0pn8olehX3i5BcQKXB0f02LWpNgzRiVnUtnMMgx5WSnQfRJWdZQYo+oNMGdD8xlj/T/CFN5/fNbY48gW5MV90ugSfhKKCePpyV9vXR/YlON/XbIghvpp58ga+1zzqMgr94N9bI8DNKFFuS544cLie/kDv9rjTauf38wCPCopVE0GAL7fACUSlD6A6QSI1lduihXMgkPCWn2LTVH1ecjPzCIyOHDRY1307EqpW720RU/IQZnTd4v88a6QRG5SQVTt+o9vdMixD81quHe6WMcpoipzL8s+MT/hSlMUJAVCvN2w0xSTcehJWN9dwjca9rLZvR9iBhiZcRl4pxKXv5kA/UAgrq0i2oDzRqDY3mj6XFXHZQWea4RDIsY3tmvSxLBjzRX+uTWIiqXtnTETlzrBVDIPGi1I0pLafIM+X1qqCJ6O4mY6n+LZbljO7fn3Y3m+7NuLKV2JNnWL8e4JcIjQ2Svu8/uBdeEmI8s/7WE5fjTP8Ko3gDvvC5A4gQ8bR8hMEIM3eoHiV2sFratkspMwUhtIpYuMnIVrAWKnGYxRkTYge0CvCAwu7y1xllyQybemSoDVjiLz8JOKgt3mHfmxtfGq4s/472tkx3MP/yYow23JbN7BSQ9OaCcPNalxzMrH98Dww+V6VKu7JvTkjT+tkPD5JRO+4DeJuDRoTdRMo/ZHyC/8TC3v/6mu7Q5Y+TwrDkyQDrci/ASJw85ursKG/KI3O73e5jCRBUdJdqtC9SBQy0w/tdqF6YnmlWcuMICUcrlwmc2dR7sZAot0ehcBrl/6gs/u4srLZuCbirRi4SjU5sp9gWsYU6iO2vpsr5xMVEEoMaj6Gm7CnfBpM+8O3dhBWJrLL6L8MgR+Z/1Ov7vwRwhDPGwl47p6hNWMkzSJbt+KFHsF/zyzB1yeYVZsn1poRluje6DIIGS8HxPNr2pqtYA5F9rMy4vTG1w4R5dXqlzf1kzCsFpPwMdcpHp15/o1G4FsOawLl+osCVk57jbex92nYQl186uvZ46HTzXI5ya6usTYxcRqkCKd7j0b/u14EQ8sAaVtJK2JTIYBcVbMNwoAiW1BaJbvaFSROqDs/P3c6+wKLlMNZqOxv3no5hAZTIqVqco2Kq8J645mLoSB70jJJ0w1gY/TY0fBOFFFQKv/Axj1wM/YIf4FvW6+vq6hcKQanEjPKskmc0++zhcn9Ie+0wTznTXjpHz75RSmcjugcPFFvOqeOvRNEO26jbLmkVK3ExZu9HmhLhfdjBoegE1Vylz41hdR1wyYiG/h1WUxOVnULFUGR9NnAqho7GexPoEAtvhKdIeeReSFU94WVWCWDhwqiEQOJofd96IR8TBMP3JKF4HC+DYLEtx6eoKPbe/fLsjEZVa6FYTP0WpTRsgEOZJ9JC7NZU2c1n6phE0rreXSaErXhAsDZURUJ0ckG+g0p4tPaJ9+dRwWIzfQe2Xs4c/Nib3jDcRGGoG00Ycacs9tfp2mPT3s4vgCZxvizjlvqORLt8D+NgDCGEsKIp870TOtkt6xT7AgZwkK+IPbnpTA8yiX7KjRfTVGd2dZj75j/zV90obyX15x8CS9nANUE2MvDNUVZa4bLHBI8QnrIklXaQjD7OheV2a0gRA/ju7vfBLDedymeIxlQ9/bVCDK5WgZwktLsIQ+btvT72FQR5IONR924qgEIhQtDoty788FGR2GAuXFgcEUANLi8TdrJW+D0JjQqwEuEbuhThhwAbRPlJDq7xOVsZqzZYBOYscCc9ABsAZkDhgFel3yHAe3Ak/hpZCSNTEUDsVwEICCeIAf8kufv991HzAaln5z9x/EaUX2e8s25RzXZHxj16zcT6EdJnqCpnTXMp/jxgiAoLybk7ZLggXECcKveO3fjbTnTbAoH+njRO8UPjoPWh4ytthRhH4lq5J8PFonQeKkefPHJE5cf0xHRVDgjmRSbg+b2YEf+PD6q2a1Tk03POaQeZ+MD5Y7STDOzbV6Zj6mFBPdT2B4GZAz8nFSz23odXuWEePpjF544iJC/RRG7wc2ZHFYzA14EcxDCSkgCZDQ58HMyXSg8nK3R0CtepKOxhw502pOCfeqSlG9J+Ja8Z8CWZzfVF/AMo/91hd/Dewz436OvWnZrlUzW3j8RdbADt57L2cS5K/7ZNX0eWu/2PaGfdlPChiffxc7jdJh2EVTcvQFvkNsHM72EnRCg9W1ezI5BfwhgNk6RhVU5vOUYcSx0hDT0udXT9gwIvapxbBDq5cVIXb9A/EOb9zYlkiVnKIV8xNGEErvHtd/PLJsxNHCZucF/gQvdQL+NTX85DZ3IqNI5fTRNsFPrl+LFr0nqXIEPrwF6XDa3Ij0lFPgnSK5UXBlobmMimaKM8sO8zuXkO84coZ1whfnEtIwhz0pR754U+TK2EXScyI4UjhAmHTlh3LWopKoMJ5KsrjIfmZSWmCjtWbobPWuHcuJynZbKWw8PKkFu/ON4UGaaz43V5Dl4f+yO+EFzp2kYd9hKc1o1oD6Mihjbd1MKDBhYYG/UwXMcYUyjiUh5aVH8wF6tL1x2wPYsqgIDrZ/i26SCgN4HqsJbWrj1RCvCjnkerA8w8N0dFPZCHhSD3OZajYWJ3DsTYZkPOf/XeIp144Vb8fhug+auF5YmIV5aKvucLp4Y5RPk4hvcJWEU6t1YiBH1U8GV8uMzrFoIfi+5QjHlGUDuEQElgo6PCI7YKFpqcDfxKYQYWPvlP1ASjJpAznDE9Ome64OX8tTQ16vdCUW5X34zlj6u1Q4x4AnC3myXzi2RC1f3DqY5+23cHvA9As5GvU1NfK06Iu93E4YKBPkxhW49PS1DnE/21lpPJB2B9jYzESeimZQObcJI5swgg59VkEIys5mnsDSskTYjNNytwxMNFaDaSE92cmZvF0GguOU7Y4odMZ+yaqMwXKRZlOCJSEsy6QJ5XNHc/7Vi7Bfljy3oTUMXfZY7izWIGYZTRWOsj9T/iW41SEgJ2pHvAuFLczqHIC65SKDCDfsUz0qEuqYfJ0m5dyuxRyvBsihUvmpoWNudB15IRSscdjD7wT4mAJrTL7AKaE4G+khStEuOeYJ1IlTgXlO2jLJrW9XeGThKh8Pne9MNyaqS13D8+Uu0UzVuQPm0FEiGaGjCj/rBPlxEng6uVmzB6XOxIeEaRz3i+920z6H2+yAKm6gbOxOCKtTY0SkcUYelLf3lgcsvzqsZtH9CqZTbfMWfzgWv3wPPiRqT8P+lwiH2GR0QVPjWRab87xx/zX+dG8KmQ2Z+NSl9rpcHbhEG49n1rNb2ffaeyQig3aNpt3JBqU/HV4ioVnujmFeZGBnjRhdoxSDNjs6VIiw8oDdmOZVvTEENPA2NrqNMMwyTURVhIH7MDdS5shfBN+KekgAiKZ6ER/j8kutp2WLmbwepHS//2pZn+ZqcWrdFUo2/Jc4uIAm3EdB4Czk9htdbnvaqs1CkriMS44WX+evuwFXncysAAzzrGEgfoA9G7maXrHu3LFnKev84Gx2pEzAIcEdA+iLmP50FB8vbi8oBiL3KBxSpqiXVZ8mwDhwGrjgG5qSJEc2kWRO8kBdmAU2azuTtyaN7R3TDEoNmJz4X6vSLxgbMNymJupqD+gnlJaW4DQ6JT9dyVSohInwc4ZqnTN8ic437wXF1BvMONjnFQRf3A9Q9W8wLRWtaFW/Rjs6SC2bsCi1DzndW0obAIA2Rj+VkQfhcuqiSmn1dy9yRx92x92v8tCMDUpRqtlcqm9Jms1ziGCEjLFoTFzH/BzR1TmDBAcFrAdE9XBtQBWb4eis0Qy3X8hfgkVbJIikz6ipDnXXqtzvwrx6OYPOW1b7148c/YmD+IWwz072UzpPqHi74Q00KJLq0clG3vOMHTi88S6HsddV4YG3da00ofJxA6wsetH4I6A2xhrNX14DttBI3Vga+VCyhgCOMcS5vduElPrQ+AnjP8Bu4f7s9Wj75chSDN3wLdYOnpqqyt3zHATVm7zfycgUP0yi8O5Z/1YdovjZ1SsRcNsEh+TWFDsmaYwPqlUVSqBRVZinaNVpGtb3O4R0BR4Yzgji9xba8L+54fj3wjCp+mS2eMf7LYEbwXLI5ZyrXuBuLbBPegg1gQ4wcWuTkcByvcKci/21LsIr9/Qu0+5H+Tc8RGH9CnsLYa3yLMzzj7MOv4wjKnwGDViXJ2BEgrbeCe6DRpko5mX3L3pmNqWddsSLC343Wwqa6DYo6RcM2Puk54k1rn2QPvcMmnGvs9d9ExhaJwyydfkV7O+nkq3+Ovkh0EyAMCpRU57m+cmXkS1kHepztOHyZ4rBsPMLw4VL2fnpQ4cbXENfUAQ3BYwY/wUEp6cWFTrCnjDUbwipGfSsIiMYCwN/QF3zTwm0JbJM2+mLknDFpG5dkPrwlMRxYQWW+wpJJWVFDnf2YPaEXmtrNVvPMFwid/F6jZpKwCSbX6ITH+/ikN+IJJ8LC2BePEWRQ8V1uQXRESGY0cr5nWCzUqCUVzeX1e6NnG/EKBr/bIoJKJ3Zpfq5IWNJlPm4iJjsZm70DTJ0Vqg1PbBszHwfsXffKzULYjGEYr4grwAaAnuX9fsl2e4vgUDfZTE474exkrVd2Jk1Kt3paxs7drY9HIzw0GEbGqVpYGOwANsBJ6dhyf7zgdBH9tvdobe7ajYXq+qrNBUa2ArALueyVE/qO59gcL55HYHnHr5SegwNDXxzLAKfXkMS5uH+yWBHZlnrKAVitfiaKRlAWZY5oLIkwtTT4EwCmMuk5XvHkaATHAWLzllALKOpmBWRIVwOzKS5HYR9mybFeQC8BiPz0/ASy3gLQHNGVy0diKl31kHbyfobVBST2LN+zSH9wc34K0+RaP9OHmO4QtNLDT9H80SfOSiHR9mKHviSgJ2lkEKovrv6GulzFEJYmWlyIB2BsDX3QQzlkinfRpu9LDIEfan/6I4olJjZDFfGFTBSKyqDJxOiteABwYfT6u+2AC0M3UMyQNEszdRr1rBwKau3LXIuzD1mO2QQPHJs+SOFhBzkOe2q6CBq5PAXJLhw0X/fgfV1OtWKAuvbqxdzDmHIE/XWwTNc9DnIpgvWGoksqdemt0GeTkFtc1AJBbn45k/CaCSFuLoTjCE0i8Wi/NxdRdpd96e5f3riQNcG1TTjxDgE1/XLRRrFJKKN9/nUgkDUror0Utpp+LTpjGjWiZ8CaccgofST1wpeHyIlgncZcqm5EY9QJDUdftaO3LSMDifnCsy51GBL5123baOgDPdXJbJNikX98ZtYsmqem2cYbOWD/wKZ/Wbaqo1Jwe8uzciYZ2hCl3WIpKiPESkK/xACZJs0m5GL1hJl4PVPe/oc+ipqWRWzMm7esBp5UJ68FnDdgX2CldRyyAjcoVzkmQf0XAZpkkOP7QyxaEObpCsZWWVbYA8FODwgDEOjl74BwW/uR3OS1hvkZXKnk7sp7+nsNYkT53q2aBYLRAO7rc0azj06xZ9eh5k8CDONoNSKWIj3bC1u3z0Yj/sEshZlLox6NlhUfLYYroce0RTiU6vBtKzzmzDR+Z60E6AoTQ6pvljxQ0YLr+9hdCK4JteirCz9rFZdw+EcSbLtdJEMn/8hXIc7YapnkQNq6RWyaoNIjz7/FxCXEPo4qSRkwogHhrcW2AfOJyt7RR2wcA0uZKaX+WMtNCQN/WyXISIvsjDmr++nIHWhnfOmDSsc73Ovg4/dM2RspTizgZ0W7e74yFtuf4BVpP/nGO/b/SpGMpESbDo+ZjOFsgxx6jbypZXaCSNRPuT6B5mjZEsH53U3g0GRRhqihx7oej20wf+sWFzTwZycX+4BWVYJqBkGDzlwfMxWagNCvsscBb0Sv/ijCip+eVs5WdMs+KV0WsklaHjeE2Gw44hEim8gWjL7G5WNqkfTWYhoS6gnCiGtkgh8jL9j27Sp73Wz9NGP0FUBTwqxoH/bEMSMDx5plznYjYbLOnkii/Oc2hDq0FGcR3eCpqV0tmbd6P5mGUZtmv7I1DCr1em4kfNDdA3TfQY0yAyB008IUJyCq99HsY2SJ5pvGqdzxIqr4OcD8kIlSXB1Wl/HPwAENhESPAamsC3SvUnexAtMazmNjQUxzH3thmImROLxVhBYfqwmP4FMl9D1YIdn0r8P/IL32bJT3Y1EyB8IPWr3r41Unk49VeZB5KL9SdNCjX6B5xdRwe5Bv4yNns/C8nzTrQJI0C6HSXP7FRGcH/Rcucp4izs7co+IjnfChZdnKyvNrQFERAwAucATD98b25CgjeBShtb7DKdtWRa90Wr58mEVK7TOLFH//xaMKlW5iSsuXx6jwRv299UWjDq76xZq6rKUnloGfSkgg4lCfYvLhiA7CxrWARdC9IEPVrqTmK+etwDU5yCAZRfKJjEVvaSapz3QGYNPNORFA3KMpaSzRTqOHD/c40turak6B3gqejo9EAZJo6NfGIwzLKpqXYeO0ZiuA8wnpBg0RFNrkY8hT2GH6gxr/UXrjK7hxq1I9LvSWgZVVvJEaN6KjDMQc9CykrophS2PUp53+tXOT/bhK0Xl3Z1H1JZLj9bIKuPFoU6YMvS9kV5KDKN7SzryS5CSwZs4nud4Z3uR98iWw/glZuZ6E8pCykACJCeA47tp8SHbIeqV8GqwVYqquNb3vGx1px2L+qXoOOTYi3Yqua/O11ijg07Zabi2ebpO7aIvy/SKtdUoGgRxtEGvjT4X98eitLQK8ccko0tIizavEY7peV9N5ylFNOudYd6ge3fRb99BBvl+o8ktC5y3+t6QJQxupXgB3Fj7QaNqcfQr2by438ck/8+6I3nSXKRqmPJmCq7yPTZQBoUTQ2GNeAYB0Xi/yeunw62Zp0+bjjnpyfJ+fWihqyqlfXqzEhegh1eyyOFt5m3NebpV1wM611fUk5hNFmo7c8cmqphwLFB3AIm/w+WePdztSXlpBG3HtI29vnYcnh6LYObwa7L3tlhgbOqYWIOHSCX7ffb4UbqEr9jI47O2zccbyJ/fHRYHIKhDLr1+16hYswLTJpfD4LqkBmmE/TZs2TXztBw3094Hqy0H02+h0M+kdleJBzLeoiFi3dqXPgUOyw83pz2zJFPG+CI+1beA8ZvHdbtPi4NXNfyvMcqRBpb/EOj39zrzwAvlFu1g530Eorz7XhennUQcs+WnJBbArhnsKaPWe0EiWrmnH4s0RTbFZy6f6QkiQNk4qAkvyMTp7BwJuEvY5sYsENUu9yBKxQWyQ380E1U1o4Z63lTKp3OmHIQVFoCog9S7iAgfqHxhJw5mMXIGdcJ/3ZFbztm4wOQUiJpCCU5Kr9qq1jXJI3LWD2QcqYDeNHrRxrKFZ3jNycMmyh7cA4XQaQ3OwFIfC0teOstwdLN9mR75q8eVPXmBSg0d51MOnDG8bzBTMaB6gJG9HZNR4yeGiM4pgKFPMl+VryclxJkkAH1uH/BMkAlWBfxB9MFZGXQRmqNku3qdRG01JPVAy8zizzLjf0XEYAl2WDp7iy4l45o1Munt7vtfVJx1n8dEE9880g5dWb7WP+NIUw5YjAZWVgCqu9qCidpAk98TBLv4+xSdUYX2ZvcP+8JQOMeErO415lhd/FFmPQvMrqK0wZhj6H6xrd8D/QtPFatSsrm7hUPPMIXxR8zYzy1FY4Pr4ot96UpDhYLg/BbUmn5r8dLhqHVC5bx582Bse8IFx0V3wbP5HR0zO84GCpBU8BBtZw47TB0ZKd30l1UecG45Ig3FjW17sal1rkJQ1Aj6xnMf6CJEaW72+886l/zXMqUoCWO5/viEL89kzkZKiATMkCmAzNB+fgZ+AzNRyp199/RxkGMj5s8KuptKRB/SRcE5AMff3o5wnse0oplBKbudVoIUyv9xAx4yR7swrYDFK5jdbAJKHUWZdFZJAarD6gOI1Z5G7098SciA/tHZQZ80MLf0zoaLn9+QwVZPtO+Ju8i3mi729tR+CMrWPGQQMrTpKBRc48YE5dsL3aAQFlL0ysio3AQzniOAE0BEHzWQ0UmB3MN62LosH6iqiAD0BAfPYBcWWRB/PvCbzktIYoVpP7nhYxclzInwY09lsnAw9R4/3XvfhTX/gTp73uqGuxU3y9+0sEK2T0D/ni5ZmiwOeJSwrzoPXMi5IPK+APaW4kx78pDDLkY1kONT9Xf21LoXR/5dpASKHs9QVSuHR+7SUdusD01LlufWZeAvgK6lacHdx+N/CZiFohds8LExQC2LFxswP3Ao2zs7wYXzyGVUzQwNJJ9pB6CDxUA0i9tvwF3hAkF4KrP+4HIWxRXKFWJeJ2LXRZ6+NqzFanJwAdFSW+9UcGRLmYh8KGclC//DBOM/GdtMvVgDWuvb2+bFkLAiaoRLyT9J4x1GxwOhRW73oifxE3Jgq6zC4AqChadnaFkLG6ERPCguUuM8dDPb2VvKT+8a/OkstFpN2oB0Syfv2X9QE+8ay5Zgsl8xmQ/OUvGv77+x1ZX+4b6qFrIzEvV3pTRajSdsiyt7Bv76G6gxiMpmrzBrx09vrcIyOi5m+PGxpO4T6G2VGWjYDg2qAk5ClZuwunpGZXyFxlWqzLZzq0QlexZV/Vyd6I1ibmUslBnSxvFBh9scPanvr4mHThubgc62RMx0dJ3Yytz7RZFVL0kzQk/v2iCtugl/nFJBrSgBUdjBrAtfsKVDNIPWZ4HUE2waqu7t3s2Y5kLXgQWTK17xCRt/4BeEAizU8xeVII3gZeOoBT3PovPWNMyKMf2ee+6V3ZfE313Rf3ltE/R16qGFVQ9KBTPpjSNcqux+zpSQJ6tcq5FPlu9Q1B3Pjr0Xe1JhSh/MtlRYUw4Q/0qJMWgjwmQbjk/C25vGPIBjyhf2PsKV9AYyWRdebBTn8wdST4J83APOAExSQlrDwBRr7liaa69r6zYzRYc5Y8CBVnX8SG1aVGB30s00ySTM7juJCivXJdiwY2tpPAIACYFChb/fE1ilcrtrKrBVn9RH+qooAQ21yGof/ixWad1qCDwAGeXSzi5pAcqn0T/J09jnA/RUMHsz/QQTMhz/zInxWnKEo6yFzbfG62MDttVqTI4SGJ3oJWm1wIjoRBfSZAd4raXrmrAFo+BDtlYqwcGDThd5xkxFnS01chB6pdtlJC0sjVquLPvtPoUMqzADEV1cz+s+azJbUpikfa2q+s5B26D8XdEZ/hHleL31R2l2XzHX2HqAH9KvQ2sdwTSLaLwFIx/FCPM5wHvf0fVH7BAlMoaok4yqxL+Phx9MIwWo044yNJUzN391qNrmksqTTKFoPejvaNpUZlBsRMMKFp6miwVEW4zdrDqtyYRlqztSqfAoU9CfG4P3asLRh0zhdar9IUUdc3nwJncDqWVnsWyQe0wqBqkrLur7Po02wtTxC3MlaeSc3HdULEk1waMi0r/1svsS1be86zoGdwlMfMieFGK9BuIj/bswKuCCKCx0OZal30OAWpW5a7RP9R9sX4jkw3omL0AE2qCzRZjPRV492Kaa3vevcngSYD6BJTT0xqLdL/lLuQ/01LCIYeT/eoGc2d+qPyOvgzJKBSTXXR5n0XlGsu/BTpAsaqfCgbi39nbAVsb2n7lEy3Y87PsatZQkMLy+YyEdZKP4MHDg0k8cpadzG2Z6nrfQEaa2vKpwOJORU5PcOLUzQiEFk2v9kX25ruUFt7oQO1txf7ev5y/zJnahmVkP8LQzz3RIc6gzgmy4yXOfuM3Zy/ji/Qe9eB0OmYSebSQTrc42FXfB9C6VhFfF48E4qfsxy25X8Zx3+WV3E+o4W81uKL8wapqVALPOicbGQIcLI2EB19jjPLjzDL6DssVpadMbWY8qU4lljn7XYTLJrp3gAxfYqaSm4j8Xrfegahg6F/IZsvbBYKhHQJnbku08zH/fg6L/TtVQ/+aI2IjCh4MMbt1LKi6JnxK/YTGppOSw0W8z9wHq54hTzSyHiF5ve+DkUHl2yXol5vlX9DmNwvdgUDi5gxZWpwJOCtx2+WB42NbE86S2kjdI4wS/hAUFFEUY/5ieTeALiDfZYAIcpd9J91Zo3qq/QNCTH3d6Nh61FleAm+uWgN1pHlCrs9VkDBmlS1fSN1YWOXY0maItdIkA7LflGbup9h9ZnijkUzAyLSoZuUcyTHeiMfZjjZBvkgQF/AxvCsGGX9FTC06+wSNMXTJ/xVJgf89rjcf8DhHqCdGNp81ELY5mTNC9DtpmAHPhL6BAN1ViQ6wX1E9PfDsT/8urF3kD+ZmERoG7EHVWzw5XmvWI3QjaRki/VsYxWtoFXIRo8Q3b8mN751dgCGv9CmeAdK9GmhYDEK8Yeu1FouXIV0bDgF14ja0weWj/joZrnG9s5smKsO2kNZbB6LO8XcH6VmnDGwMyhfbsN53trqo04qHUMk+pfSiwgDWiXwqH+B4aQflMq99QvH6TVMGqpVJ9HO3hWpoik88gW7vdKDNP7y1b3h2klj7cNPZASW72K4YV+lLtA/PVzJMq2XsAitjSDlXB/EsArd5mlcZhPYq1aOIo+2ziaH5USu8UgZym4ZFyraNR6RwYcHeVWdEdSfZjjY8/o5IkbSN+yfujFSKUd0SL5I1kVl8NvBdmXxqD3SRVBPKJ8w3SvrK0726+rcvfPSMCEIEiujR7wKL0c/+7K2zi/7Q5aP/ZC+KR1WzLuCfjB4Vvtaln4XwbIyWHfuBdx/W1h44RtoKAuLL+ci4yXYa+et8X7BLBW7cal/oGj6JZopjAUwZhTNKO8Htyminn1o3wUnrVL0VG5hYTeQcE10lTDDndC/9NhnOsVzPe1M7dcF8SHn9HqPHbaGmb3HAuY8zoR90MoNlzwdDZf7vR4GOzhZPdDDmx8poSPcX1KmeQLGtSbwlRKPAN3UHejUoH6f7XaZAkj3pG73e3mT0ISRogXS2cbRGFRRKnLBjS5/mS0YbsP20L+sRgX5gfpJgee5XEU8rMeyPIUiJGtf90U3yPfnpOVVBEqbIjTgPGzLEFCJ9u/z1PCFc9b2DsSyfYo5vjcHFik5AArXTRvblItrS4fhBEzdcAp7RkLDYvLz8qZqISxQF/2HTipixc3g4jD+pkKlVOug1XHqDUTnDKhzB52LpqQLchpU0Dj/GMBb8t0uZSBArhyd/2kXYvBD6GbABrSpvfChePRuCaLb3zI3rUxLaJ2SXH7o5L6yEtx5skPGHWooQBsnqhoVPGa4g4EaWzvsSss4n/pyGKYgg9A/IJFhPCwVsqiMohmgjTccMzgq9D0eetMfEH7CTCO/5WIqsgyzRoMU6mvG88b95vAP3n4uWuIRCWK7YNXbs3IVetg9wY+YCU2y6eQDezUFOifvY+PgEhn21VU7XBDlmXAXEfgituc4QVIJ38Rsd9d9/BHuc2k1oFWmU2VBcdNOSsFNqi6JcwWYYtV7vREKjvrbKe7nFttGcg/lraeFpHAwdP7FdX51gQJgcUnQo38lOL1vDxTND/MqwcudeU0Y7qxT6GZaCX9DGa3D2y1AFJJe2XWtozcpqaBcUNbENAIgxfv5jZk2wGSB15W6IMwlA01yRL6K/G9WsQsstSVkSiavOmZL52HOBcekr0ae4xDmAiV8uY1yq4EXjdam9fdW6Ug0RDIcNhf4WSnCdmKdj2b5c8b+0hAQGZUK1CHHQOQhBkX0nt4sX2cvxF8QTcW/pgSJBFmGvFcQXGdXBJ0dbHVT9qVundQMszNcuSAzU2q16xz1T0VE1d+nuHf0WMh1vv2jGzgPgE4bDTVcPigxxs8BJjgtv+2dfI1bil5wOlMjkHxBmk7K48qUtRWHCkGU4M6yWuJnUorSfOlP79WDfhbd3ZCa2LkeGdeTX2zIQP5YIJW+BhUoxXnzGinz/T9tHWdeICZf5CkZb/KgZKqlbzUXNZD0fgZOTMKD4ibyVqn6RRJ6yVOfJsTlpgsjRnd1Cx/5pcdpzH0NsrKhwc7MGDyoR/6hI//OwBhLcg2/LF8Hg164BWmQy9A96Bwv9FdzXfhCqiKss0z7c6rjwj7JYmlGfhD2gkRYoJI/PnHFau/lvV9QA0ci+G+wgX3avzzcssQzRDhDVFR2knrwNQIHy0E2NxrZkDaOkGJjD7yk+l/RBmw8I7m4juHD7XX8Ww7P46gnprd8OOZyAH9ckdrKt1Vk069CNL7iJcLRSwGN/o/M5GC7YrXAKnX0GVw/u40GG6E22KtjWgYnrlK4xq/GaqmQ7iaC18kif0+ctmYse6COiKWDB8h0ehZc6XmCbSdtIQh6mOh9buapdyRMQGYK1kwILuKQpf+2mBERHdZ4QucCxZyf8S7tYIgsku15b5Gkq0fxKzOo9GDo7lcUgg+qYevvHfufWSR751lA8Y3TG0a8UTmNWsag7VgtY5FZnuxbxA8n5ufciVTMvDyN8c90qHVfbf8/DGFUL3rg9S72/4SKrzIUycqz2n/4fqVwaIEpABN8fON+8wlatwYOjoF94FSv2Axlpwh/U36O5OaM+F8OGPQq40cZN1DFnz2IHjdOiEjKOOxLLDq19pr7JVKuFyFC/PxOxb2VBV5JM48YC+HrLmAeLS5Ez7ovTREBWfGn1aPKfJ06xo8gN97/cQxyLQX5VMD2aZ5Zc2n13uSn+5XTwAvkHSCwMW3pbNF/8auwa2Z6x0pqcZxqXueIOXTHI9loL8pTcWrA/X9H7OgEvxdHtXPwC3D5L011DMGZbsrDshy7b8kHKIGrG0jSm2JZbKrsQPMpVtY8E9kpA/0CL2wtym/0GjXjLbmu2qDQ8HGa9fuN+po+SiMraKSjKZHsfO49uhbL02pPWntKoEgnWuePBOaBMuHdXcahoAN59vDN5sl8L/cHfu0lsiX27jNAXGddSdtgu2rhIiYfIfGBzKroQ+FLSK2xRIt3Vuzt8CmwpWB8Aeo5ZEkaJrcJafLQSV4oJZGOA3P6UGY4QJ3Jrynl1yP1n0DdZeH0oex7+PW78+DoNkngeEdHr59JdqzwrP96XFSvCwrmP2MBbyn/VEYktyOyTAfABkts4LLlPRIeHnM5nc7b40hf0qezOcDcGsuXVwrfgfz/bZ6u/Xwe0UUx3yRNgSSyZL4QK19zB4DiYaT4MTfBdRc7curbHtTcSw+IXDsTrCyuQLsa8fQNIldh+IBb8G9WrOjYDGdqJzFYOcxriKMh53q+vTzobsr9yHLawd5FI77jOk01wFHzedz4vwpCm3x5WxYnDGJM4LObcbPiDXFNdCUW+UUfNTGXz3WILqNY1JRQbcbUNf0rhsGakJycpCNFOB+lHvbKYRndgVuVKplIfCq7t2FVHiVoEPxym2LQXCi1jNb/rAjIgVEmAVS/Bnj4EwCSpbrZf2KHNkiZEryYwrUmE5h+fRCN/oPiFMqjSKyS6dHOJxLur0TYfQm1DWM5WqsXkUlytuLhcecWo7TIoOwjD14Uab9WWM4+Zvbyw6Oj5hlc5eo4CosyUZ0K6qCTiUko4/NI5iDQP0VJjcXyav/9BJZpK36hFdPyUX1ZzG3hZ/j0dy+enbGIKAxoa/cma2p4ubM5+6gMY6aWrShJ5jOUi+oRhM3lYvWZvAyQrfJ3EqQlg9f6PfqMfODGtDY0ShIB2tF3LSVX/Aq40sXWG6BaqQoXGjTAGTIuzGH2v4D36DC5MFRg7mxhZxJIzG8m3S4eoDzFH1OjgRA8tmUAQZ4JVW9SWLYLqBDPUK8d3RtbYPpaUe0jvzWd8JBvgnGC+ztodvjY/VW0c6EcP/WPDrElSXnXDRUWQHLImMSvkku+jGydA14C/BJChvQneHboXMCQ9wZpiE1+WBhE7eeJxqRn8EFSprJoZrjLN4W8I0pMaLSXIA18eJe2pn2OssGA0/167iP3VjCt6NO2GK8e5XQACcN1WQgvvedaUhmpFiWNHZHMR9ZkBNKnLCtlRmcNG4zovbEoVquBPck4mm7jtPT1Sq/D7fSYwfHGM1dySPrgIASobxPjlhz7KYoNuV3tyGrmdIaFeskdDqybNZ7/W3i7Jle4jl0T0uZnC0H7wPLwB7eoiUptn9BlZzLsGF5y4kN1HjmmYvVN0zMMYreeDgVTltbmpR61a3ouHah8+EYsxKz/PvrfGyk6ATIEhAFvX16oj9ryIfcBznpZBL7hmShmZ9VeMP6Btqa8yYwS35I6SDQyQ5eWI1nzWKf6ldWPHlPGGme4z3s6NYQ2AZ97G70ZSWTNUWFjeplFa1/BX7t16e841h2+SKFyiDAK1akCh5qzB5Fm6/LDbwJTy/h9bk+7LcJhyq115MdUEUDUsXlRcWPsqtcOxj7FNFFAw0WJepdvaVc1NgJ2QPwcJTGaJZdfk84SI3mzWHfwND8kHSEt5SaLnEqgdBFCJrGiTo8r2Ng2ffXJZH2pDxO0Co6JYDOnUyJSLl5nafBfECspqg+JwtcloQLeTmMYpUx25jzgCQxI9NX4nUMWnF8o0HLLLAzWiC51Ql4vInZg7zlr4epd6T6dLNdxvg1Y2hcDuOdVEd5Dx7ln/M5f31/CzLRVFJMz9CGdIx0GhIP8WoVI7gq047C2AvR3T+/lC7RSjx/nZFxI1X1OyYB+U1b9DHYNc3PlFz1/Pq2LJ95tdgKGxmBL6F8oZagPZ259+Wb1XV7fEaTMN4OVI7IZXYGcmTD+G28yjVExGyshhAKVDflnX+0i2M08ULaGk2IpyJVLZy8BaPka2SazvPtFOszpRWyyIYbl/ot0cSgRYXL1v6UU5VqEoWqpk1NNV012rPN0gnDUWzur08P7gKUXq4NM+ChT9XbMGnRqK5O/AKcnAmPgLIQxf0hBE0PTHvrktxa35E0XrlxJJ5l+c4kPO5VovV1Q6qMcIPfOB5bXjw06OrYvlSdRr9jc35MW/zzcevH92qkuZQ5iBYjkqM+x1axmwrt8Vsz+h1vFzjA68dx0RwdLfPLjDBq2WgXRF0/wb0KCeKrxDptE2rmvhn7S+xr3h2mRn7mBijopvyis6BhdBrNTla/MoVvsnE7t4F23j49ZnTGKiY/kmzo6OAsIg+fKsGo2+LvCd4SafbmAerrsiyHfhGd90eMgnVTbcMYHqPL9AEHmrqaR2paD6FTu0s9xmapUUOs1s32ns9wkxGHsGhmKkYlaELyiQr3fCtri8oSRzOWTh29Az2ojRybUclYdtheZj+Z/YFcyyjzUWO9aQsElJyGafzaCdvuXDgNhNWASjPHJKj3eSgWrXV8shYf0V6XBBJkVaLR2FKDd7NI4/lFWOSLxoSU80Uprp8iEGJIkZFEorEU/QD5M2kyu4S1Z5WT6OU4QcDsmR2IaBhNxxTW2701I8YHxJRcRDOk8zZBrPWGzS1TQ9e678U1lQabGvgv+gSLCecNgseUVnZw8rl/8D1HoKxK8IZyZjBUYK9c9UAiUNnWZiXKjM0MHSo4LflfDlJO/EkF2hz2AbLWidvwpn/t35X92R/YcbtvkWHCvOlgS1t5iYG8cAS56OG6LhQIVpgHYIJUwfsstFyJnHMnFdVrDPH5a99LAaPUKrVXkvjvC4ELz1fZTEvVcOL0mkP88YK9SzqOteJyVGgIDd41GQ9NBcME6eZtPe4VqFV3rFnG9ou7txUQ+utp11r83GcQS+TERM8nV3rM7L1Ig8FGi02j/RVzgj39gVzsrbVf3iVS3X+9RkbCn4sIs1vNAqsYAewTFr0h+6CkHXgBxzGVkdWuLO+RRf+cm/zy/2skdglHBWWErUZAqycSj75n8qQtBAKOPTIAqWgZwE30W5z8ziPMzaw3lleUSf0c/b176/ZOHw6A3SvW7K9Ehdat2y6I1dmbysy6PgmJSZli9bDmK0Uzk/vAyw7GL7PoEaOYKPEshFEbKTLGzwPVW+anUngmyQGAR6MMoMGi4NcaYLm7IwNyAB3INi6i3KagSmOKi64WCZD7TzS7s1qu5RoIEbrIscHs96Ubcj5rr9asG/4PfUzmdKjClVKGLkVLPrwm9YOytkUcdqaMje+57xq9MxGkxuBHCwBBE2BJA0RAfao6Jh8Q/C2bb96AC//9RV8ilc5YfiFw734/Gpq2ktNxt8xAJrmOgWzmyGt4eyt+I9gt8X6mhJszFGlAUsysFBCIhenhvSQNMEmPQHbKIEwHv5pVMwfPA5rMr/z3sLGyxcZ0jUzF9klIULvsdphapqOsYoit6cmc6Xx6ZGwn2+Vq3RAdvvvsksG4dLMQRkEUXN0db6HoVVLq1dqcXCsSWaWbz0ihYLpP8S/KgVWVaylSMk+ukzUxqrjH4Q21VBV2EIBa3cFb9TjKpuj097TfIRauvZqB3iYodhJBEaGQURaczhDXdGPjpzAR4NT+WU8cgwPYRM67TWgxwAaXTFR2DQ7L8OWUByhwHXVUr7DPxwAUL14tAX/bDDU7R3VFW4NNfMvwi0Lhu9evR0agAcZfPlnoApthpAchmHI0BvGNhAJSoZESCC4n/8Rg1WTFHmVAHqXy0EtznuI0RDC0Kc65fIX/rDIvR5giltjlUarI2Tk1DuPXxmOYLxO2zPqtt9R+nlbBBSuu8SZyEjPmZvAPRCmdB7sS9iAIdH5Ct9fYjZRWMkp0yes9pp0/weZiId/PXCRhJOOPRhRu5CmtwBqg4uyXxTw2fEcpOSHlscx+xGJs+Atymbs09jtmhX2KBeouic641qyXZ85fEn+QT5ppZuasqrLsWbXUJ84IlmNnpHD+idnSELp+U+s6an85pvzd1H7BKYn7dVBzBnE1plB5nqNj9ZGfeENEsxeyvrMoCLNycdwW9vXU89qwjJR69zloh4njoeBhNb6cNxt4xHd4K8Z14KI4N5xrX9XwUIEXycQ+YRkJrOC0lwrf93RC9qIss64tYwAmo+aRs07ok+kYAnLLpK+JoMzr/Td6IudJaWXo5OOdO70UgJ9IrRZ+FjvpBkHFpzTRrpZv8vG6DypFxe7zqbI86dgDYptx66v3jSw3PhMdSVFhikD4v9BlBO4L0AuPNWyHHD3U8tzuw8ilQQ8QMNu7PcCNBeW4t7Ko+mpI6EORm3l1Gc7JjNgGdtdm/4+LpQpPOYbyp0Gx3cFvDzfoZP4A0rH9xTX52wOrV8O4g3tZP4rwtX8jw7IT1T/Vbwjv/L7OVd27+GkGNFXCcR3cPAf272trLk6Ihmtx4Q9OhMq/oqrLJFf30FHAPi1kxyvrv3PPMDKhV43jXu6q8TTmHwf+zyzGaFKFQQ84qfuyWb1m/jN9ejDFW7KYnzV7xZnpMWi/XybH6o6BdX+njzsdNYo34E1KBYFWZSGTHcUefin7TY+OFMCQno9sZRIE43ozHg5JVJV5dT0uEAgEIBdsu6zXhEYEN5iqsIyDNtBARGSo85ireAkeE/pwydo7o2E2jelmhZkcKqqox96tEBLAggDEzJAgVAw8IGWq21VGl19MDEmT+LcDrqA4TNa6sMevSU9C8GT1VUezBlPEFNRR4R/jzju9Cmnz5eT5dI5Z7DbUvfOt6W8ohIGtF6a3c33pEfg2USNFNe3jA3qoKkh2QtIoXFjb8r9Ky8UVogUJSMAxnTwPC7Lz2zMW0Dq4VbJZEmM2ALZAZ/PqDzhOohKF4emmoUDmdekMW0RrqRJkKhqAM3WbLPVgrswunHbBQch7ZV8j5naNWJnSfE2GLyhTX+OouFc8wCzsc4CrvJCeJ1D7tqML13DyF+wHAnxm0qv3x4zTqCLMhGFoXO6I4DVi29S7sjK/BI1CYbvhKGKlb5TSzDnq6itKgtO5lEg1ZEvNDq+GBKJGDxu8lCP4XTrVfHZA8XssOfb9MiX3zM3uKaobaaEpwk1MX6F4FbsHyS45uoYL/cpXFmS4K90HHJbaVBzNTHeAp0gOj8EpPx/BigAD0WDz5qyviZVgJucUOQQ88DuOeFYz4xOUNk7ddvKF3KPkxybhWiS9fGYzD1ssTa7kM+BLtZPmx2X9RJhKBtUikogtGRQDc+xqv4E9XSG9ugtylGnXDxbp6vm9618iTRarPoaxhmxgJDM31doeGjmGd2kMF8B2l+8x2pV4OBmcHgzLKN9f1NuYKpcEwepqz0CKVmpnAk8eCsdnbrnppHLbo51Bfkd9oCJTSojh/i8R2uGWzRyryREzh80gVWbwnLfSV2LNZ96nDpQRUcX2XcPF4YiX1zpuOYDtA5hKQvYADkyzHGHve/7C5ZZYqI89mUpQBRJvBsnTq8X7kOiEzT/kOJsKdedAFqgB7QeKTNMSoq8tFskE2FTKr+whj+C1bb8/cdo4RlB8FsR8Tm9PpWDCLA5LaBgJ/05rxNb+QrvnwON4zzVCOWjLRf9kzTI7maU5TbJLhDQO367wV0kYRs1hihy+UVQu3rkuwaEdRDMMXfBIdmSjBkexJcnuV0wHCjwXoyXOhgOCGVzLD57/Aedxp1gm2lkjz6rMHqMR2B/Nq/xGqfBxKU+aJHPfSm7+PiOoOIpoALHlIxbm3aI9xMF24hxRFjDn0jgLYtT5yxwfvCFM/EXIb/OoQnG+3Wwwoc8BQfVjh4zohuta5NZtayewPX0QtsYPNMk4B8og/3olBHQvstxlo+G9Zd+VSanjXWfI55XybFX/E+yOAFJj5zFG2eng5aFho5IHfPH+cwtE0oEwx71PPJuO5xECGCt/jnlgm8I6WccXgslcysZ+re2eumicM5HUb8+lS5Txbl6CynEF9XzpZMlufm0tAwbpXSizWyfD6oK82xJZjj2q4GY41DehEWhREulGZySkyRRx7xYJZ1PcdJSiNDS7mJP3U5U4H3RPKgfCg7Ww+l+N/GZQ9x0Ha3v4joEloD7lVRC/jqyZmgJsuohWRbXfeMciC4DfEAeMQwOh+CsK/CQOke2ARjppoNjCME4q6f1Lbdk8R/25JGj512GDTfruxonaZR4dc6Gd7F4hOMxjelJ8E6OgmIcc2Pmjt/hpVO3nDf8TRHNHIDRD15oKoLjhjcegTzzWCykUbadWHVpAXiG5YFCjrwjM67jPMxb6bf3ZG47N9xp/7j//ggf7GlpwgQQ1NYclu5sDWr8PeubZjWmesmdI7SQ4Uc6T8NLO63G3sXAIbhvI3EaV3xdA6MO7wzxEGxE7kBgKWmTWCph17S2GbvQ9zXIHEr1S+SIwGCJzRI/q3NbvHQX6fpEFNydwJkUekKcLGpZkIKrBrWAKN3U7B6l2+stMVWZkMlhgdmHeRl/JhHU0WB5cSAPtMeRmc3Zn2HUL9B4JGw3SmN0gSXon4dBsE6Ca78NxtFsdriVLcV+BpUgzPOnMXtHusPc76pVY6942So8ya9kzmysXzf1FiqsQPLWeK5mQ9Q4r+5hi0/X2WvxV9PsP4f7sLSOVXSI96DD1qtWlYuDpA0doL7sUj29kJ4fi230i7V/hrP4d/soeSLIDDGI6DXkG1o6VcHWlQRTJYhN3jcQ+ESb5uplCEcc7NHNj4Z4sz22rtgpdTrqjPVmvbSU/rUjDL0zwqnWDuZ6GzmHjGP2VUccC28qDha29dnWh1EuF+3x92JpmQWDWCqAIYXRdJpnAKxW1pQujgPWQnf1VzGbnlY+Tj3XTho5BQI56bJAgDVtLxXxHDogvMAeFeDcHxZTRPMAvKo0FQr1ZYSV0LTJHg7SceaW4W9tuhXPX/YqcK92q0sO48gJEIM7uhlS+HUUOsWztRpAyHZ9J0xUHPxKw5zjtVidLmIllzjeW08bywE1pGPqyvh/ytKdwvb0dRwf7sUohj9FUdQkjlUW31WbY9hQ1Xug7fpK5a6izuE7UDhdpcaKY4KU/jEbft9j0cSQ1CgiDphCP3ls4efSXwXo2xHr6j1xN7pWwy4BzSkYD4jqAmOoSN7Zt7VXlmAjwhPVcV0bHu156txub/OIokrvmDJ9mhbilbSSfS3/nV8Vz7AGuJ6pEMgaFnV7VBluO37q9L0Ermhl0uvyDkXrhQeOPuVKHAeXs3zveTvNJNLScq5QinBidY3kjsUrNZpoUX1e3UMbHoYLiTkoXHKMtu8dGIkBBhd2asNaNAgO8OpAjxKUHdKlSXuNwsqpm9NyJd1snzaVq9j+xqrMnPage5V2Uqxi56JgUijDcvmKyHrQrVcaC5kY+KUXahO8UXPO+wm3WBdNAIxf6GpbSnxlhPlCUJ2QQWH0TwoVYnTuUbXlfw4BuLIDuQjDIIT8fxRxJHi9MEqOTDcCXwqkNB0nj0bh/xHcLvpBUdQeOnWuMa+jdTAMjNPDuQKiwXryns+Rawk3VQhIDKLGevUIj1pUuMF/oF5nkqD32I7V8h2tzq78xN/vrdJ90h8NAEQa55yDCE2XuM/x3czDt2VtQeu0S32D/sV2WXcKHAeSTNVKhiQPTUK+FWb3X+5rMHSQR1oO8wo/VuMM+OnthKWT/KXa/NcEbqLnQDIhBNG96xl3yfssH16G91RR+MHgRq8znipR3qyRsg2mK5GebylY8WEd3pUUgAAWkWEaFUQ1+0u59ju/bkaJC6atYpeu7BnVpBcDMHpwloG120IbVUryD3kW4OTiM9RkDcPtfK6YJOGBSuXJ4HlZjuFbUizxENIOtuF7wfm6MXyA1ZWhe1qxgiFww9aJvS8ML/gVZs58p9ru9mdQ28+WxBFpItUUKK+ZzrCIcjdwzDJU6ojF+8jXDh7TMoTh8ZTGP0wXRyKuL8v/KZGW8lA1Z6A2T0OES0FvRs54j/erwiMC+SAfhp3GAG+mxmMR3M9ITOThQaxKfjrjrDWKmi6IfgkofKgCIfFHrmZUm8H04dNp6cfpnAIJzyFr80LFKOry7a16DvZnXpnCzdwLujc5jShtDtNZpfdfR9/8YFn41R1EVSXSQKiFACEA5wwfnHC1PAc3USgjoUhJdLdz/pOJZUsUTija2YIDzU1nvnBoJzHVPHIU2QUcdQ0d/4rKJamHvJLcIxPsZHIB8AdJeuma0/nCvy8TjZ0Y8t5rQCGJ6PTRLxGliJDF1MEipi36qP4UIgEkKJyTtEGNGkKBZINQEYhvulXuryk9QTs1Ix/vSy3fPITTzZQSLMMF3GM2cnWfNkIak7z9i903Xej6DUQGkvHJ/job7FT4kjUUM8BJSdlX7SevgQ/gM5LhOoraRVxOOS++rzwJgI/OuoAX3MdKMcJfjrkBvQ95bzuIcaju59kYKVDkqfG9gAWKfHqKFX+0FxhHfNLk7LpIIiyR2eN2eJZQCLjzqpG1M4eyos8mJHUM7Q35o4J2O8e1MhowhFcEc0ijClA+VqdY6S7BOAleqjhrU/Y1CmrTznBm1ECTIiFSzAeh7/0cSt93afECfzOiBZ3iJCcnMQuPjOmNHaccZ7HzFAvQgJ1EC2RrPn9R41Ah6GTSz9iqxK60r+exGxYoEsjyN43ExdPzxBleeunaCFZWBZmRgwp9rYGNyfdkC5ZNKeWpZYxAXRuZaU5Jvb/vv8VFfIik8+tqmBsGNooncI3K2Tr/NVAg8C79gH2zpJ1LDYmV5SBvVJVwERuHl5C8Cq52E0wxSyRKc6D84OdMCtscGkSx8jPEsuz5EEZ4IbTAeD+kAHoBNmIvZo9UH1wNvhGfOPiepcwLh38lzxWWYO4Z3qnHDt2Lhppn0LPLtNIBAKSEcv2Ya6Jd++aUSsNSrq7hQcuSOQf8LmM8ZsaRVzkoY2hUBE5a4yu8oS5NskexXacwmOtG/u8Nv8RSELnx7CEDLOCOdbh1/Q1+cm9loCUz1/bZfQcE0Nr0M4SZ4FLwcQCNudHFVEO2HGA+tyGSlqru74n2NxLHHbW/z0JR2oN62JVON0ZRGGqtZV1LdMhZ0npjWsRh21f0I+JaNwg2mLpqt9UcdiIu27URilbs2snejcq68fdjYvgAdCq2QGZ6gAAjUQEPNOTelXiMvX3XfNvj6cqb0GQ3+7seNvBMrWv+uy8+IZBb1qS63Aqo5ztcZlyi4B2DY0pjngOzr53rZxf47EKgPnmmHiLNDfprP6tYLEd/3snLXoegIf5PvWVMnjFPheomwF0CMXTEhs3e9jVFcF/jLHt43AgrGF30MiZkSsQv1aAURCrl8Tof1Ey+OGEORcCsi8DkywkoxcMFPBCBuEiNNr2W3NnV2z2TECZ5rqGIZ7b/Bnfcz42rWjFwCfF8CUWbnhJtWDtNspYlAAXB+FY9pSbsc6Oeh2XtYaWqP8MeavJ5l0TMuW9KTCLw/NPSR6F1e5aWzO5m98s7wCz3V77ebZtZPKvpTm4FQlYJiOC+GibtVaUR4GrRej1/DBfMYWfJjFX+xx4CBZ+qhwR2MGGwbddz40i3tSWsK6yKBkMcQUJLqAvr1tFr4NrnE0fklNFbbsk9/jDNoTJ8U/pjba8YWh1cxt0gz10FCIfhtmtSxZzv2oqBCjDb+PVRSm2yikqJkt76gY0qikkCprZ46mINzjtNUaXBw0MsFodL7aTf8KGTWpmvPxSx4gg8T6yrGbDASapqrMZcqOjCRHv3Uo4PLdr8PFC33FkHqNa4whPNI2BHrTVNZk7Gc7nWWJIJiSymn8Nfv9xgC5JrOjCUdlHktt0DagIOZiOcVvMG9Ikqcaq5tTI4Nwf2uB737jEtXPK9VegLo/e2j7gYKKBkfdgfIAkIMbn1o69KYtR2+MZB3cdBw52KuMTPAGCTeDcbB9roXWy26ZlxrDu4/rWXSE01xFiXwCtQtYXGJluqXY1fTKnzzWQmXi2RIRKtsHA64bJFjDAlimEU+F22tZ4dl516BPzcd/cMVk8vJyGTvAPdsXyNEg/KIPlPE3rW97XrQ6RfjL919v4W2FrkJ79weDkQFGW1ZSBlXfeevEcwKC+z0BB7pte4Zmx6fX9zS3Gila9UEc6SPJIlkN23887ZeU1Ifx5C8tMvsBl57TWtUcwKLCCJbbOJGtLeipCR2/JcRv/FK+1q9U4qI6eaPwXwQzGEcTHl0TNsZ2yAMPMLIfRPpKmbIFMEQoqf0tJVd5oAPufsz31KzRciIsD1cNdiJOIoeAu4MDBT9ThXJWweMA1oW6tE5TuueSGReUD2GwNXfZo7O/9++kyT1lPkAwF+ILoLKyrjWvZI2seoU4EQDh1yvhF+HJ6cI04UQ1ARpaLd7WhtikKZRE5eVqhn+U3kO8DTxjH3+ewUkMkbIjB4yJMf7tBbZypEQDF40WMIYoyvU+hKm05cRe9zsXZP647GcKl8fURE4Ts2yOl88rB6CyDb5Rzjp+daAG4KL8KDuhnqlkDnsGxLA+6GeBRf2fTr23x/SWwWJew3GpEUMIXB8MlOMdp+Ovc2kHfV72Dn03etuyHGGMxsrYVy3pI131TTpDQosHgNGc9yHs2xhKZd0YJZgtMZfoSO0VoNDM5c3zK58reAyjw7zTxVrVXjZhVj5DrsSrOOdFKEqP4tNsOjKGBSKiObpEeI2oSZr1NzLuClL4GwL/TSubZ7c6oAXHXgwx/501rR3zY6CvwCdCKKGkDd8EqYmx7uiyIx4/Bbmw96/bEuM3QO/kgYjeBevNabaN1v8I2AZhYoTisZYwvHmnt8eMxIz1FW1S8/HSr5lM1/sCFh7yGOs/Km7cci+Lljo1n1/lb5+emtxKO+Yv9CVOUkXuFVgww+yAXPe8I/HYOJynMaqTdO3YPBpzrKHFMkki0w4Bi1twxWL9W5F+Fyf57YigKica1nL2tEss9EETzJoGIRMYh3i/QbpIgUnXQ5NRWWTc53BFc3B90VneGG/vk66MKIzHFRwTInV3cMF+15bfstE3HFJ2ad10oEQBDyfwkoUbcigXBU77vyh5IMeG67YsRZ/QE/ANER8R9fFXHKAAm9eNs3l7GXF+9RHTQvcrpwin9wPPCHUi1KMm93SUAftfdp5JlWJfpw3IoEuN/Mi7d2kY6e+u/Yz8LK8HhjMRp6zzOAaZtEzhhWmMFDZP9gGV8J9CROPJYFKYYEqkkzhZtvj+GJvD1I+/3Gia+6mpJzdEhg64Z5Om2kpmBiy4KhGyPsG+yZwV5HY15cuu2i2X7V8FYn2J4P+hDYE60XYVteSrEUQBDPdmvkNnGmjnPNnPq7OrdO33TCH4nBdPetSsU1GQpupumI2/D2FkDW8bhGAsVvJbWsW+FWBK2CX4cevjSzOY9Pll5RvouGyFR8ohiQJbpXmpAOqZeT9vozVfw1dilmzS80x+AmKuC37SNH9nNA2nkDpA3yVUsRfYn967X7lI1aNpH8Akty1VPKVu2BQRBOgc8ivoyXFUrnEPSoexzF2j7BS5GhCWx9hJlO8xT0y7ftXTzaXumJM8+BJJlObKi5gSzDy7wJuK4mz7eeDzszQdL0TTg5RAJlIQT6KLqL1YOuRoprLAods1N+k79XeS8RSXwaM1AZ/za1kG79PZZqPgg9dsxw9dd3cPsae1UU3k49GEk1dLM/LxNk3gr8U5OVjKMecKa0n8IBOQ/8OR22+kIfrfbGXfWO5BptSrlnJpyUP3mkW77z/bQ3Ct7L8tryPKswNauj5ZA5ZgAbsi3XYJs7h2D+keIhZNzeL0KVprK/XhDCKTqLXwLX+zRhBVHeNz49loiy02DPMd+RYwU69CtLLf0BSiHnNatQPgsQGEZQThyRw8ZkTLnSOk8ySsRzgX0++953XJ/5">
            <a:extLst>
              <a:ext uri="{FF2B5EF4-FFF2-40B4-BE49-F238E27FC236}">
                <a16:creationId xmlns:a16="http://schemas.microsoft.com/office/drawing/2014/main" id="{7974BB53-F60A-42DD-8F8E-706D38649BED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18532" y="3997818"/>
            <a:ext cx="3382892" cy="2829507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8" name="Retângulo 3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C3Oc9Z/0rOeadzemVvmB5SQOmgkjfC2G8OzXf0SlcM3UusF62vTjRoGkeUU2rsi/WGHXyqsSWELbQrsTo7WpF5XkT4Mzcuc30p34o1iwo5geM+3+IMEwPWbwpNj+ErOFRuWyXAY1v3f24ZqL9w49Qp2Dp9jyVpRDfAi/T+QclUKQNdctjoPCCfQ5iTIL9QgnILGiWxqe3igXgOwbSMV+ukwkv0gZPy1KitSECDUUm7QlLkaV5EmHOI5bCHOJQS9M2GQ2pls+jaALcZpptacDmqoipNhfeHElUiDzE5/vgP0YLERRMO6N9eHynrL19pF7/OVoZPzDeO1Wjmdz6xat2kdNjrO37MX2vLZLrsm1AdW2EKarSw0ZjH/nT1AvpObKdnRNdYIIuXERLQUJ6J2LnKMNDQt+bolFhjIATAvrNeszb+0rlw/RjVn4yYDYN6wAoudZF0dj6w/hJ+PLVJaRWjtjJ+h4uxdzxdviDRsNh/rkxvzLn2CbKZFhHliFDXz5AP77mofjQn3RRgvZVnqpgLEpMrPhBwIQfsxzSq9hFujae29HMkkuXj6kfX6yeio4dSsDMQ3ppDn4vxvvWfxR0cCNqnbsLI5lqhys66bYFXi9zWiElXnqCrxGlzV+3DmcbucPy9XtSg+9AvRx/Q1IA1oVS56YQWXtp9mItpMlm+BxYI2yXyWCrcmT40ISAVrmqPxgsj00ChqPujtzUBvr5tzNttWXlzttCVdj4AJoKyXHMFkvTUfdPZy9EIFF7WkBVC5J8Pr5YfmvW+a/fvvp/cCvEPPAj4anAV3fs9p16fzXrqCl/a4sm0f0RH0U6qRFpfved13WUqeT1rilIbovPpaXwNO8MSjGbxIjHdVLkuyl2AruFzSdcxKssnsDf07LM855Y20EbHNxyoXC6aaNqBSDYpfYRLU9UuoWTdFeAKzgKBt/y6l9KoKtY37Ve60f9guVHmZNE3M4eHUBPM8NMuFQxo31ztP5cmAdULXwbeXOMGUpiRUgjlu+RsTY+8FEKTn6TQfxXNSzX4hX6UGR7o95vt/TDxbMYZmN6tYDIIgsJj7/lSVSCex+Ntuk8MdrMipEG2KkttVDhZj/UDflWkpYAL7b1YEb/ngeziHKNbOGkQjPl4pMJtnWEAn5VA9OnWsp8Uun+L+5mNVEUGRk9V8Rf9qUYhCJu0mW+4ibqdjFlAAgR9Vn1WQa9winZILYuH/SVVPKDoEn6FjtP1HH9jI+L02g75nAXsZRXRmlsS65LuniaM+WdtKoTGlbq9M8rOV6STkPkjp20FE6Vou9RhJADqTU78QsQgFTFSaVoPHPUAx2Du3076yanV/LTOWVrtd40pzMQVDYok+HJyeXUVUrzoUV+TSXnPjrwMNWZr7vFpECU1O/6ZjFizHLmGtqNi5TLVL/0embaHbsYjNRHkV/jkPk0Twoq+0ZBfbYe2QHom01QHoS9BKwC5LxX5ce4zMSjT6knKG87PXf8BkR8P8QHT6p7l+f0FCkNlKaWMWed4V5BxEAiJyx34quPcmvc3tfqpaFPCnwGTAxniIpfE97BLuslfhfv0cEOMR5warj4XPBatCu1yLtnGGBLUC2amLBgT7JC0JYIQOm21Sq4FleSF/WxxvyCZl/mNUaijlOmqZ8/cPhB3YeX2YlLGV5nMb7mNp9TFlyjlgSCe+UU/giX802k+i7f7m0QpfGW2PxxBYU2QiY/QgD2tfkYcWWNfVIiQZq+R+OPP+Q2arj8oopAk8gyMT1ZtaEuguAPcyOGD0nBzAf/an0Gcp/LHHs5VlUTrV/XhsfssDdV6q4/OYIQPAbapmH9d9dvisvCpURugcTCdPfzzhdLUEwlZzvs3SiHi00OAAOVk5ArSTo0+clez/nJTLRNrpujCnEpvTt8RwN0iCp2EgA0gczAQj3TAvM8Ew7Hd4NIRrClmMqAUk/3z73vXbBTzAbXWoJfWylM0/Yscjs18ZR7F/K+6+tnY8AA9bJuOZnfYMCFfBeLc7SdGZ3nWlrJdKHDTCDgVBxkGW2gWXg/1Hw4VCad75731Lki0mGiaOQoc04GPpxf3i7H9xTeNrBkMMAWFFQvu2NQykrrpX11N4qeTXLe3hyTCnQE/d2u/pJCSQDXzoQvJmXKiKhpL00cXGQKN6PLqSLU+mmpXbgIReAF/aJsnckg9ncEbCIV+uHsHWSO19ghSknu2Zxn6opKcWRmd+TJ9Z7EBAYqul0Vk1ubf8zHLmZI2SDIcsbx+yy0Knw+kH0rhm3hZqSXFYSBCVYDvWdsbf9WB7Itn9fySBuBFj8UqBGXEvn9ioERHPHPyiZV3AA1+WUuMDkwiFkvf3HHENKXH6wYMtUwPnO+fLvUKAY4T6rzU3pvg4k+PAFJJYjfolqvCG1ukC4qk6VrZm4epWAU5ngpR9vKR4K3mLm1Oc6HyL4EUbZtulYIAm7cv/TmKxk53m8/hhrRL/b4DplxRDd5kQZhzyHcwJi+DhbDI8NHOd40YJO5PScHOvBP1Lxb+/kxF7BXmvuPQU3ylMdAV8TKhtsLnYJeH9OsyLDecFZzcTUJp1CreX6tRkWgqCn4k204J9bjcVlXmCp8QXcxWa7+2oDLZ2uzQJs7yfWySN5P9NbM4JS3qsjabwSMO4oZyLhL6V5z28x8X6OEeCiQrJCHqUuQNUX2l1E03U3VqkHuE4U1VMswkeE3XnJxqfRTEarsaZcS1q+xFhkTuRP/3F16rjJx5rTY9x/YtpB0I+TWLdqcT4nFZl7AAl1+7Auq/Lk2ADGgoEMTYOxSESpP/pLbDQjtvFEc5uIFPo0i5OSZYu1rKAGulYikEbv1/6ufzea0HNh5ixQjN3HUQbbGJsNwNd3w00f4YapnK+G4tLc8SlLPTjPQlbwR01n2OfOLfvQl7KDsNq+ak+5S+kuuGfyZ8Ea5Vk8IgApq6IeQFPdDk0oQh3JOTIAzndouW++bHXHZnO8kBTXfXP9YTui7NyoaFTh5HZfmBCwILK2uJ+THjUP8Tmy3AdPHQvvhFrPvEI9BXzbeh8O4d7rNKeTY5Q8KtSz2bqjBOZg1YWEfW5jpDWcmZ6EZ98wIaDLwY0mT3tlbzU5grrya842YDLpeYyAfmEfhf7UDDCNmx4Zo6XLloRrZDSphmkgQgw1WXihGGNyNk55CwUrKnNU6/7kOLDigFiTXhjkYK4eLUccK7RqeNIN8mr+qJVtg+uc5We8j2eUBzr95qZAd4fHrSLi9bYfL7fgtJdicpHUINvY8kWLaok5x2paha3fFR/YXmFcTkwc3n00SmZ/ShOxLyYjeeGCxAdLbqg/GfYI0mO1hAnVW0XeOQEsqCZotE4FJeCcH6q3T4t4MUp+0aUQ8Fo4ddb5AqvY8RJ0wUTEHjNSSQX1lDbigEUGrKrY67uAue4LMuNYmI9nL7NuMXDLL8Dh7djmtVksD1EUrEsU+GMtgWCZQzP03Mdt7rzugDqSs09o7754yA7/jNEjwoFZwLjQO7b6xml3T0jOhZapWYUufPuhmRQYlpNO7fzd296JA+TP4DMtBY8ckmHu/21nSWp3K/khQxbCkZ+5MW2K8b2xgQyxfXulrXD1oG51yYDimyOqC0j6CCSYi2SHFKR8Vi/Tmr6ZZ06aKD6oxIcA5lTloCJzYCF76N+ua3lMZSIegwSk+NUJXfcGJ/jUu5Uhgr5qwrPr2/Hu30Cs1FHTtuU2oSyYFUG2/KGFE6i1Fz+u6MIjyDcUHaqtDsg3TWroiDpvFS0skuZXCrdVEkj9Hw8Hb3WGtPW4P979PIMt02Q/ut8O+rbLzCbcnO0QvFD5IRflrdMAlM/kX9fLaAgJ0QexPe4+cIg3Y9uNsaRNbspz7cda2gl7bmYKPBLPyiHP35/bQpf27yVh/rMfvr7z+5mpRn6j22ZT8VTqOgJQPCBnzrrioHuqbl+Y07yJlnjslEDpsqgmx6D301D0hcZNv2RxO4dC4yrYuHHuqS8y45QgMFTU+C7F7vmCkICNIAEgBRXKJOaJgBJWT73G/AZN1EfdAUbt6ho37O9o01SymuQHxMha+6JGGPkJWnQ+joZ+CEb8gbbPIM+KeOAo7kOybp/4ANKRRRrzUX2gBjpSGK2QIjJCWHOX7bKdnuTr+WBKMArjHj6DS2J5uDLBPNY+PJ83ivsdH2pyQ5CRnnyBavvV2UAptqURVqVlO1T7zqL1RlSOPcAjvMU006KtFDBwQtBumoM1fj/nQUKOvx2dGxHfgmw1HMtaa5vnWWgDsgmZnvspLAUDGqR5gcfkzpbd49n5NsPqmWWfVR7d3soG+ZaYcpnukxlnly9emaEvgMK9MMi7XpcNJ0XsheWAAvqxXEdcmd/m8w7DSKiTTUDE2DJRikNQAjtgSFS3XNeUHHytOo8JFZlDtGFIj6Ppkhq1XQEmUa/yf5E1uTW56mGBpJnxPgoC02B0MoWZ6Cq2pLTCuUoGjHmHQgO13VD5nhNdQA7pwVP3CUP4GeNoN4iOnh3zGiXCXJW3d/zC8/EtFBUvP/ANkOX67LQqCDmHf0dlUHDdYJOYeaeqU+jL7N0vSMYy9Zgr/Nuw4Cb/oi9FWin8tSvo5fa7F582efiT1+CiZz50qJzUkejBNZ77QynHJeBFsj6BSPPg9eatUE3LyRhTef+BCDy/I6PxMwuVCuCMDRB6eF1X0SZZmmEGcHUnEc3OTae8XNofNOSSqXEFVJjAa9N+ioHcstyTcnQz788eJckoFpSx6ARSIg3tjuZjNeNUOkBpRExnbUNhYXS/lcrL2Gtr1fWGzekynGvPeIWBQffzgidsFFnlsFCQp+24kUohfQjEtotnDRGeOu78OEcGGOkVPqNqW8u+58vdTA2yDwcynTSa+ceWBDwkNcmwTa/wZBVwpFnsP51xmsmdU4EDzYeR+zTW+SAE9rDI6hY5V/0r9Ca8ebeu3i99ykqXkMR/+CbxHSGM4pwGmKGSJjjNVhQdsG/poyVcI6M656w3eu1KzTyyR0gfGY+RKl3IdR27QKFFZrdcNwdgWcqY07lIVhuUPKEYEWq2Uphq9HYHER3ceQ/zZ33cyTqlzdOm1mBqXDUno/JOshbMvLShnpRBFIZeWIed9nka+RmaC85b7iP4kHwXBKE/qqEqOUh5v/+zAte1cw1W40FZawMTL6NwzRJDe5RuyJT7rTF0yL6h+d1YR8/MLfqOYDyE3c2wjRQXuU4nEThdN3QLGhE3DCE+/OYglGOrSB4nVskxpFlCVfpy9KnPM3Ek2OPb3MGZoWPB9E85p3xk0nnhghUw5bVdimQ4XrAA44OGleE8T4rPtHYAZZq86hqUVl7uFP2vBGzoa0AvKUKeYkS0d/GRWp17PVznQIOqPk9hl3ncI7ync8fowgmrn1glQQkeahM+zFaXQmr+9T9wdvuLuZZ7QjgspY0E4MeJQ5wjANygqa3h7jFCgnEZ50n5Poc6ndW3XFx2E+Cw9XHwlzee10c2s63g981Y3an+BH4Jf953DXMV+IhIGS1cV00aRd8RFQuMV5kKXGyegCeQ5B1sI8SUxwQP3yzYM57U3Zqdy9R+vZRKtnPSbJTL1h5qAhyEdMZ22j6Rg7T38hiEueb5xuHCpy8mkCg/5ZesrQJM30maOeLXp/mBep3rUVTdgWgERD6LmDntwLrYYpQtK4pHkfVxstzCzVIzQPeH57RqVCRNreOSHA99h4tNnAXeK0mcZgBA1NiyqIoJn7cvAIvVH07KvhbLP9zbBNTAm1fFFdJKp255av8eSRySFADeF8zyVOi5UE8r91NsoKeqGl1oohoOFIwbp2fl1BJBh6c19HyH/JtmM7CVFKQ/oKlePmNDz01eHa6j1XBbN0AKfYkDC7ih1IP+SJXHD9px0Cai9dUPgbRMTgnam9AVqEE2lsrMVaiNr7APy5lEonRuXQVslfLOEkhrixzBKs/OVvrxSvjDMpszGK4a2l0P0HNiiWCBnQcmiWi94W3sxNPfVIXpio1FSg/NPpn0NJzl04R9aiN2/Ty/h3JWVMEc9A2P9PaUCqTdYqFM2aZ2hOYLR/D8MU+c3a8Nm3voV3FbgTumd/gSjsnVyV0c+7cVSrw08vflJ69Q83RolCIsGBWTH7cS7jdMSsHFurM/oGyGbh40/IDglBiSvkwvYIE2imIQnlS8AUfZlIwmnncXWbHc5tmdnLnuwKRCDECDrHDMX6Frj1iRZf1Bgt0CEYJJwdXSsBKs1jWYTaUAZvu0s79cDI9UMEDLlQHkMv8Ztl1u0TYZhT99hHWMKrRk3witDPwe8bjlDKR/rmoUF01qao2/9NhoFcM4oxckwuf6CSXQQQGqQmr1mXpyeDmUvWDnnU1Y3uT1MQuarSv0i3Pym9b/1zs0gbWFo1QrcKjeMtPxeQHF9MYwLgRDX1rtemFsKtELFf5sEcRlk01YNYXZFyuEB6S9WQmtMxbMVbDoGjzI9lD08izhEQEkqiQh/51xT4w3KuPW6u5FNeexDXdkAE1dXykW+R44E8pDKMpaaQWCwjM9y2xZArN2NIlyq6sJyEQ/ZO1aPsrTJLc3YnrY4cilrzwmVgsLx5+E4aT7I9asPdfFbqdyuRfH764IHATsJwn4rJMTJ+nT/drpFwPtRtGnCBubHhoOktL0f1x80bgSdWZXIYc4Xwy4UiPqWTQh61HaihktDtDRNI65fi20E2oFaflgXdhH9xH+3+jSXVGt9RWkhi3BEdh7X9WFlJiAbtEV3JHVtOFtDnBkFfsTBGvFtGyQ0lrYdm8b0ZndV/A6wqlU9EwlFXR+57n4kyY00PYXBEMtGeV+X6hn9ql7XLT1StYFG7ZCLwtxWT8JhSvW+Co66IDPArA8d6fjG+cqXnXGNvPKBz5oo05EU1iaQsXuS5G5UWmKriLhsiLgKeaTF+MAcQDNiOy1Bvoh8PZuIWPJNtsXbxvfNurgIMirokYPjMKi42zeIMfFlPfJ5NA9BmSSVtl1TPXTccMvm1EObUwA9+vnZI9tqxf8UZ9mNBfxg53usg8s7MCDgj7WTMKAhQkE8t3Mn4py4lIJkfemOGJZpO5NO8oS4Zwz6rb7AEGeJVGChsxEckndiE/RG9cBhdBFf2QYO2V+BuDFwYULvr5fCtT+mYgsb3+uvEXcIrOP+e0evqulpi9c50z6MqSOs/bmmSjv+g3hYVpiE756yMPOpmc/1fi9RuilsVpLhOVk+IE5xqTl6GInvU8RaFvCbGWaRGKbc7ywf57whejIGa40iU7EDFgEQY1q5jXS0DToY++z53uLg6Zesj7AnZwVVLbdLVP2CqHoD3aoREDOgFBClV9fPWONxbT5ywx/DKltCO2P+Z59uSrF9fDCpugKcHzcjGXpVpMuFaL3Bj3ieA8xcpBcsJk3yfUMWvcQU72KhQkCV+CRW0napq+6g68+n/jbzj0gI282ETZ1eGTcQRfUPvmMC5b4/oJYRnYZFa+y21wNHsFbrNHP1tcTFwnN6+GzMg6uaMTLiLgKe3jyNuU2dGO68Ujy4sM5M81mkZArtn728T0+dcqNLDw/8d0/aule7TXMmClp9zWO9fjF92RhCQJIGfAyUnwwfVvr9H4j2+5qV6jnNdRLPvqwVdLH2ACmG04zARi8dS1gUp113Pg1D9Jjon/kd2Nc8zJqD4oGnZZcvaA9VxbJ+SrG1vRU1JC3eBtOY2u7MG3DGAPIiZnLM1qyD7j3imr8VM55MS0vY/Znp1EHxuJszaGMOSCYhXf2BE66o81tqQWQD3d284wNuZ7CUXNHPQxzIQh1OK5v6THFvTjtOToB3LMw+Q97aqA7JxCXLnxZRdaeuTTjrdhmvaV3wAC9hORprYChiqvGusJZEGGQ72o9NpKpvHXdUw/53VWQqay2PBxrHjwCHD3B03N6ZJPWRdL/UjxtOVp9fp2CbQkXJdlNo6ebKuYzhMADVK6q+WW/SB4bVGWRD5ourrdPphDs5e6uZpQ+zG9oCUG7Tmq5UQsTkIe3cXkSJtOQHjmYtZXsVIweFfcbgwTgVjA6ogqiXW0kQ/E53Vmb8w/zutOMAMxnKlakMvaMbSw66AWDJ5YwSePGdP088qRUs/82p+/JQC3OD3dglf+eePKVH5VpYGjFO6J7i+YP5VY0me4SMOBclFlAQi9kTwThLTNyKYeF1GxmBVX2xw6KyXSN00svff0hL/3qXp0zqX2BpLQ9jMp7eLWPkaT98+vUeKe/I1GN1uROSeHvSxC77YFy7ZmMFiVdQFPvV7GhDCtcRHuydD+n+uU8ib50o7wlwwuYSrszr9KW/nrjeX1iOzyjfgV7KV6mglS5J/w2/KWixx39vxXOh1iHjrnRPgrEH1aCqrKYyKGa7hpO7YCEXBlIk0iNBlW7yJ16BE83vawlIvNbpjQvPSfP0t6iL/woky4bVirAJO16iZwmNctVxw5Dy+IDiipqFWLpwmiLsX35CHEUago5kj4KkL3Oc7+rz56UjJkTLutHJjT/B2vHLYGZJzElbf+UHe4QW5NClhUZ18Q/d+9sBzd/2a6UzpPJpK29lBxyguOmc58yXzFv5Nk1ZHx5ouHJXGVBlnIhcV6x/tOM4gnpWRh4CLZ6VxFCQJoXN+PrrDGlxBRFS+X8FyeruDZc36SfnsGlHWwzNSbcl7C43AHVckeY9W2bjGL5aXTr7AQO8HO6cdiP9Rfckr51QeRH9rO/ConzlhLNw+IImFm3qUE1L0s0ymBJG5L/K4DS0I7tYKD+Urf3cnE/Qr/w2CxByMp0++ipOnQhZkXIFkZGeZ0C7rGgviWqmDUC0ukmurAqdc9iKTnjEwqCJXXgBzTqr3StvgBD6BNh92k4u81KNQ2DT85S1E3gCNueMxOvM0zW4vEt2qneQfEB6g3yacMfcv/GN+DtbOUtKn6covqG2Ug4RcZXvgRdRsnJ2FoOL5iDbZOVJi5WG/y6BCp6co7Yq/ijEPPALEDVYaSTEoHyiCsjHcyG4GGsgLgbA8G8sG64XCBhpmTKJksYM6wIhW5iRPqX4lXNE/3JV9NpXsqpMWK2mPCDXYjICCxVkQpcrN05TrGv2W+jN7YOWqDNCdtkmF+mmELsWK8xjxDAaoUrjpwfZzEnUfh+IQjtnUORS95KG0X+2olhrHn9ZTcs4otL0hnvVD6Ru2/1zGNr7KCUs3zQSMchtdsnj0DK/qDWxjX4fgeWRWhWaEPCIJwKHjjhU6J8O98ctlcsg4YxQfa+WvYDSEs5dwLKuQfwTPf88yu9ah9MQ57QD5to3H4ulABlgOYJ7cGdzvL+ChjnMet/iQx03unETSjT0GxlLJRM+CocwHXqzqoJbQJCWrtfxOO4zZpiPPd4yAHwtPoWraR2vbPFxHKT9sxl1cUqBGNSTBUJCrvdbb+9MBi+xnHcRB1vuMWL8R8r34osBCJqJlOsq933UNvdfPKj7wu/RxYmzlGnmPBzmztjh6XACGry0J0OmTYnidaEYPmKkGDKa/WQx3kfZw3v7b0BMgXpdVcao7ee9LEGPd+61fnxhs+O5IRdTj0RiqGoWd5qSUnVHZrlGziUmOwwwvme4mnpjQWCGtHO7+JhrdoXrcsLTHZ+0RaLmvh1VlB+OYLN4Za4nS58SVfHYSgP+CB41U0uP/N2zcTFrix/9AIVEs/ba4QTsfLcQU27/UVt2cUDxFrogs4afaNjMNWcuBfBabJ3BU4vRJT4T+6Bb4vFVVTm9ZY+z8R3EC0S61uTpa/7s9cVUPMBvl5J9LWEVGR5qeb7fCO5xsxiJX0FdOs564+0SebFxmTTeQrWr5JvsMTprb/38CBJ62FyIiMVyTPuJT4XyJtpna9rgLpQLMarN4/YKqXUcuy5jM3VqcpBXDEHJjVbV2o25LEDfm4p4HUPHEJ5K9JcPYyHtLGRwgrJBSAgUY8FtPWHwsMRx2RCvIiQ52UQUNRAzp4CdeM83LeVETFO4xjuJXczMhFOmx5jjGn7ia7q35d8SDxYVC6wnDAlWcMLABOKmYokeb7unqxCOvL/PL2hl7kPfhBv5RN8vMdFTmKe+DVxoyPeAMuR/8j+zmpBUlOhHHMYscBehhi5qD2XFOHv83wpnBnMjHjFKAJpS1H5rOlnF/uWCW0wXEQFYW6EKYAjAFNXn1CkyeeoQksodT75ZEKRCIKO0YNy5wXbNvSpV4eEpqiMDv8tpmOxZBXyQuMVVSozzGFnMHxbGhBa3k2CAxZC3kz88/OhCGqmIS0qBRlDHzhV3wMBJd+NUhAq1EgkNqVxKHKlQcU8XFHEDRPWlrwlwU42DZLL/3TvdqNddNPbECe0np2GAgaKp7493Q5hz3i0Zm3ulVl+QBAvnvKkqAJZnBv606nzgzwG0u2+OCGyl3vktWjbaCzM6IWq9OTmgrx7q1N1NsTQ1Bj689Fxa0uD7YvL4vaLlxQOgkYF3kQo9Ag/9Bsj7jMYRBXeFe3TfKDyA6i48QytmLYLSshgsY/fSsW1UQhcPll5aODjTDl1W3MQP/D3R0XQArB2FUBaEjeOn302ySMSBWhvaTE5d2h4sfMOB8FauN35aSVOu8PUqx9bJqJlYzQedOJoEsYgS3rilUXmyDJilILTQOk37bsPmX7H6iMXAmXvcjkiAcmWWupKcHs61rXAlDEaJ83kfli8gGKFA3yjfBdiPTJQrWCRgcE+wpru8EMPF0+FywArpUcpTN2IuuMi/gnshgd8Mc5/ktKkNOOubjsLMQuf5Z7PoZNEXn1qYCCHsJfN7TlvJR1pTUXzqd8CibuRJ6QJILmOD+mHnaJY1E6j9rjxd6tiq0Q0ibvXWhdUXYKEN5xifBdHP6g7J4zVXJz4ffFtfwi9ugcq6/APCJP5wqrn8mMyvXeySmcdSFlr4TX1TCDCy9WZQIUepW23NclcdsQ9hMf+B0WvaUczwWhHP5AP0VHTf7Y715L/NmlSa3xVs4yreT6/uyPMS808psM23vJUVFm65IGrHgnyuQ18UL8BcN2vdKxJajXEa04YgM2Hibc2Hv8WfRN+gcZJ/CfnvtyVlXjw5bRbwSd3nAw68Y0EgxQnJWK5yxVnI+yaz94V2rw+o6yMxOfDSkoY8KaD4rI55xWAewbaG1dwbf9zQf9MyJguOjykbvgcnX+GiMCJChDy24tTun4g8cF6TRenu9md6Qtsxp9o8LS9bW1Z409tdSuWsIpiq/jVTFdga0p/pW6q/y9OumJDB6f+1e8PTuEhnNRz4CX7+j3aAE3VrIctApeNUUCRGGLNehZG+/v6NekN/zW5tCOco47/m35nJar8JSyyum8KIkigWFmq8Epv0QEzanhoiO9fT6g/b0CLD5D54V2tgkfT/UuIbKw0WYBrG/fLRuKCuSaHvp3xIRka/cnanE5ojo5efVoGJUCqIQhylnZL4FVRe5GVlI79/QrIKKwAydXyo+QnMzG2OcKSGv5sltqXGd4uivAJ/blPcd3KzKhdcf4UiKyLnTzAn+HxJ/1qisNuvbdbIulaq/zjksa/GTytqJWH2QWtIALNNNmtIjltv6lxzq/fdPhBSpFI75Q5o2mqM9AJCBv0CalLfqLS0K1KoZY9ov5wKg/JzaD+ZS3NDDSyV5HP2wn+e1+Hrcig7Tny7EN/3Qf3F09sZNe3+BirT1NqCJjRJWrozpaPznn5c45IzM6WsX4SdEbz8bqaFdPJ6j70XI0KpmNJJlVoMC2p8vjUuyLU1GTEVVw+0G2fABxjp5Cba34OmnA0Glt7dHN/p2zKGVlTz5hn0gEyqMQmwHWl7ZMhknnLXUYhlOtC/xaOya5UCk7IDk9XoP6RoC6iOTUq+q3b5FHJBV6aTZnrzWVjBSWzJqdjNVdgRj8TZ86f7V7ZqkW/LYFH74T2K4sI4xnfMAE0eHS+2KINbL2XaSbN0joWSlrUiY8lMMhQ+ao0dAr0jDuGrNsFYza1UqkbFVWPkTtSp0iHF6n/Z8xJCSoHmwE8AQj9eiWc3C3WNZopeNSnV79UJJOx7oQ9fgU/DGWRpoHVifVdTTySnPwZBqKRUG/Y05E/nedlrc7NlfJWp6zBm6vTM03fCTuHBvEGoPMOCO1F0tUuGo61TSPTfWDOgNOviw62iO9l2QtBG605QKtuI0gpzssCKOVpdxWEEi+lFyngWySeMWCfxr/ZcIUTs2o3MvWRdXJ3kPMLg1ZZKpGBNi5tmVZNLdmziKD8uYNutCm1bly1Sj26Fipsd+oZyjGxs5zngU3lydiJnPOE0zXNW3B9gWMOSN0cDiC2JzC4YC+AG2iJi6t6umXelh/uS3UUSWsZNDTgjx6IQgLN+ADMD1UIdDoQDJp/zdmP+uHUiwBPDpI7Nf1sFA9dEAvNr5+ImwP8+v/7ru3N7Nkr9uY91Jcosep/cwNoxZP5HeOU5L1hL3SXrUCyrRPrcsh7v4FV8c2JYM313GeZRm/oBS4JwVhB8R1r9HZLQP5hehwV1qHLwBev+Xus+50atE/1wC9I49TAFVNEkvrQpgOniZ4EnyBB85cOFmFZ2CEtDJCNJoNOOyDXVSSmlm28cRol6MsYL3I2Om1pYGcsZuSzA81hLuG2AZlBqTYlplBIMZOvEqA3BaU0ONP2n6octfPrqmYUFzIZthLvZRQekfkGzDKGsHOs4+84ZgG1HNOXB/FRxL4E2Nx7Q0gNkLrw3JAPzq5qXGLVq2aPmkvUJ2EcjpxGoUWND+Ikg6ZuLEnH4mb9SLVTJ66N8o+/urw+ezB2VVV+DW4GeKoQTdEOJ+KUVLQEbAiGxVhGfFG7On6lnA3XaFWPzTEEeXirm75nBQn6eb0xQEjrRyg7xNCiA330nFEesuj9BCDDCaNUky1Bzf9IRqSBIf4J0wcXTLJVVLycWH0jjfYfLgbRl8cu7AzcV6JVcB5CWCd96Spr0/SweCP/OjfJZKfbHhj7ZoR8CW5AtyNPpGdTIhq/EJFNVctQGriR+YwDA4Y4joPKyd+B8E9uXlWb+9fQ90bFxeaItl16NHDP5x4sk6JY+PoKFr1sLDVdWoslzK6Jd6AxXrT0hj1lyJp9loy/RYt20iQP2OltqbS7Q7mq1gMYwAzVl8ImJ+723Irp5kf1rg4o3zsqEmUJEH0Zv4zGH8brezL9BaPgylelpkAJnBWlI5Fr2fM7/DtqIodmmlspTn3ghfRRaoXnWgUBGsiL2QIR9VrnNHNwRNVdrr921de7PCkMwaEsat3b0v1oqZR+SSO6Y+k5E1b2k/aLUR7KuM4aEs4bkr6V3EU9ZgaoL/knJCH7pu066NrlDzzkGnMNAuTiHu7oAiZk4sq0l05LdLGuIpI1T7jRgg5W0hrCE7OSa7UsrPFU3Kl7zudKnqrf1FoORzjRuzvcHs/svEl4iBS+r18ldIhBmXk3YcgJI7ElK8lZXd7/UKosBe5xCnolOwESUdvTrIhs0RNDYYKk/kFmBvQ5yV+6uLSXm9RWCxtlk0/k8hQdnNtKkRCQ/rT5pwkJlzDu7tTMl5DbL2C4naxampyIUPQ1wZQLIvTQwQO3LY+IwoOZBjEEEplv8xlYFlEiJyMzTbw0ir8icUNQepbMGjp8SPaEjtfg/EYf0KZ5BoFRpRUTKLmTxjLAbJlAkgw2THnHItR7zGZtVVBXiPFZDIx4ViuDQ6Be99qUl3xjCRtKYzemXT7OAMdMr4Qt7PunHchwVLvuOlOEMjK3DjT3QxZERa23pGahw7Eg+hd7SzWB2daCBFIdcB9AzRwlG4Dz4hpMDo/p9iPsPs5DtRVeiiRhJCziROFHuYgLiSfAqbioTiBCBnKqhhresh0dIVMrIDR8lo4ojGYsmGSA0x1hGC9brCf9jTA5EYHe6Tfu77CJ1+g30eTis5+im6JfdN8JE+kfI6LJsmLjv8ixTvvX1LIzahDdP6q18imXLYFc/YURjQzkvs6WTKlRbamgFXGCETfRcyj2ZyLE70HPoGLuQeuqheHPbvrMlD0PTGS/8Dt5JbdHcNGgVopVOdD2vuGg8KQjUapPwpgSatvg/gmI+tw3eNv/RWWOQyMaTCmG/LHhUYS+eoYfrGA77xxeZluYBssBaAwU/gxkXhbPm/xjo3b2DYtE9PKyY36V+5rlQC+iXT1xlr0No0w3xCXBsfljBMAinmw/0rTPDzV7uXExOVTRMS3PxTr1tru9Dw5XFHyile+c5PFTThNfpuznSzToDczwZKsCagRNJpO2+J8zgnCesRN+XBVvGAAjef5jftUU/w6l/UIxLohF8+RbufJBJNKjiHS5EhIe/lzQLLrfVub9gbgPzHNnE7NiRgesGywJBjeTrP1esbT8BSM5Y8YRHGmLivlEiAn7TUC58HlDflQEPXo1hg53i1JPB26J3m2GDzRBtdsFbIGGPoKWmxDiqDd4ahnNJfFEO2k2kU0cAyB0YNOfjbz8rjnuFH07zJHKwqf8yIU9MIdf/D6o81fQ2dNqOWAMZzkX+ncgomEesHx4eKDeC4Qg/exdpUsUYrbhYhhYqtslKP9PEWxWKx7NOi9a7QUmM6GbW9EWRKGGfIMXt4mFtjs+waCVQcGRXrm52j38aQ3OdCPSp8BdUi6gyF4jNHDXFQ6dsiEJtLZNX/yj7TBk+CYUoIQ+1Tn8EgxE5sQjJnew6+IbLJIIFQCXvHAPBJDyFMqja9oY+mdRG1rnpUy1QIF38a2T0REMat48N7ErE+hMs+j46xI/9F+IjvGDz4W34adFajoZywOpueeVKAAW+Z4qh5aav/h/aoFDC9mXSUSw+bVVt2/QdWQAFiSm4h/gynj68fj2/JSofFQBu8aFnpD1fyUNcf6BeAUP79SEd7Vq/S+I8vH8OjqqukGsIr16I8Y8lUi6I06/5LvcBWMQTN87ScA8r2Rm2EBhaP+LXP28fpiCpgRApAjJHFWXxZ2aSFjd0OT+KtAIOF5O62zM9rxDXH7sXGicBUrjuutgRDyEEZIoXl69mizc0SppwqC0PTnI5PoMmRIm6LH9rNxK420RT37iMIEOVt696gG3UHxl9RmvgwwJmD723Q+eqgDksJvsg+o1O1W2yG3M4pfsFtwqIBjStetu7TCnHM2+jtXO4VmjnYYYCXRbaTDZrb9HB02Pp5n27cgFHhI9RMQth8NEliBL8ijG6wLW3JSvbvlRRBP/pzMigipZSlbxHNU4Fd4Xtw9z00zcgdnBt6gOKUaSFHhhiZRxEVXNyxughIc861NG8+p4bS5FFe4/5hOnaUiF9OfeI0qf+uGQHTGzfvuhNg38MFNjUk4WSVk4EoB4kOXRILmSu+lnrwAJA+/471krDudur4uoJh0Kj6y64jiA/vRqaGBWyqJlky9CMSYXpdI0p/jG02kkHwYNnlNMIAEYNjE9Ww8nsJUNCjX+11LSLlLIPUES7erbXW7SN1qGOBapUO7EEUnIlcz4T5pNwQaBTIkrlXulmtB9n8hPigNpOsfaYAaOBnri9sa+V8Mq3Q9JiywYDOV0tQeYJAevgh2QRp2dMN/h22b0t+7NEqoXSLyQ0/dc++woYr0/9ROkSgPiJoY/b+Ojo/h9Ie4AKB/EjovoO5y/Z66lVww53xuwC+pmF2Tdy7NccHiCaZr7SwQLQkHmtTqgCHzS3btgbtkAN/FLNfgZLNlAWH6SLM1iqOfFf34hQ7Z6p8a4xxcWMZ8rsWSFFDTqziHbE8+rQrzkW1qJJOWasOwA6JGLmhgXn7fO3UrgwKBKGZm5ETCUjwc4ltfu13SfSS1mX/4JrPeh9P3hD3R9Xu1weRopWDG1PP4nF8KBWRmjf6dC0/Dp61mxk3PBD5wWL06sudQhPiHsT48HuYgMf9Z3bWf9y/v+4lSHpuXSDZ8qDymSQG1EOcabCdiOXN2vpuD8eKDyUDna5cBjQP7H4OKq6x+fg6QN/YDqbgV4AX+OgkadScPyCwo2JwHq4joVWPqpVueL9SAeAocwwc5wA60xxokkthvcMo0GSb/AwSkkJ2VGbFGNxnbMIMOCg4lKacis2ZqB0mHaYotdoPnzz0yv9tdzGzDWtm1IgajMaF1GitQR0QKAgR3ufrr34KSKwZ6StI/CIyz30vj1SUDWf+mtHwQ1jCXDD1b/4QU6Cw0B8Kj95m9/M9m2CLqJnsxdjWEDb7OPE9gskRok0n3JLuTRlODRqopaPuC3gO1VT44jb3WyGag7y4jZvay/6gEz9Qm5EgP3on4JhnxTt0LroXbnUIqCnxYS+YiwjNX3h21YsMqUGEVjo8qxgcRrpjyxQF16ar6JQ82ALpeTh3wdB75PPVibigcIWWZaGDHrtZdA0WDNoLsFPtrUD6fgaVNaSVLWUfK2ysE79mRlng1KeSPz13yEBPVEimO59CQsw1Ld6h58kBKAnletvX1/MTy6Db1xxEjXB6SXj8tgEhZIMQ20M7OtO6QJ/KJOJvjkP50ZTK+dFFiKBiQgwNK7f9BVya512iokD9H/Da9Pv8r6FvsYPAEAPKKLVu8O5JAyVaqY7H2DeFQPihRrJbQ84K2Svb4RrNSoA/YCGHb0Lk7gIH1kuIczNdHhmNsgHzs8gp5LOVIjMKkBDLQaSwRjuQlTmT6ifhFBSN48zM3syTCKK16OC6LL9KKQL7MRpWbR1eir57KTd/KR9zqB4mXY8+xpuPUYvT4KieNUQnzyl+tiG5czktUrAw0ITEKwESQJFo5KLn5C6ERcGUX3JgHgn7E2R8Uy7yJq9tr3wthbi8xzVALs+twQR+KaJExVa7AZmn7ATTmVLDZHhZOgxoRhoz09LikBfeDSpe4oaqCblikaF609phCq2JVuZA1OEXd1bQYpDzAjnmFAAE+7t626gCrjhbvoXu76kwjeXF3RQ8ySo05eB4fpfSWuwIv/sitiRmM+l9Q+0c2PeGw9LjzkvN2LEPabltrJghHsYizBlMKWEqoNbThW16rhVGGAYU7iOO6LAQr9Z1ssPSlRC3J6AIvA4JcG5MzPI5OKxcDUEVIOH298nX9GA3rB2ipFSpNUn68Izq6r2iK4kBHAsXd0frWR5aKHZ8B/xBea4jmBKfBPXQVd1DelOUKlGXKwoZmlmsFyTKEdftwWIQGYRwo19QLhr1ltOGx0Oj7rT/CM+hYhti9dOOAQfnj2p6lkhNpZTkes/rWsbrcA5AWvBMWjJaQ1dhcIwxnHtPpaTP5hNsWN9zjUXtqj5/nxaZkjwwe4BLAEAjEdvlNAYx8TtJWgzYXd9vD+7H8jZA4pW1PnpmAPjlb5CNtJn6ViqCDiu3ZktlwQo32MK67Ku8TqlKAPDoNSwwWqM3KlosOQysmm4eJqKAsDFsW2XTERpEg4Ad5zLZpkQ5Fm90y+8jgDNt8yMZf92N5nfKajsnx8ZZyib+BL12dda+HCjnL4Xajoepd/CRdLVVsKCPZb6eVqaAU0b7dTjl/E5jp4fEX6zboG7EBCxhFTJQMUNY/GC8VQ/g0OsRVK0KUwr9jgBSAPCHQmmpLn6nLJ8V9yj6avbNFd6ictA4gzDyPft1Cc36hOF+aPZxy3GpxABhIde66I4cVnxemERS6b5LUwzh6+jBHaEEIJNZo6TNE+UkrEm5igdbO2auL0qJoMlgj2/r0nzgR3WAhecMJSZnkLWGngWRCfK40lVCXu47Z8ZO0Vq3ryANyvowJIEFbH3EY/A/TzVxcEmtDRjQzkgyY+cu3m5ZReTvvFW7TKQLEHqOjQTE9pi5WwHYpVV91oa06yIXz22XP6qt3TDGSb/MSUWceHqAFYn8D9i5rGZF0AgX/2rwV62L5nAqmlXIHHh+zFQboO/f4Jtx2J8CqO/LG6tzYJMJHaltd2Kc2BPSsmX31V6m2SyIFEXeTJsM2B2QQQugQBWKROyMxtfdCMVQPwCu5DhXaMdVhhWLjQe7ronr50/hCEzS4wVNk9Q4FFXSTyNekheqBF/jr6LP6tYJUt7k0k2ReJTX+SzyFvM9La5qJmkfYLa3//vv0r2dSO8IWn++k51q4i1qw3ZjW+2b5LvaSHhdltQKP/Kj7Q+hZDFVMtG/668t7yMlMrepizoDw271ui61nahVo6lpFa5htHu0AIOPn8/awHdB1ywf114iXMfCOPa+ShXOiNmf0DIwYDHtp7W4jhMTe+9jnbpMnxGStligt8uhBoxEgboda9d0x149RIry5DE8PFf+a3lhHmoWDXW9jx3kHWXtayov9qIJBXE1PYBhdXHSRkCJoLNH/2v1V3CoYOI2PcNWeAdlT/7RP7TccsMog8N6xEyotMTQEIr9Nt41Y86efMGsZNjKtwnD8qTD3G+lmvQdGrkmlj9LVz2RqRJCD2rKUD/TnX1Uk5z3KvQN+PSPkqTEp77ogTLbHxSew6B6qIECZUYtn3JVTba8h0htGQY9nSQ4F/ZZ1mavXPy0JtlkJu5EixnRPAUKX0E0Bma/9OGxCUe18Ovzr5cRlfY2tJ0uxFd6bfgKtDKnI5m6oDP44l2g3cTfQ6ZActAGbN0O9L5Pc9W1XezOHcIRwm+vFBL4jfyqzozdSk3gfMH0VUAMJI+XTrMKWJyYHan8giEzr16qG3c1duDdatqLocOjaNaSwgLRKYFf1+suaM1mW3v/EWZbfsAROgvWGZp9u9bqw4Rliat70Z4OAHZLxz7MN16dM6dnK3M2i7pgp4YpBiK2PAkI/rkrxP1Wkqo1DCFtl0Quw4haJ4WiQ8bPzfZEU993x2WCJ1gNSD50gGO1uf0c4SQVYPgyff3wfvGd1yi7VzlEJNJa46lNVu8LN/pP6kEWkhjh3p5vMMnU0ypIjb7a8TbNdtRi8GUj3rwl3f4RcjXcj67vh/Vrlf8pSud8IMBW3jh9Aumd4iwu6sq8GlVfALKm8fKfmbhBOegwLLvzYuC7vr9i006r25BPNKfm50qe8bTgvI7eZ1w5/viOCmZVHscJbLQ3nCHz62LgLyISwMzlsZRENUKln84zJJtC7s3s2ZQ5gd4fzMxG/180bx9/gknLtU4iqaUC97ZnzY9I3mIOZnmRMLWDIlvu1Ftma2hTQMNeuEbXIblllOrlgxajOaMQLvyi6oFvkfMcY7Zde8vcQZrFEd54M5ON7tRdqiOzMl64g7lLVRPMMibTEBQTSU4d4pFe5RNsADxvdKZqesFJvc0b1IVH7MbQyJTAcVEeXEVZu+/dq9CCZOsmldLPUJu0df/m6QBn5veckp77GpRr4ifxIOXBLBKrfCC1wCkX4QepTgHasUrmREtpAFuahetardBBbKT12z2QdDkK4mP4YVlQPzaTJb6c4cMp97uBkALFj8BN4SoQy/hT7y9sdatf5odLicP+8qmDgPyD9zleKlSa6ujPuEeRqx8U1J9sFsVhkhqKKHfcHdF9qFTQwSCRPZMU3ntOIGPc32k3c0FF3jbZctZeutZecbKRhmOI675RQblvtlBpN1x1fSnTtAnDZj4sF0OgINeaadfVuEVQb8cixbJCS8C8JhMpfOl9Ugkf3Ytx47P/hD4EKU4KIo74uW1MwHzagdJgFXXoRlbZw+onpjlcH+U+Jyuw/ojhakdJ0cCNyctObnerqhfnBChOD689pmP87GMUOrXMF6IbFXl+eYF2UMS3H6ROifAthuqlmd7SPy736bzyIXicfx2cBn4kj/B5qk3scPt6tOau3sYlduhYtYsTA1VpC632zu8QkFR25dtluN14T2XjlxKVRX749mjA+n8bTspB2ugjntJQUk8kiMG5fqCqiM/n5zYBbeBmV/wbf7ddW7AaZZqAiS/ig0q42n2GbwO8ajtXIMR+zLLy28qJRiAxRM6dFbQ+PgY3kMnbGo+hpqWItCjPs2mLVW1b8eBQ2WCuyIMnSgSCHLMXCRYzPzn8OvInLOxORW2Lxu3OfjZbnI7zwWtxZ8zDg/9Xl9xj6ZYlRNbNv6sKjxYazU1Brof5nGf7SFtvvC5Mbq1KRkk6awybfJIqaAjj2P18w2tgeiBo+niGz3fVZia9/reW2pZQnGKk1Bm4Tde012StCoPxDVZUU12EQGYP6XPSWk4EDHMFZccv1Pj5mXRibvIQW8dkkgm4s1d6CahawPx8foktxf8kCyczYJ7z66czfo27XRcS5aL9PXQwA5/d5pQZQ/rUfdH1OdiFBQjYtY0KnrYp/5USNe+1hoVkCN+AucZk830pNlDt2HQcMWwGOTeOD8jGkUxbvUuyzZWqH5RW9pt/xK1SsZrue7JMxtq/PJ+UV+CPQaw1dS81LceDjWIvcv3yPZiWyegx5KomS6OW4yWjGtvs0o+bIwIH6YnrWTa2KSC9fyuB0s+RtPZ3/ppqctUinUQXTCaY3bUj0uZgvgUaZK3NeTNJAt7IaBKPQg2Y2mLf5lCdjHAx4TP28ldBwygiDtyuGv1xEVQwR9qAxRjmE1EqlccdHhArRc2xXucYHa2FHbvAHW1van01qW1cJTY9eo8pTrCdK1TALidSZm6/zJIuwAqBu9K76Yr1RPFNfTRVMgb6dclLTdmgWQVzAIOLDxDNLZXRNw8e0AVojFKTr9fjTtO1kIKm1ixyQ1lyRV6J4EtMrOgVgWy9V0jtClHfkSb3VjmBVATproVWcT6JttPwtOxhebxu5SfUtkk1fXjHjY2WTqzStzTFH2IpM7h5qi6+1KDeXfcyqmUJhFeyt7WohC0XTiJMTmeIPHv3j51a5y14+d/O0cvQWJMcxS2YhZcERfz98xFu0s5Zuo+2xDiD8cFohFx14wVwh6Se5scMfJ+zZ/4RAToVBdYmvmj62cC6oYhVAeEXBlSvO07a+JUei+IHdsRUHvb46JmW8a/5TLDSdzEZXkn5b1Fa3GegPO/zEy+fUrFjudumUVISOZt2mgZAKa2UtykPueb3lQZfOgspwiYMU2o0mY+z/CZH8xHsgDfrUM5GiI5pjjLTO5zJBH6lN8Kc/M1X0yiAMZWMmrp9EbBWMKCKLIPcPe05blL8A+JmxvaaH8r/WSQMq0ObWH730NVb9rTI8w5foECaZQQHVW3QZoECSNpTe95wpilQ1ImfzYOdZ72b4YzYZz1IQwJlWc8gn7NlPZVLxMOj4GoEudtW2yZyHxHzK5g+jmDWukf98yO9x4LHfafc7MgGHVZtgwyfhjof5U/iBaayErjFHrC83+joSv9/T7+vATJz4IoC/GgdeupwB7ABjuaCf6j3Stc8TkPbu+MXlij2FYENbB3bBnAK8bemk85btcy6C+T+1YjVvXvsjF2FNcxFJHHcyg2zOjmc0cKEsBMBEZgUhyEpT6IQUad5h9KM0p99WhDmxHHGXsFRQ6vxIpKcsTnvGn17WHrRxTM+hmVqIV+AXEwPk52+CEUXYpHoDGoypYMGfyUMt4m+jzJpt1krIAeKjFge3wPY+PYcz7bCQ3CwAk3nHzW6HQ/un8SPaJMp3keIeH17JeuqCx8i+Nk7ebgO1ioYf/xTLb6bO7QJ/tK47dvWZGojJGklHSlOtLfY4zUEtxQkRbmaO2TJ194qT1DdxEdLZCiP0YFMzOrGiDTGfouTb3YdnvGyECrUf/tg5YFqvn2hVU/1SOQT2cOCXid5QgHIiVVXEOH5g4S+tWb0LyuEL8j4OGcFG/F17STi0jvHVtAUK3tGeLTbBChrmmYdIAN7gF1aFgfGNSPBDWcgsWWYw7VsF8ws+txiYU/qyDjPVe2Srr62f43tgXk6QqicoYxAq9u35qx9f+l3RAg2pz+JIPW//PYUKXjKbmfvs6Zukay7CEYnvlrG3/Gkn9MBv2NR7E5zqAX0zLPQgsAPOH3rJ+8L8ia5nADvXyosRusP0lKZmVuOsdU7LwtMTZaYnxqK836HH2Tg8SkEEmt0Qhl6kT4K7JgmtbIotlb5/P/tKD7of5lKUwWyYH5QyDdIRqVkbFCuufNC3LwhHjJzYV3SZ5TK69eOeyUYN7+YkfqKUb5dLq7XnJe8ZE9c06hfX+gPMLCnabm3lzTQUx+mLp0qwpXc00KVZnLmzKAYVI/4IauFlZKpAC9yulptwhnzajLePed2UC5kTN3W4EXmmHygFMB0S7+KthILsd67RLzepDc7I3fFl/dCfuc0scQmaELyTYULNR1+MH74Q9xyqWXC1UGAmDENN++RmaZpY4leTBjU/kk+9GHA4mLjsEeLKQQdVTa5oSLVJxE5q21/O1/rCeaUKF08Sgzx3T2TQhyF3Er8WF3Q2Ti/oqiRNXZeLcJ00XcVSe3UMj3c72K6QMzSppMlxIlr3OzzWLil0zDREi/qx6200A7yhbyMJnVmJMOhkyTyKkeqaS70bnwNLIXuf567VW8NvUERDrTSH6r+lAhP+idYTpmx9hikZSPgCl41G1AUF97qsZJ7DBFlfjn3jjWGkCSL5RQSFTyfGb5NsJ7LsiP4VHIZF/Keau3VVLrtDROrt2Dhd7+bUoB2pSL2sfUbnr5L4c1ocleRowTn7B2Hd/d5DItA7BsL9U56hgV8fwi1u/8BR/VBbOoWyBfpfYCn4IIjRJWZOTs3LOvxdT5DYFrbq+ke8dyW8ho+WT1TbWa5ezKmlPxKogC8FLPqnB8PoYnQgBH993FPFfOctg5lrqEvoTRz2ZA42MYhGUUE54bSD93RPMypPDQUPhh38okMPHdcCskdPyRFnHAmjxy6GzyCRBOOGVwD5oaypiiRj07swqDxGMek//Y3Lz3gjuxkMUKgJcj2Bh6VNkxUszcyqlUrCfihW3GRKsty7eMyrKT3w8YjpA3nw/Yq2uzBZc1ELuzzDF5cbaRcXI/fhizdFrBCbmWmLoAq5xh4ma4VVBkTCzQiWvKXZ/cuItJLRWGLon5NXCBut0EccCcjIgGWIVyxheJY50hpTCFSwDO+PRxmcxx4jzAQ/7XdNS0iMnyLgBCB7AQKbACsXmeonZGqTjVO5U0BBRMTmKKtcE87jWYTpmcdpeaVJmIuuGmK5pyGjEyfGkNTAe59+I3Dn75p2ksBIpHNsifRekUPcmf8l9ftdTNPJc06Sx8lzQtcSVmlgV8hd/Um13hvBM+SZ+b1/Z4Kc9wmSOiOLnhMxxarpi+tYOvfz9MhSZaIqx5Q32GkvaRS74HkLTc+ohFRLT4f7PYpSU2WlQEqBuSu+PbnkJXo9ZC3Vt+KxtQxDKtcld0JyLtUBhet/+DiwZLLEufWoB1GTy22beWyu7exP/HffiyTEBdatok+0V8RL9SS0s6Vf1474gldfbpVYJ85VXCdQzSUbnwkWjWRKERyEi1EA2WAOzxBwQrjm0xVauSWsT4YNpHpeUBJ8c8QSsgd7FWFVbWVgySG5V/GQimZ9EViVZ2sywVtTvVlQmfjJhRFLFbo+9NtQzhlsQ+PJ7CbN+Q/2SZzu8DpnxM1LzlKUI2DR0FkxV+ruDcJVrKdwxLZ3JMuZWEtICh1pFkT1NCyaUUceOq7Bgbxq+cXNsSlVAugdqLbua8jzs/7kVJmlq1K1skZB3C9eYEvb3cHLlX9siCuVPElNjpfVSuQbLaVx9nyIzwOePg6r1L8uKGNy+Fp/TT1huQFzlQziJcldtvt8ooagrNeZsyDShCapu21ubWDAJilxt5Xrnfnhfey4QoAQ7MaUAVtLOX0pmOA+3GZK+DWMQZEc/BMM+GMHyr3W9251ppIsBXwxrXglq+OjgRZDFyHKf+/CMVtejHXzV8yEUvQNYOihjBfOvBS7UcT7ReJFAlO0igG7tXrk7PQJJOErYoNLlrNTKksGa4F/1kam9+MecQ9/RJFMgBydkUK4fcGv70JGYmiEsENzME7xyKqB6aDvsMQw3JwQyYgJPf2bIQQNlSqFppn+6QIQjJcBVMvzNUEiwgqHaB8OmFSy3ruFyMiQNhpHDFmetLILQmbTKInESg3+z2bPGDTOLPpwXxIiqjARdemVdY271IjWQYynVOyMpncUnS90Y+xsqbPswo+cyD8VH7yN6HuA+KzdQIP4XsgXzL1qPhpmTZCkGbJMCvXexzCtHamZr1fUAlFWCe0qpVT/8paCYkIKJ+G5tQsG3J7mUIfPQKit72u64zDLjNeCyZaX2WeI4e6IVGF090POxfkKzt8rV9HylXGfjufLC61uyxXmMinHnurux160zcoDoc/l64CcLCm66UHuLyrYRM3pqALwWobD5XpHgCerdC5tN8m9+WI9tfFGg/OjjidjmBKeXLyClWFR69b8DXmXqKKGyjcDx/rGaJcNlgYycSZm1cBAvhfT5+qt6wns5ypfwwqLrCYzoYhS6qNVBoYquaQ9nPRoKtlHJuKr87hZOxxNo9mQqtRi4yFvhcB+/+EZyL8SWgzB7OaXbT7ArFG8XrM3UYgtx1TkcyBbCiaGcbWzuZe6YjXVCYWuY4ySqzFsElCm4CDilnFFlzl4dpNM7OR1xi1OnUDl/3YH3DalXHj6NgJXwbF4a7PmNNM7NqawPxOFDCx/G+8u8Kkq+Ys/MSVKIcaB8+meYADbrnXM0N42K8/stYzqjwMpkW+7DM/aow7yfRQc+j7FxVo9WTr10COFwlhYA0euScFchFkOvx67aoziQMRwHBkqVkob37p/kbiHe3bXXuV9BWdjJSvmL0RuoIwHgdIFvQnGseC2hwgMuvGrW75S5pHkIa4Fb6QPihwUXiaYAOaooix5KtymjvXuW+o1nGhbOagl4UoY8Z/BqhklTgQ8rCt3GT37TcR/1JL59q9oWsTrlBMmiMR3Jt4mJQLJQ/Y2kMRALrfJyJ+qT1BTveFy3YppTRgAI9xGUaZxlx2CEo0JdixQkWCehGRvjWFDCR7VzpDczeniR7Xv3590p7RFOWcKKU2ngrEkLej4u7b6YOgJJh7ge//VpR0KUCSG407f7ajXEVFGndjNaFWjMcIb3GNyOj4VOyfinGUtsNDi027I3/jIIWFmImsxfRSic6m5+w6mxzdpFt5IzuNl8yP5d/IL/yaH9+fUY9HScYHHFPRlYEw7hKDblocqViNl15tZfCwbHVioPbsS5r9HDq0+wA5VYO22OMz1S25o6shP2b0jNYwUbVGGjBuWkOav0ij0dckafINFjGVPpplkDtHHsx+nSo11RURfHsqFqzKeTi/pMBHBv0+7sNSWW/zCF7yomYsdri+5fDdmjW9MgkhxVVDCo3X7+aV1wMlPkBPbHd6XCgheE6buBNx3/vBZWT0n3azFUDHCG/I2gWzivcdPsGOREYHttPTC7eBLc+WEO+BNLJkln3oIXPFS9IYbSizfAo0k0+w8i0OXrY4/DOa5uVMeK8N621/efgSoTYe3GVNsXklAi6Dsfc4sYZq993d/7ZC1k7tHqDEzu2gNfzJdzRntFdhMQDhuLU9NzdL5+4tIAtHrEzMsSIQJOytjMpgbHNM5UEhj/dZ1eBbDizTrAUlUEpIchW8V89V6LYeLwCz7+NKBhbIRj1xZFEpsZCYKdNy3Q10z3KCHazl0xgVWs/VfzY/QsUIHcyZvq6ERa01955lEOjLn44uMRDEkn1WcCadkb6fiFKPF90O7yrmzl/GbVCMxP5c449IldmwPhHeZKSiaPNdN+QWJpPBFMVCW1GfMKtBJXbY2aoZUyv7D7ACSmVo4iWnS5tsA+4KdQBWLHH46ihOM4hvuuNcvz071kW57jVpL7CZcNoqSP8Iti+VRs+w1HNLQez+N8YRIDxKENyHe8166nDDUzX6S6Aj3+BzlB3sUolKqfo67PhOm0w3a5cuC+RRnTthNAPOa5Lc4XKMzKKi3ABWPx0pwkf60Mvx+NhIYpitoL1Z/WUX/6sIIqokWIEtsr5O1lx90e1vAVVBZrNxo+DozMI1zZHAwgjT7bZ+PnSl8e56Iecpyo5KKrruWUED9VztyHvdidHFzq+BPr0RDtf9RSya2iIUlGsnx6C0MNetE3o6Ec9GoGWvR8/5XtnzhMZrRgdxCRZBKN6kfRBN/5/aP3w3N0VH0CGZM3MAQcSMbJtwxVxLEo29hW15/G5Z4nBnSuYw7zEzIYito3wI96ljuwH8fKZumHfqiGnJDqTomUU/hB/IdRVRJB7h+Tkulzenv2l0H7k+VKGI9gRy3CQqSCkid41kTvIFwQEhU+qLHgpFuhiKCa842cwCkMbOEzZxkFr1iVUsEyorGVN/yiLll9kdOMlvyiQ3nyWwj9Dx/Kz3CgnB6ooGFh+jL1bCfzxC9qssACWjHuSS8w46SArJn5DgagxYNc4hhJDXLIoG2QtvRmpU49MbjfqZJ1E541D1NGmt2taRzB+RH1+uc8eo4AhDarbN9zUlZlH+xyaFiLQDkzPeBuR/+dNDJD7Vvwq28Zn4QnQZ/+N+0x4jKhsmT6zDaJPgNhkY4GEI8gLJpTI6nGdJsXcB+1bQa3jz5+clPeLN/+7z1lViva2/nRSWeVdsZVzHm6xOqMhIa508ycZCvMZLop0OLU7q/jyZfnNc3CtkPspt4nEcRIyYUUITZMfyIdCLfd/QQCAeUWv4N+GSV/+mfFOMsi4yB4l6f2Q5BvbVSGna9EZVrAAeI9cdo4EkmN4/jkaYym3RkAe7qP4T2zMLoheRZc4DVBeXxva3bjfYXJ7jOO8cKZAlYyBorwW5NL+C6K7PRwoEMIoLvlAQ2jbGyVDNAN/yzKz1R4UZFv9amYxHKWqsUIViDfM6Dl9xP0RlzyWkwTP0aRlTyqbaH+AOfIFAg9gLhcDTyu8k8nhMiLo1HugcgargdziXRnG9CWOUB67U8WaSmW67wvd7RVvbMB70OUrKI/yCANwFqzG9fG9MUijA2CmCRq+tTFDBnXWuJOeP/WT43p17/h7bQ4BF/4yLLRM6JNCeKe1E8tfEj65dSJiJe3gXQ9HqywKSEPfgjSPFxvnfiz1/4QD9a7m92Qm9ofXsEg0mRKQ1TBVpcpE7z3CnnqfWtEqovrzGZ9AwZe3A4Yg2IBti28f+sctSQ3R4AitKzURa/nXY4v24FnGtudfODHQz+cQmbi8rlec0RhRks1vegOL/dVTm2hiBCY2JlkW/ytSCMTtpZZZi/6qT1coD8wUVMGGxrXI7Ajde0xWHozii17xnKGVNYgxkhNDt9mm5TsjVGwmrAOIPwbaRhyLYmAorRi6wpcr/kO0uPnlklqrKRA0WqLNbFqiiClykGK09/KuN0pheRNh6D1EdlRBtFjc1gAkcBBdLP7QaQENB1bsXAbTswn7qnfdF18Z7C4gPndQAzhacKbsrHjJE52SUhM6Z9HhaBCE/Y2g7nroWkI3fdAkpctfKbvqLJ65b6LflkK/QZ0MEHUyWBw/Dka0wFbVvFTRBNV+2804Zoe36284Qevlt2rz/tihSj8/35n0QlQh5I06KalBmgb4RgMHrzIxV7UC6w0Q9fWINmPkNW8dXTz6Ab3ssqtvVOAurduwLzUWlYot4AL7+xOdyd0Q2t44bdW/2qE2n24iU9c56HASWJbNAVww26T94fxJwfz2meQuDTWxqNDWD0g1DMG/Yk/Il0TMZ2qGLhBuLnmwRZzWfWS9KaIBgIGXDGI7DdZ0OEFnGm72yjxuupEyz53uBDwb1rjgzzTvzLkC9OvfjEPon3gqvYfz3mWtSrbu2K92eoZiEQdgTwW7lf9nTFTUJbT59NwOCFV7FUFsDrp8qOgzV6iZamtFe7905gIxV84d/corM0ryhlZQMg/y8hah0DMQAY8cBBXGVi5OhukQVsimLsT9arZtVNu5zfGGijrA9qxOUfCUMQUBPC0hWlpqcUHqa4Vu//QcReq/mz+HeF2cm9D8XPyiie3z74th23S8jrCPu+X18cE4ayAi4dFOF13EyVF06eCmyBC08AVyYv8lbcFE19j6BF/mz5kehTHzlzm9c2aN4MlR3BrwVzN+WMwiyrRdegYzkwliKtjIiwRk1vVHh+nNFgpv/avRPuwhfXtqAWQh+ybpbFjZhmFVkYUKfF5+Wu8RLk5CQrPa26XBoN5edFYJwRqVZ3vJ6ppi3PKw3fhr3XhNK1A8VcUNKLzOsiIwUyG9BGSSpk3IzETTH6gVQIfrgonA1SA0pvF4GaTJuE+EQXIFh482jt/KeE2waOKoeQCJ1MPKPS1055DNBGhg5clTBUsMu7eJLjDIeu3ZVuJYVYiAuh0FOMs25cr6lNJmjiBKMz+4IcsmQ5cFBxqIP+KA4w+Qb+rJJXOfpVXio3u3jzZrJ+eX40y5bSbw4/fEuqOvHhT94pX/ciYbTrFo3a5CjvgdP6pI7rTLQzJsFUHg11C/ra9LZygVm5qK0pbI2j/qHG55YhaW+AV8jT3HgZHMmidan7QAhJei2YQ0BEMSNd2OUqvekc/tFkic7ny9qrGE5e0WDrCZe155W1896ZsG+gnKfdrSCbvrspHv4k+Z8IitnMAPXEjZytgiq7C2w7Mka3d6hRbYPWxWbaDpY++fK9WTUUoCXNtkNPznSeFp1CcVVtKngCyTELREpMXgZRIz9BpcvvSSpH9aMFPVcoUYruHYOjtxoQBJGBlWcvq9fqLdOIhc1n+4vYqBLVtnbd0cLHsNOeHHPsHHCJWQpw2sgtclPkFj/eYIdZXi9BwgoGGQewFwpsHSMLbeEG4Q41AQPf3pC3JMxwyF/CloyHd8YETuigizFQwu1Wj1EkvNBMa/FoFOkSc5G33irsqBKc6hV61dPPrxhsU4t69hL/CQQCxnyFCs7U2FREVvKBBBXumdSH6CO83cTbqQVVdAci8mVjbpyQ066tXDU0ZjKeRG1YVPphczAt57pAN1E8dKEHNSbXja9GUOht4as3f7unz4qQYGqZp44Y5fn5ZnFRzZOJd1l+5HBfZEitaWu2aC67MU6TH8OcYATbvTWcTaKKbJLk9gVEQ21R3WN/37VYUub5Nbhg/15gkaYTOGqxHI5PxZLh8IX46vY7yBxzEy0C4ocqrizfLJzojbjhslcroyNxyjLOuXgZaOJlWoe+lL/Z9Xc28AiZFRvAUYBo1efehsFukZxJyYIpqwWZK9aBhs0gsjMcPkNx6Z6EhhTGZkmxVqnwPJwvgrUATqjcaQDLPBwBsEQiAtkJN2RoEKEZkOpaHDgWtKdJyH5AAKwxYwTOtcr4g9dQ5hjQfiUvPmxNQku8gf9nprSdg1K5kG+DxxbuyCAOHU92wHD2kr/m6J8klmYsw/CROKpX/zXRHZTFtzdRQPnXgY3WyUgm9oMa5EtKTfhygJamWjSIA7znmDj+JLFdunSKTgxqO9WIFu/1lx1jIY/SVNi8pX1VLlcrpsGc8+xWIr52aeWKxFlzDh31TKcDAOb9Z0uNBWs7HSdtvI31mYRA1VlBhylH3xoTXFnFFZanSiObUs3BAcyobh2nt5GySuyyu7zYr6yydWkOAHzWyBfCEeTC2RMDdls4xNDbu0txGaBJdHQlxd72T8VarwolORfEGWHOlCLsq+Nnw2k9M7i6iS3/0COarZDYdsQWkmG98BCyRT1JEZ3KxdUuDmqfTB7utEVd3XvDSrxfv5xTT0w9AwKjwbOfrG8AQKnXBb+gIDmm67IN3ExuxGD8t8J2FNV5/xkxGpirm5vuKk6gVENL95NgKjz05I1sb6yZ/yMNOqsdPrZef+ypsJnQq/+8VKGAzMkuP+MuanrEHHKEJKSHLvAYxjBnXavwt/WQdGkB1s9R4MCZ1JyhUAu3agC8Ic2YniIwjdJs/9o8EHT/i691QrdTWCXp99bgsGbzOWG+e0tlYAAcnRNBQrHkCrI5aRELpoHn7icz/Btyowvvv9kUSu0qd09TqVrzKzwxnYvrZFjZwHpKk25ST27olpYFzZkQiDEBjInLfd0Mq3xwZTRFgv15bj8qrt1RvEGuUMZfOgxaepjIhP535teBTZx9MXLvNC49APHmI37dWCRCpgPU09kOqoSJ9bPHKcR5psEUSJoDWb/5tIVkHcTbGqI6CgBwSnswokeDl1RUtazlT8NVrd+N43rybxjuwEAJPs5HLWn8pEkXECC+hkbYBPbxkDTasmJXV0tji2QP+k9VLkbEcu6BHBpwkwIP8zQWDwJCpy27i/KDLtoJpl1tZNhiRPtV9IlD25VP2BDv1mj3FAfNEQS+VuBO0b+8xIocV82bWoR6+Td07L5fecjOPkrRQd5Ne9sYoX0AxUK41/yB/eEx9fcrZEHIHMrPsKm1neIe3L96KnPEUSnVFV00WrUcXlTVZZZ+pTJNtgDqFAjJPREAKE3IqLAhvPC+lcP5vxvCjQZ0+sWhE5sjwQMLsTfTOpF2m+QSVJutIkIDgvS+xfX16IhOEOj/2MYsb6VV5yq3K03jIi0fIRJhweVySHK48gz8nzLyuZiirFBkT7YkHCdJxBU7t89zhBVRo8nTyaXIykuJiG/JYhcXgra8m7WJWk0g82G+laDWTv/8+11uEAgL5YIjjyLoQEB0Pdgw3HcMMPSTUlqrJGzGrKmDv8e10Olt1OZ1mJAzMqgbof+txnQsiVl2dnvDS5Cgupq4KGQ9Bno0MUfbXa6kytVYRtNds2ML/MtJHmWtPrxEEWHRS+2tn3TpWoBaZYW23Wt4nqKM3hG1jGHr95PIVMUwmyQJkkPeJkriFBI4rEx0d1QU+zsaz61CmwhBpXmKJ5Lu+V41WbdeSdrPw+13W1bDxb99258sAG1vjT7+5jnrEoGbj+/wo6DSoEZoTaThWQ8IfvbIVjE2YWvDROzVb/TbL0ogIsF5MZ84yXPGSphct5/IQ7A53D7VyJt8I94EVw3KiQr0smVZfnj4fZxGojyI1d82dG3HFC6Q6CCwe4tJeAeBRZoLU6VyQPEdAmSdcF9sO9PqhS63E8kWEyZbd+BDQPuKVIuHixeJB/2zfm3vDyASurjppizzyNRTMUP62Dxa4rAQnVheu9uu7m27yGyd3w88Gs2y38YVK/PylgIMrMwddo5zZrNEmEHVPMUnHZ9UPFYAa7P1kpzm6t6Z+ZRsXg6FtWhSC+yIHGZ27h2kJoevkicFEIyg7b+0pJxl4CsHpTdWchucNs9EjKWAaZPd6WrsLvgtScfvJ+SJeckPFHli56Bn+fMCdjPMn7YGMyJJSIJfhi/ZYZ6ym6Ojtai2fusV7qdS2bfpz1qMCei49N08+Xifb+3oxAjoYppJpNSzg6xCASP+vNeZTGRRpfmEcdgCf3tYtcX3wWBqgfPxrlncxfa8PUupCHPjcav+fFQsDFV9hTQP2KlKaWcb95T7ZujiwfvNg4meH5bL4Wq1nFLVTMYgGmG4EGsA6UD3N9ox6+TCCtw8G5WYnR9izs1yX2W0dHPWy1B61y5jaV/GlH+qHfA8chCF3tWAVIfU+zBDxfgoaVGWutzJxBnW3EVDTnETj+UykABUvbxiw4EwqUIKy8XjU02Djc1SIkeyCnZK42L7NOf1zJGKg6rA8NSi1u0VO+lwuysPMVU+XAu0+pAVNMA86f5kn16shCJ0Cemzb2CbmtKUqBeYGXHOOzleP2xAT/7s7AnzLt9kKaJYldxWEFGcJPBqDRzpkNX/5+t4dLhIayIwVzb4xrXMHOR2U5JYC99wNAngIlqNOB7K8RpnJpLvHkQ3I4daDLmCEgJAm3ORAV9o/fxLYuWb5kBAftA4kFvM06gX1UiEfWrv788hpTfIIh8Rr32qfw5DAHW5FQju318zwuoXonstQB0Nwnk2puFqWxFCsf6dVmg1rRXKbGLtiB4J38mEN8lc6qxonGhnYvpyrGPiCtWxtGfVTXhQgtwpAh2UCcE7HVyX5LEmFrY4G+uearhxcjDiBxOamAoVEWsLC3K5f4GR+0cD8OzaSNMzPKGysoA/LXX0fzoHIfbYPmanXUU/2OnChNUmvBaVNdyyRD5hK34RiLNNAjBABEFbSzmXXSN3zsFVwjPyHLbOP3XZGGLDXa2SaEYJhYSOCAFiJyV2JSLY2zyUtBzD+4whKLodpVTgd97Mp5v9A3hSaVT6+E7VGoTo4WBHKh8HFHUxyIW+QC7o1YI5X9XgF06kEaUw2Vr0KISTXA14hYapzKe3IqAP78rtOwbL7cyEuXSf3yz7tx7zeBJV7nWFAkb2f4/7l8eaTt6uhfrLK5GeBKlgTkzbPEGBiuN+TJWyHmeLxY7K7WNtWNybQ9S93QWWkx3cClV1fWIfvEsIXcR00n6o0/r/52Jc+KQAOQES2yLrL//R2fTCQO0gijPODit97+xLhqaa33/VKLVrmi8FNKXjDaqyqbzdM4+NRHOcIudJjnTfnLTHWgFzZ9m9rs/yTp9LqzXtOze35GUnMiSQTHUTgIyfl/Kw/9QVWM5YWdrHtPbTs4Usb0KyDDEcyDCWA/Up28h2tZxntJB66C97xSQVNk6zoxJWmXIe1nfX3++YoSwAfOrGKWdaMrmFweYSXpmDm5Dc5IJpDrkpDVuR/TtreP44BoHq9bBb9V778MTNkgzK7hE2Ljs4Axbu0m/kDc7Ezs7n1lVYSm81cwYRumPAsXzC04POqC/RThGnphuohHslyeSnoV/fF3SAE7lDLkBYvk6asV0bDae3LHkV6g45whPvYdfRXf/P4WrYAeyeDxGj3TlG6OSWoAoX1jtIkWDa5dNGGzL/zqRtz3gMZUv7NDKSmFC2WUUJOa51qRp3VRIJUex3jjB/Bf97g7CnmG5mAE8DKaoMRXi0+883JAn3xkNMCy29e126Zlq8IIaNUwzzVCOmDptniJU1ml66L55ZkongjEL1Tx74IqQlwREI+U8TJ+VKkVW7hK3uIW5nMgGlIFXOFCUNxmdfec9b6g6CVAJIvSP36opg8PUGlpLht7vmfuTDoSkXpB60ngVUkCOWHY1kH5bVLsY4vSj5c9wpJyzlJvcfLiShb3vf0ZHxTKnrDGtC6+9ahK3S3utFmOui/TXj1zQnYsr7+S50RStYUnIlYel8dEGmUQFwJxWuxRSCi5bc8Q0B7Oy1Nz9Ag1scmPrXbLSEfQncUYLQ15M29Oz9TNFvElYR+FYIjGQgtuaJnbyM2GDrhRfKyrUkLYPZtI/BTCqxbeWLoIyb7husaUB7GPya/m/BK+Nn09/oXPOTggMBSlfH73/22y4v76nR+nEoe10E815FH+8S9yQPLyayOYGDSG5v/uw0i5Jkg8S4a/WZTNm6MxYXlR8cWaFDxM083sFTJlAEgv12BRBkHC7qNbpmbKWFR7YwCehuTb39nVD53zmicqWcNqy4aZEWt1mY5dDVAjp2M3sNaGJB86ZC4eRmgoonYgIN+NOwm6IlXBEDhtI1nXn4+mt6ncFFyJPagKN7dCxWzxi2bVy4pVdUDuSRwvJQhnoBn0hEM5ZOd1QI3i4gkqtKnAvsHLDCH+GSXoC+iMvqmXfHIfIRfmS/zNkRoLarU6BKTSl2QYOg2RR2HKJfH9YcPVLn7EAGG5GfUZJAIbwf2baA0zOTznnSkbyA/z1lL8b70nH40iNqmFxrtdAmQwBtMNvJXigOBHsgM2EwKa2aFCa6XVsHKgGOEcNMkeUacYchAtvitYrR3WczTIT8Q/LhDZkXAPwxpULLvwldZzLgUAxO3Gr0RKeYx+ud6JLaj8RVikFfzgYlWFwwx7OVQwN13R5+nmFkGvPGMhxuNe69xcjjZCC+p8AHUKlq9zY2zK1fKjhS70kUAaU5r3sVnTHhwqVf/jtbMOVpd+c1NihQ+cljZEoBak+mYAV/BwJD9fTTXfPX620RriqzRczM1SHpwIF12feIXa1mNiL98T3lnSygqBScWRg/Xn8ftoCsRejKSjkZymZNPlbA9RBuPkCPrR726kyyjqxVf6HiM94LhXVXgv0baV/iT+AP7lJwj2F3RHnvNwxMgZ3scD2sw8subN/AUuDVeUHF6BI41cQA8pMBqwdJkZEr1x35Qjm6X65AFz+zqJ5R3uHevQc4Pw9ji4+i+kXe7/0XqBO0/bUNKSsregLt7Q2CVIhBgMxyLXJ0oU0K5TYYdWv06LwbnrIQsXj1InOTtIm02raXo739KHhYXF1iEit/0W9bN2XXXNtk9/p3OrfZL7s2c6vEy16gLlIRxpJyKAwqKDfsm8GCQ6qR8p9cXcpW7e8/o/xWsddkw/Jz6otjilN1Ksqh2e+WbEmtCyFL3mEAjpPWE6o1vPbFPLQZPkcdslKObNXDJOC/78axGIb2Tva0zpwDnbISu2rCucUrkzRD8sZOvU69sOdaAJ3vW4YLIMTPYk78Bp0kpnjI/ETqADrvsNSiXUkDWlu8AsMo2KAse9JxetxEjClGgWAbTXnjHZTgPs6P+9RssLEH2/vJO0FkfYBaGWGXLOnnxbtOqViPIDIcf+UI1KQ5JoAV5APpGzetVhUkOcce2L42M5QReiD8/dor/7mB04kZgmjY0L+YIrrrSaeTVI+OcYvX0y4xkBElVCDOdwQpUjm83HvBtO8pHJVea6TlPONNhikh1B4noXvUL9c83ikSGeg7ECnsrW7KG8lASxqIbtuuqwxDmO/AtaTGjUHqGGAW3znexw0CVLsFQpz4xgxnA2q1YpnvMJ5yE48uhc5pq3Wv16zNIFjo5VSbDCl+7lE4nD2yjgLe7VK+pdDCSocn3A+uH7XYPIEAuLCWIoIB/eMucuSqHl5dExE8bCl/9sa2lTJjJ+pJ9bgP5AvzUuKUtV8f31K80+pslAkBAD0qXjqfy+H4wNKR0IWPXyYrJ4qrOGus9CxFqNABTpgFIe+rEaE896vwV892v1GQmGBayk4xtZb8iRY+UADPqh07sirTE3QaMj6HRA1QBl5w5DrChTjWEowAlatUWPyyij56RECmkzn/CosNQdjh6ySQE/M+ZfWd/9kQLLX7RWebB9Oh6CVKs8Ch3/FdF8HpqvkSsNTYEvM3Wztk6uFuOtR27yCQJ1uU1cSI0aCuQ3FOznLEj4U+R8iEU5yQkl0EIjr/eoU+VSNd7WLAe8SWq8QXlIXUowmKWUu6Ii93kZQl6+mi9PtDa6PKcCb5yMizjhwYRXxYiNyLk+qhEFxywDu4irvRgb3HxU6LJIRzUVEz5y85BiNUAAEhZEfmwaBYxvTJwGXa/rhlpd6VtTxDjm7AvIfJuaWN1YhGIid7+bHpSiu38w0eszvunHgxEQOkxMfF7CvD8CzgT96uIe9FQkT2CZ33d5wMl3UJCXbw5aXZLV0PM4uaV5v+pix2ZC8W6ZQiSAuSzQrhGPge/2jiZa6h1FDGqZBuccZex7RDi8/epGN4VpobDD1biI6dv5ptLM0U0Hbb/1qRlDAG4YzFHHMBLHaAZRrZARnv+S2vk4DcPKrnCbmBmYC+Nis1wyey9cKrHqip3bqY8xaxq3O6kppZ5m6AqEU3Ft98raYS0LTi795gzxtIRlIWPAeJBERCK+8uI5zStSm9BOwM1qVDjffnzvXL2Om3Qqzgw5kNow6yj1qIsHoqtInzJdF+qIsUwl3JrSG8uW4s9CcIf1OyLrEO2UKAy3sDXBxrb1QLvN2bFfiyqfcJVk0N7NogrRqcNoOY5s/f8tbhxOzohidTdCpIu1sAPnGP4VXxffGl95/AJZy+3iVdaNtJl3ZTG1qc+DyAw68wwCS6gXbzL2BxiR0TMNKSlp8JkCvTRb/RDkq7awy3Hl1CMsL2h1diWgRy90y+csK4tXbygMUdUC0yf19X4Vlh/vkuTJGBNc1zksedTKNJ28eayIB2vKwsEMa7DjjKglHpOzZdyG7XeGvYpKEh6YNGLY53f54ATPooPdAIhEbjUiIhvPaQRQRcm+MJFX9axE4rRvl/BDJJcNjUVE3CScOwdh+Cw2OHQmf241RRoxzyeY3IEsS+a6Bj+gwZYwXwUIGihstLljeQf7o5gQhpKoK/Wyy5lSkJm+eb3b/fUp2vDjKuaKzR/lC3/Kmbb+EmYMOd5czRgt0oGsPLUIKV0rnDz/6V9yJw0MHnsUVef9ZnQoXFpMjUl8a0fNltuwoukn23VnIle3qEX733lTbuJTegg22D1ijUBQedPPFunAtZMWT7Wh0VNjOydzQWabUM1PAMCQXh3Ht8ml7dsadwmTfUTBmHx6o1VJL0mO1uJ9X9P8T5kGW7JNbrdV0mj+USRIjAmFTa68JjJjvpBcW7CNIlttVgr5Zgn2k/YsRbuQVjwzO8axMicHQ10hN3+sWo4GZue/l4rzpft6ftBZe8PjYes4h1V+RnvGMqKRdRRnzGGKzKV1zEzSE9At80dSHrjOEG4nBf9T+UbLN1OI6bYsQuKp3K3hUOE6AAEOhMUPEjms7lHhDPoLn3tNtgfRqpMNWXRhQae4HWGJSFdIFql5M4ahpUfwMa0zghCQ5WXtyF8+iKf8FXBOmMsNTtc8ZyC3M5AXKmJtrRkX3Vluyi/3Vz/sZLboZLFegU97vrsp/4CmeUdPWp2h3iJ16jqwzmRSOgHwW82y37rQUVRnnppoygKSsxIOa5MXN4DocSqp4K4d2H5aWnuNjQL6vWzRKZVeizvkNPcosW5ime8RkT+1dMiNRrr44d3BjjHovgXyRAmqhMW09DLm+cOACheT/v+9EirUL9pbbQtCVK3DqJAXz5dOfF5yUVav8lz/yxd5xVCcBbpkzJDcUoQEKEq9F8mm9YAY6Y3vOpWaaSek56EhcuwQtqDYin0GFNsdOvcYwB7GFHCLFJKiDwYtjEmlZQaG4fATTA1U6zLvXHKy+IiDIc2jss+LBz15Tt0eewgHq1gV+PNcfT0OacQN+LRDJPltOVftjUAxgV141MFiDhVkIoZeV/eEn4hZhYA2iKFSIvABg/3WmRxU1DUjMNqdrfupmSzH6xEU7/YcxWhv2oFoapcNecdfgTaFBoA5ov/OPAjD7A+DQb2Sh0ZUp67qu7AlT2FisE0Pa/9dvmh8QZSDJhZFw8JBJxuXuQoQhMwgJ4WjiyRm1ZAbjwx6+GOZOgOaTiVtHLPSmSzIgMQxCndRywrRA03K1ItCJaN+T8GnafV2FoScOfsCap+grbDW0fbxbOmkiRAtCQ2LK9SqNQejWF9v3Ukj1iVMudoKXluwAsmBKe/a73QnhAZ0+4/4oWbDZ+xq9vX1tj6pILU3haf8xYfOAFkor3JqZc+zadra5acRJ7ecW4A4cxOgVz6k98ceBX5skqVqFNXsH4DtK4DbCCa446Xx5MNOLLi22SUoX0X0u7e7dph6zpimMuGZpKCt/v7bqqzIPFbNb1W3AGvjlEOhmYWdXAbN8weH35GMGdL2SVfUNs6ZWi9fhh0G16IUbWc4OmRrTDabNmlIQF7SGty04qBJU2hMZNrG5KCA0QKX/lQUsW0T3x/rafHzXlwiauo330B3qymQTK1ZtVAq0DP7QthSDw2RrW3FU0mM3NsnP4crNM5gJCj+yk1FylFStb3S0CAYilvPDlYNEeAh1KJljWElSUGisRX/8GTrwSHsuz/i4+CXn7YuukGANrEmT8rrp/YueFc//5WsQLnVpIuPiI63xI9QbOgMXLGTsFg9z1N1MZyyYI1QeMjqBSipNvWw9cd4zwc20aIzBC4gayAh7SDKYaFI2Td5qhPrDey8BN1qcke44mjYci0mnns367ww66jI5SWzq5WDLcBT1Xc2MMY9KBK1ZHdAqLUpvl1QUw9+cCpRt0YuGqwJmf7FqXNvGF43f7MU6qsy/zViQd+1NJuYP/7vnaQCEpD5s1jLrvJdo7uvT5ygyPETCBdDza2zK5RpqUE14DowrdruGTzeqaq/9T8GyCviPPeXI39kiGDcTfbzDv9UwklGYlxW2JQ0jbcdqZk3eGX/0S17jkrg6XeqBQ6XlAclqVg2h8FyS+VbtQLTX20hExTMOIQhc9a0K92UFdbFHPfo9nWMze2mkzcFmeAoYmptfnA9ISIBqR5e7DBXm6eOpnAgGuAJ822fRfYF2DnlSm93q6txiwS76Pm6C5km1iPt7fAUo81fHwbou0gUZSssF5cToXboSd/O7qC5p1WaOGpH4sjAD4UDYIBkOV7Evu2uA/QRUrbmdkIliZ4lyfI2A6zOsmFwc//+qmzyHgW9h6Was6RzcAreS1j8XJ+rS3SASIIqKtYTMLb7RFh3KNJEkpef60t5uO6hHfg8mOBl2TkIcp4g2LC4koTmlSfjDjfmdu+32zUsTc5lMO2PDASv+20x+0bqBVcTQDiEDTPmOEabp8aQJTbU48aZg7aF3ZnrEoE2cAamDC+4kpUkCLSV1dAKTubrg9xr1Zcj3V1AshM27kvq6KSIZs+2oku2K361fb+tj9UR8/xLslj6XehpPWsSABgQGesC+nVjgcX8/ycVm0xgQGAn5ttc4+0u1BQZQ+AcI0V8iWQjjPGgxqfmjA4xDlDDW5zPq0ujUAN7+VfwPPA23MQFmRFV0bPFd1xfLZCQdP1k8qFgyAfy9wZlaH0lk0yoaQpK+Uw1a3T1Ex1VBF5r2yVS5oIHFDY6nz3ZUaMAgO79EMPnviGz8QiunslajGc0/QvAidRiF9IkIUuIx4pGwsoX7x8PA7WNZr23rdU4JRcAO4cTDMKQnLD83MLfiPze1d8erkVkmo4UQ1+og0QZufXhS4zRxyEbaxzzNdm9jmb92YzrF/t1tZg9n+WvrHYrgTgiPQkCgqKWjUStKn0VXMQWkWOrNAz4laIwisOB8FqDgiiqOGwFOABk7xBTMm6j9BtdLgzBsm3vxv0SshUw3Z1YU1SvA2jLCT3jGa/WJLuYr8CohledWo5LyDf6pl3nA0Bt+Y3catHkCoUUuDK+FvIGpf3+IGW9lVMoO9fHO8IoLkaha+l87LGNYBOOqrIcZLSGKNmQ8rJE9tIUMzHjdMvZD41qADSXQGHFb9f9i9n50NrXVAoIjTPTItrvG2hXEynbk7kF/+4yN5HyrBT19lEs7Yo1MlxCGqvMDCxRq3gNMLovo4Y4Hu+RWGpuTZcDMDSRWGKHROasOAmI+qXPDOGI81hfrFqzAyZ6CJYADcGshwQZCdUcEbJ9E3S4opYDjH3kQlOGaLHPetq0e9Tp7aeJZkH+v734ymrroD0zN9stFDpAWtcRSOAM5US8GIztCGdKoaAiDqsuECAzFJrSd59Og/rXDpqxbt8912TEvO2awybBb1nJOu2QL2LK/tAMMoFMcqei+adnoxr2b7lAPeN6JPhH35nQvx+7SXt8LrrfMF5pM1k4PlN2Cfoiyu2CgmgVwQVinT0Nf4IGwJO4o5TQWV0nQgYpG+6aP+nnsyJ9bBhQqCsvTLaoPiOQfr6vh1HkKvtY7A/B4RDDu9jHognY04g2+Fs27EB1v4hFfsi70PFgytyfgavPQBTTIGe+FWmx1aO0ZF2IH1fqdCEp7m9ZMORUB/5xcXsBGoQRguOOYsSgilLucxg0cybjk1RASmTnMvurhLpEXHSK3/ei5Y3tkdyru/UK//JjrAg8njYLejN027cQe/JMbevWbV25BTCI0ahPf/1zoG874kOSBViW1bqsmA+zDrkuOdn/cQ2LuKi2+Dj4LjfTCBnN3SmM59cqURPT6yZc4XhhmPljxAzORFxVZ4IRuvC6zUjMx8YF7ewwMjJltswyeaOfDIgHCjYFdJHb8QpLFVaTvqtAJI1nuszBBziqSMoLswwk93UPTKJFHdK/EJKz0l5wrXDdA9qZj56EX3Q6UrGpXzyZCdpbT6Vz89/ES53H2ZIJcvMFQXqJPvCbvDwkUDvSu4oneLLd+u0KXMwAC01/BnG/7oiRLrMr/jr+KeGwaj9wbnZzFax2yJ4IR+QYmbut1QHOPrfUiCStY/y2HmutqQAnn70qY5S7LOmfhtEN0cVE1yG2qRqXKv9kJmKqrhjKByfvYRUfyLmCuE4Z3kWLUZgn9h1qPUbSs0DSFp7f/yWQaC7AfsoWO5/P5+Y49O7mAPPuNTSPghNoqCfKecDmdL49WD7tDnNedKQT/mVbxfWkhXXFIMbyD1gp1PXfFqcN+ywinkO7FIqBxX64Mq/86HIPHMVqlAB0lx37Uy+XRrj8Ka8gDF+1yBL1U7c7SiE7AyHwRHwQUrrqhfjBbI4+15pDRpWouZUuXiU/SHNN1oFVJ5uoT6prTc7QEqjhCFJhbpffmgDlhILP+vk5xEV6genk+zOjCio39WF7OuUoeE0ToZGJo3K2Y601sPhh96tcN8ylWLeaYRg589JcX6ofEWehh8MMm3HxZEY+OkKTXisQA/EcPCIddBeb5iOzxI3tZKs8i2yuVJA0QI9vtG6+Bze3K3+pFYdVcIeOWSJP1mP7OdjcUP7HktCin+RuVbB+M7zsLldVkFA8EpgirNAy0ONnSWsVybVTrDTuUBE40NpuHbcruYE0U7hyLhhZdyXBqimi+IyK2e+idfdAht3R/iRYtYQ/O0COMXmkLnRfJGb2zvo5oomOvHfFdv2R2dvUKu5kdfFIq6J5roheFZrQtBb+QxKX8NvVKPKRGAbT3zwVFTKS+dCLnnop2KjTGBXypxo8dEJm+dEOUWT6DzkL3OM/0nwHD9I5s1B5vZGo4wNkXZeR3KBmrDFs5725j0dv09+tcwnmOx0061JGS2Byjrj2SUqcgJWmY78O2b+4f4Vu0IUkWCNkyY/4HOBTT/68t5vRs0nAScXLzo9jthfWNsZu60DbWvhTlJAIVJi0e6iLe9TcOeA7U7eWmR+AgcETQxx3+xw32FWxRTXFeTsoJiY2Js6tCPAMBw1asaFFHvYaYSkpOCelN2Xdc4d5oLiV4nRVqXgUbnURC94cNEJ1qEl1JmpkaRD8La+gYwpDgaC5AsMO2fPNTCoRNy/4LKm929UFj/1QBsQdzb2eZoYmC6AS3SThgppHrr19jOBpInUrvmNXByMMFz1hH52d7SBbQa8FomedQZXgB1LPYcwcYKuNj6tTtQUHBWm4s8nnaA1BhVfyXNOnRYVJUOTdo96pyDXqc7zVIb87ovPpp1iIT3FFb+5N602o89b7zbwJIF+sotzXGnCnXwe9+R0pxVbbahDwkbs6k9wArC626H70ujIMP7ta8cmB7n6HU2DYgHZSClDfX2IkUBRGmT08wmv3h5KhD14pdjowCCM1bhp9DUlB2ILtJm2OKn6mf9usd2XN4kqVYsXyinTtUr7H2mgCI/UYHgYzkJBRZOhCndXOiu0z7thZJcOUkM+3ibJvYq1JevPVY13ICuGQ+Q1RPgA0/2tve2ttcIbIp2+HqRWktNTrPNBqXehvEzCK4z74K/p9hxxoUBktAnWANQKG3PIn9z0lvRuLR+vGXu4OtUbTXSDQOg2Aly5phByVu5czIOdMeeVKlssJ6mrtqiwiqcJ3Jt3pE5GW6OHH/cv+Rf4p8Jj40r8QjJbhXQIGHi5D1Xf0nLsXww2VCHPNB2iC7pKZAOs5pimRZyIoU7gFKJR5gJShD+zR9cn2ps1E65NRfhCFiMalC5pGvNOC+d0mpJZH23OSWvROdR1Hpq94BwuEFrs0iHujN3LBD0W8TyJNJFiFGuo2p2DzpKRvU8/33H6hst3utGnghDViq8fhZlchnMSvMQBFOkq9H1Vmn5xiKN4rVk01FTSG5wOiGc2bZE1uii8HhE+e/gtZ6PPETRx9N9SNav1io1Wp7QA5inQtuKUnJCzPQ+3MdpMsLNPm4wIRX2eTWAL72aBaIQf+iUFb+J3u0vx1eoQThU6E2rB6fH7COjSFRCjRL59+oRggQozzW0G4GIe4aWwXSh9lzLZlCHq/xgTehZ265i01Ck5y6L7tQKhAjMxSGQTOrZkAkpG/4rQnNfeG7o5f1wKKMIHxjpQtehVD38ZDW0nGlB6afrgIUyq4vESR3eQgMgJDKCF9RFs8xyT57tNgf3MxdokZSg8vunhr1qToVtQbERTAOYmf2ZkXpRRdcnOMwAO1R0O8oePCE8O5yBrI513+0H2pp5ZgmfTcBQ1m9CznKHo/FNtBZlmOomIXB1VqPEzxhz62ZsGNG2lqma1sKA323l/mAw5CrizzpacSDUBgJsuEVk3HAmm9LbcEiptK+a80c0sGqzL4LXWrBdu2MBNt/8/iIylfGoGGp94nN3o++Ua6vbagl7Ng29GrcjGn9xJinpfTthh3nT1dUxF8u+mNiG/WLF1yd+fBUH+2a5LMkcz4viEOrxIb8aGqgzqtFEvCNaokeqwo0JtRVaJgqJfWsWOboJr6ggocv2QurupGUwsWFWQUZYgvR1NN1a3NT6V4jzS+78NhXOjn3Fdc4oTX6qJQJL9VbZqnnag/czbHJV4mb6cpUGFEjXZ04MdwRe9Uboi6cqNV56VcX3xjNTfdQkEggjmr1lyPgjktOVbhQJTCnDTEUAZ/u7Wk6FfLXX0pWP20D13VDtDZ7EVJIJCufFdIYTuWkcmz2tkc+OoKr+eOWzwUvK87hTq83n+gVh+lX8jOyTtlCBApJz/EIbYj6PAuOFZJKfWWnn2jG7mQ+D5LGQB0ocCO9k0EBUtfeb1xWUNPVlh+orB3QFMNrnVrp7tR+y8qztBQ+Fjk02QwkUvPnv/yd2qiCYHmBfibqD1Aa3Wul8tsAqCye85EEcyow4l/H+DymfNIUlccMKh9Y2ASWpgM7cc0idApqdo0FrMLQgcwTwUNUTG35P6y0c4GosWHEjWuos3AiI3K406NsZn/fNDsnJUUNSVLpCx7FOo8kxpr3lIcF101eprsmZdDE6Ea07c08sDwqcAecBwOYrMdSwvu6xOnxqgWubA33/V74FJ+jJEtnu4Iz+BSG33ODXRIeaYyTPc7E+ZEligz6FrYGD1zUyCYfsupKZba+1vzVvSV3leGSfXbsdAd2m+4hZoOE7ky7vPTZ5BFEIEfaoEO/wsgSk1cRZ4hAZZq/NRGM8lLXpIyQ/ZmLh6F1o3IZZYbpZ1LHXOX8X6YuvNq38YDUsHkiGyPflkyzKPq/ETuAJO23/IHiJuWKvAz2wWgjteh8NKequHQmhbpVLm6mT9fZ6A9MCOtxMhMvrwEx8gZxqXJnFIUJQbapOBCJbuUO4pthPq52OKa4B4YDtCp6liH6KIuPmjoBhy3waFS6/JoUlp6cGN+OKp7+J6y6tYloRMaZhJoh6O4iUaALBw+UAZo+WVMrYY87LwweutugslztAQuyUg5XjmlKDk22Z2P0APPiFLy+RtrHZ8Xp2zsnzZPSpBApnNRRMjO/eMKRmzcrblVyMyPh72QSesOi5HXUBIapI4Zx+UJGFnDKfxR/CMYuGE9xwkQ1z4C34Tjg0C7TtfiOIHHgY0Ym1AOxL2Q2zWYvcNN1KGd0zukCmEBDVBEf0L4pAhSxheOw/mXOyJCnbED/YfaP+apCky77MdcVQbS2ZmGfKqXyZrctX3e38OdeKMFVfdgGIckBaXsKDG4fQ6R0Qt3yST0sFiT5qQOB/ycyfR79YGeLo29fNGmDUJRFbQrQv0FgALPFNZOekaX4byWnJLUFt5lhG6LCBuFUqT3l53r1gEyPBstiTBdqg02hLcHkiDhFUYGAmNIB9tGpQ0iuoobWB/5Zvrm0XXx62fYjuFH54V0Kglzd1GxORUZl120GW9kc6f6K9yJVqBTeykb35ixbo1esUvf2RenUTl2ADvWT3oJNO8Wql2g1Qr/YHQLAiMteqQJyMB9/4u68HVW96D7fjEbpzU4J6GLJN5iesUJCl1mSBInrr5OO38XwdFUUuCYm/9S5xM/AYszCmtd0cOSZ7M1RCNC5PR+a0xCari2/SDNvXC5Rtgtcz84U16ZsE9iBFYYDBSTlRlfROzmwvPTyfx/Ri8OGR7K8dElkK99TKBu24w6r3bDELG+OxwADERdVM3hTY0/uQCN/gcZTbugxp0N2rYXzsPTZw5YKjlYT4Rx4Kq830LAXF/BVzcbsWBguLooCT5FcNcQfNifnC6/kQj6B1J2LahBYWrstRlKSO8Ib3rTnLiiOfBY2XtU2U39UTq8wmbyG4KIEV4hiZIZKPimc2Nt34fR0ADh7ZacSdypSd0/V+nmKkUYwdO64W9gI0HCJlCkS9iSPvlgaoOZMwiwugLEs7vZ5e/x+ckPRFd0owi2l5l3TiO2yZkOlJ6Pr/0x3zyZAWOGKDn9Yu+9tKibu0+5kdXBpdV7sXQmKp1UD9fzMuwz0WceBjCblWpqNocZCbNe93OxmC/aIzzusUIPh7cbiVKk2JTUGBzAo+AnIJMzAJ+cBkuOpXY0X6x8eSa7mPlOK1HWkJnqY31/GTPmjayO2MdDu24sgftz36g/W6udjd3ZLRa+3KCsjB8rbGbs2jkr+chQSTrxKz1L8NV7PexS/ttg/lb38JWAGY9HHEZR0QKdn9SmzkiRk2q5LszzpTAZzMiqP+zAhmwObysfoX7RY9QTfe7RVad94rN+n0i+fEzvrMVavARnXX+T7Ov+Yc6InRAcfNupqNN0FoYqxsvxonxspW6Yc5bIbHF+Njhq4WTtGzsDvPbTJP/PicWyhO+RJZDxZwCCPmL0GF0UF02kriovpIrao4Pf45LMnqUNLGLM2VS85eMWrguFyiXcM7uPW+MGDGTM9el1pYcN9pU0flUl4UQ/dqojW91UH0nP/o4Wpu1Oqj0AAhp9r6JX4B0fMYgy0pjAVkmiG+fPa1PZTjqyokvtnjki7FZhg7VXAGYMv/auVZHnLNZv7y/QlE3M3DjbIWyAN1J3AQWRe7kGc7QpTB3suNmTb/HlJt6A2eelcdkyiAMsANo/jUyf1uAAniL4k2KB0FfEYMYSiwCxFyH7fLUh+Kat9LnItkNs3RIow7u0Mv8BTUr7tGRnKKs3oBtYG8JnEyaiQ6aSG1KPr8Z58Hg39fhfasSjrN6Y5dQvgu5OKGBEL2z8539OoGSlNtyxGA36wFl/T2kJEAqlYgzyNMYgnM7g0dSXlX66idrqo8HM6hYqiVGa3+2I0Ji3pasxSUJ/k2n4774ocmlVNkkMz/pMYw7odsaUatApx8qUFal4Co5OLOauYWQvERdvp09WIMzuzbl8HpuDhe9VceIzqzCMrJIcFwq/vKJxJeftE3UGKyCw2ztAKMyPkjp93+DDx8Lrla+QlWknCQELHpCft8ERuUi7zw2N/JfTx3bGiwSOJ56uBo9gSgqCPXvknQU4IDV4pqhQBwhwlTuk8vHsdpFy3ii1WxyAiqhaAWRyPal+Gr6bIzpAcewP0XZhM5XJhMCUbDDLlJsYsqPWZUPOJyRHlS1pu/DdbX/4stYGvcIOfYzdhQZQKFN3MiKYDAkHFsmZbNQll94VIdnTn6OdI+TTeGSV7RiOZqFEJ4QOhs2a7Yqp4dsSpg8uESuiuFi4QfdHVmB1JatwIH930aKyzUBImIrOgVdtdnqDLfZK+ZlExusp+XrA81Uz2YEzxTFZj9LicMsSu/BOD3Br39shYYhqBXWOafYsOvkTiKfgSBvrleYAU4EzvosLNOWaHUBKY/tKjFAchi+Ll0/c2rM/ussjR9GJowzhzeyPmOGWGptPJT46QCeGZzBtVcyUw28YJoHC4c1zZZIpthl6B2urfHelgBAl7qCjkoVsCIs8jBvHTzaRg2fexEW0/fZH9J1OmXDOfnGxL7/rz1a1qu+7egCvOsH0AZrEC7NUIL8/ZAGyVpUM5ra/jz4Jny0MjDtEANHQtHe2GPUlZmeJiPWbr7EfnjlKS/vs//xCSIQxzznCMkGsKAYt3AdPhohlexLMtb6MdoN6eRB+7owOYKgcQCkZ8MjI2buWAVJlIA9XT95iwrHv60U6vBmv7BugDBbd9FFZO9xwYuKVAiUIjTnDX+MYbskSWVsDK/utM2juqcoLXSxqpJeIgDzM29ICf1buaNL3cZj/3YhzwfyleTJ1pcbEaw9PidPA1vuLXiTpKs7F/RmMSOVu33Rkll9UaVyBh7ZgGmxhYnanuJpIODe/Fs0IuhCT2p82Z+DP3zMOBJ5x/zJSTAtbmFO3+CWxLjdTAD5xQR3uaq0aPUz+GuD9eO0WoLSUmkf8TW4fJIqSUmepbLG5SO9C9ZtBq8sonMKII1ErWXaNuH53Mgd+5e2b3FyaNKtspGu6BHzUeLYRo7U8Dh3kfkMAwapN8usSpa6gQGMaFMmGQuesf6h9ScFiHW7KkxkKqA4AH4i8SIRaOyrQzqXP4GlbX0OgjAkaWf5V3sejyRVxSj36qJA2zqGz+71+lOMqZc0GBE43xpDNtVb2eqbU7eVzHSn4DpIjxGvtjxoFZv8B9lGNADYdBh3YeuLxTjpG9LujO5G584KRpt8rEymxWFCgq9Ntv+K6z+CNRlizCjPWnmGFHwByxS5emkflOXtGme9OBjga0KJHYKkjnB4ktgzXBwRYUqfmHoSXhNiwukBqkSU7p3Bn7dAoqq7kFU5Whp85aRL8JScW5UFg8Ha1sLPRuz/hN8zqHw/y2VzWtIvZ04Gd2FzKo0nc/hQ2K/ufG0RxBrK9krE1vkdUEiLaLi6SkDDyxM9fTrS2b78F4iZrS7ddmbCPbZ5AnCGJVgd/vBF05atSCQH6qH4MYIj3g97JM/mwcPknF8qqjPmA1SCtc5QEG6TBJxyybLAuRbi3BDlmDsSj7gaWmeMABVYkUz4FpeRrwR7Yx1sS6LtpvH3kWV3VI2mzkdbNPKf6Robsz76w/bPtdWSbaO/v0x9U62fNlcfryJyJXUUXNLxJ3mOZ2mmmvSEPU1oeCA6Y+Gsd+rol+Prw9OZx0rDdHlwA6gOF27mpSY3FWL137UqIaA03xaV67HyeDFuszo2tl26tPlCdNPbf6zCOH5kiCmEhV1tSFg3y4YVeELN2RmDbv+MsvBRzP4Tp/WiBfyafRdqbJJgvHutLQo4dNI5HjwEE7FJYlLY9sUfkXKGZ+Yn9zDY7zOW+pb+A4KkZoYQqa2k/4aQro907e5wnbz1/NXcLLGMewjARWSzB4YDeJnExPzqKxkpfw65STXt4KaFlHzbc5PWMEtKAhmFSWEOHBTYMK0t5Lx4kEhaa8w/8Z7A8L1vaPae6Cz/o6DTSfGboXkLuSIvaDYAm+C4QkCFz4Yt3E7+p1EFDCT0Oxg+Hpt4LpXO1oW2zhIdG4IQnuo596TQy7cSolcqRpNFhIE5NR6ITWSf3oN39QxLJyRxDTA+lU/EwjKhgJdSKi5LThIrdue2IxoopL3GccgLDCYyYgW082laKN4OrvWa6ZibyqM5njjqCgehiITd957cajRG/GrqBR6vmX2oxE9pPWnWK8O83Rk6pT/9AM6u+xam7z+EORsIOQhDlpH3llpiAiRT2ySvDTrznnOUwg7tvRo1kIEgVW4wLYNNYI4Wb9+r7Rm4ZpywlhOhkZV44zJuQSdesEoQ2DDARJ1+kCSEwmvk0dRh46ZZXWmlwt74fVlMu4oxNXviDwXv3aRJ5jY+b5i0qVDoM78ObuLeWLlLqs/wMoGQ5Jx5K+eqgVltCz+iH3SFuAhRfQyk88feqL5yY51gcKiVbccSXebxtctfroUaNshClgVL0+/UU8JpxzSQ5J/muFzpUiG5dT5hXVmDDZWsbA5oOCoeMOP78jKoA38LBlkIrHB7uTT/MMDVUUfH77zeDX+EshT7YfwwC6poRwbUlcEbneDJ5J4o/pZgn/LKy5txCMBEkaJSKrMxn5/wtqRE/yMtcfRUWuIFnyLjbmMPa283/5Xah4VqFbT5IWSrLq6YzbOtwJo0QWItCIwNO5J0+M68ynt4OgHS/bhvnazfFbRSlPTh4hBjYOccFmwG7JgZ907abmmUVfFN5gbnETF3hUY0Ans0IvacurhXLdOqDBvLXkjqsrzad2d0/GMeqWheXIqrUATb5LjcGaaYVyC4l/drP2Q7r+9AkV96yA6jdTnPyNVIor0AwK8zWzXEkhfnTI6S7lTP7nI2rt44KiLuAwbYiXP2TNeRpDYndyZAqN351yrUPXZ1vbomqIb+tltxLnmO+iiSJ7dmHshqegWs9tZi64CkhsWt4w+7jyiL+QbW3foyDhK4Mx79PnV80WXz1+T3ucmesU+lj0z+dSZdUhK3EROq9Bs9Cg5U4V4XTWbgveigStQa8s+b8jojS7MD6Te5FQDNECpsNVqVbsZUzccil2Sm2lUiUZ1iBSjpRnyf9LuSBOPYl0GevzLNsFM8od+m3pcHUoi+SANHiQB0sWyQ1nxDwgCGR6yFluwDIjpkyVdC9HEEBCbGCKrxeVuuLP6k/gZGbh84WrGCv3+JgwnwztF/lLaEntyvB8waXXukfK66IxWti0c6ZpNsGeNRuIf/c45oSyjqrWlloWXkNQnEFeA6DfdO8AKn/uSxgwlDcmg+/oi+CXt08mFrmK/3RXIanyefdeWg6iM5VusLUdr0b54ncI1TpRWCDTAmzBlr2KnqoPSZK28pl02tZ5/r+QQ1Zn4gHAoqxIYsLE6slmfFjo9GDiAEjM++uzRwMWq7Vp5ldswsWAciVkTUwsBqpDhA5CHFGywLqvhHHI+N25AblCgNM7XYJe6qwd8pcOWefFVM70xOtu/2m7UnhMz7I5FwGGJdlpQkCJQ2UnWqvoYrKbnTpv0+9j9+OjuQpwiICPKAMtrNoRKMR7Thm3cRPP4b0sGwtZHCdSiMJ3RFfCynxdlWGhOyYtc5Z1QELClDATFDXugogid5xjfOT2al97z9Z0e5aW+paLaq1epXVKGiuOcWAMRlOI3XhSQ0Fts0m2u52llqm4eED5fNJhh5iA8FxS8ymMOGQ3tdCy8gRQOA38EjpMDvvp90olGRfLbKREio2sem4Q1nJlYZxn4qc0EHJiV5jfcZblq+IQoTlPfJYSaXXo2VifBlle/loQfPwBXMoPYdK+ZqstwA8Bt9KMeCYUabMXhQQPbXtEQZv1ZHO7JLCcLW8b88Hpg7NJyiR1LB/eZ/+LGHulvjRzIqH5ix0yTUvdKWxjy+pnFZQ8rtcRAc1ET+ArLXSxd7DJo54piQuzlU6Hcj3snOLZM2gHYddEgw07ulDq35xGAuVZtClT1EAxi5Mve7HJgXbn7bGwlQUZ31N72scj7v0sikPbCwlknS48iEhjAEOPjIWvOiW7csQicE50FEz1UhfnNIMTDWydKYIywz9RfIejkNiWp/80w+I1EiaP5IGEBlbH/U12vWtFVX5z3RNDqV7VmJ6mrUU+2amogEEIR/X5pI7mBZ9TDfQh/DhSCBsASME7IancpjPnvH4pUCp2n8XF8nzaoXubIv21CNPs+kw0SNe7OkRywJJESPTRiqMX/G7u6ct1pORo6YE2EoJMLsm0bOhN5Hv4XVOUTBftlzOjGy5yybq/b8ob6dHQthbcMM9GER75SEn5UZBlTqrWDqcwmJLu37BQnigksMDHkaCLQW4CxC3wvnIEUm+LNEtGYe9TR5cmn9LLJf9ITt0OK1iNUf1gZOUwPIsmT9Ai785SY4UJ7K6h7Gj9UsvA4zmtpMkfISW0nUDighcS+swpQz/jt8DqDEy18x0EsOomWFQDznaI3qX9TPUTEtW0dz8SNuPAssPOH8aOggBEw2tqQNbEOkzwWygaMh1sg4mqMhQ5QeVkydj1+7aSvZINxux8gMswdAH+ciiW+2f3hVWaMTcA8CW1ncZrhAq/hNpCJWMqKsv55aKrwuJqZu1yjX1dsIT4kT8k0dL/hWCTz1UzGCVKo3TNvFAvFf1two8GbeRliZR21WAyEflUM52QN+KGRqsrk7GFdeLAZgvwDLBbXEtJF+gS6sB88V9QHVwd1iQm7Of1RFPGToDs/0Oy8a/r0O65inP69X9+Q41fA2eCtdGHhw6VnRAv7Jj7Biypm63bcX/o5je1EU5AT/qa5A6QDRm7dAbbNfFrlelULgHzDo0ixIXtM2y+j7brDEeqpWdB0FiOQdF1Vl+FCTZogOhC5KEsiqFwyJNX/RQL4c+vjO07JZdgQeckxxHJvT6q6mBGRNvbfqsNb354523cxv8lp74RQbK+ZUM0sfi95PMXOg0YxSQsl+F9ZnDnk/pO+z/6h2iIXYQEY0Tx23hk8QmEcOtH0LyHX98oOv9tBkbu4JXcZ9rBF6rlIKtF9WCJCVu9K/crwNtM16EwU8t3mjoimVY5y3jj9hbcwPiZvp417X8yzxP1kgCcHnQJ65sWfQPik0NLgviik6eWiV5IXe4zZaRu4IGMrwR6hBV+gMhGpeeCAp69dnp1ipubSXCRUWaNr5hOV4grmwFY3s/IVEAv/AM6h6RbsOax3Y89tslKJQSdrhmYUYz/bvsy/i2KiXFrnRjjs2nce0viMmaw5w+v7/aWGgEeAv6zDPe1hDH20hsGJPEbZBdT81/TEPYpsTG2uSUB0ivAjhIKA1iC+wIhIeh3sOuzzp4FwTR32CASCfGpJ616unHHpvD7wP3Oai/U96pAf5FvljT4v/OEYFOgq7JN5mO52ttaMQWVBZcNLOC4M0gXYqM8mwRhVPRIGBkWm61mMXn1eMuosrj2B4O2O8B7QSK5IW0eFRM1k0bSXgHrwEur9lelHly5SFw0E5udzhrSYzZUlD2Ej0Yg1gT2F5YRtfxYFiKWM9+3iJmwe7dIgzUnaO4qlK+QeSbGVriDN/JVToSbfL8RMrBWMqDMHX750hRzEEF8PGgYRYcU0Xue7y0zLv5lGYfqYLH71UonqYyyjjCYwSD7ATOBNL/vfWhgf+Tsl2a/cCMS/fiCEbEOw4KLFSDovGh8z1F5xJqXtqYbmZIXzxh46pssfZPp0hqY4wZhTem5zw7EgQjJ5T8HvTm+osPQQf6RfL8W8xwe1mBbAqJAQjHjkRBEPZCPx6iIK70PS/8J5ePi9b91zTxsCBB7N2SLg2XWglCKgjtedJlHABV0JBdpsfUo1UuhJ9og4agOBHEgxImIIAdGEYC7f+/yxuU9zZpRxGpi5/5jviwuPEPbjkJQWV9bplSbOwkc20TcBjePuzo1zBwlZCYM2V8pfH9AbUPiVva3Xs4rLu8l8f6x0r+V0t8zdrp6hbR75ZEYIKErFnME/A4uBW5+hr2d065aBM1Fl1LSfr+Vs0KnAbWH/SF2mfYOTwDGX3UuVsELKwtNyjPLFXv0uJnD/QS6JD77zq3zyePYuKiGHSwLs6BGoDRq0zlXqYFkGEwB421ILHCC7nlZEauacmgI7AKX7qI8lCcQK1iQTa9UMU2fIQGvp+6eYGvF/dnRE0EmsYaFUKPxqXhFeNWMWJbZ14jnMdgxQAbvgvfCIWIF/0GC4tZUYN/2bp+BMBiIJtpVFuJJ9gU3qUlCFV4Rod7ooaxWjwTvYmI8LhPrQCUF0h2Wt4oUuFLhOcVFQd35oYb3xCnvYudr80O5UQL6JJifIRcp9akshjkxe2ag7QveCsVEUUyFNQvcqRdmm9Xb9YApHREkGAnwbA4rqw7fPUNzLU+Q/IdkfnD+6FFbNiASqIBjv2CPlrKsUpb14DZyomu/DkNtiiK8aGzJ/4TYSjGbUEUPyteVWgxQkiAkH5ElEF6Jcv7XnC0QS8J5MwcPljZcPa4Jh4ItZW4YMvMbEXJriDpHCYwDJ/AQJhDk8/8iod2XS4CxDJi3lyDqDDnJLvcmBHhF9V6WLdM8dPzxj6fgm/M+O3OiCHdqR5eythJ/bfbYy0HQ6e5c/we6h3htssb5ts2QCyIGtp55n3EEzZu38+losuIeEnTMUvnL4RoWQKDzowLyh/QxVAKjcDyygnVu7MNIOX37d/Y23gamlFdLG5iFEZeNGwGFjYsq41TYHeHxVmY5Kl/Wr7fiv1klyHpPz3Ty1CSbKnGUjBt9IGkHoelLZ0vHVsBmenhdp7xxL2g/3P7ExR/wyjv5J5zrLK3R0wMqdM38fwe1lt6hMLY8HNhx0JQ347B/coNnI5OWAtzkT07Enrisdh+z/vgd9QBXHd6aodm3MwqGZTa1KImF3whOixzAAoddFSzRGXeHZjaJYoWgVVQn1xWBx6e8j6lFKhWBR6Rsm8WDxXAc1cwQcN+POG26Rvhui+xQskmSgBwgx+n8QczbmyX8shpWV5a1b6iLHXNPL9T/spbFDXF6K0sN640uusGtEeEJcrRHjKXc+UDoMbUYJQwBtW2kbYGgFulB1AAulRCzv9bihOMOxP4F42zmEerFRKVYoVrdUsqms1FEUMFqm+NLB/wlW+oIuOPxtX7Xc0uxDhd8czVtpAFceKjy9g3AGqx3NccU2pG33n9k36YUe7E2potEk7l8Uev2rs78c3z2kIZFCNxis5s+4iXHQAHNKTkyZMtV1pZWvA0Gmqjbzb3YuMurN5VJvrY0laabthvIaW/VA32ct012TAgqc+5tBi2YNmFS+efk0ELe60iSZ24YBBzmNfz1xzGHd8z9zypLOAQg8uFywBchklC+/FwZTiT7UtCfC3la00YzAsRAKkxVowNDAb+/1FSOT4cZ4aTQAgqmKPaCDiFSoVds57g6JKtoWlxZj6cs4FjLMKYOTTs5dRbfPLO1rTJRxm97OJ82zoLdSIPEG9Of/tRuIqfaPYEN6Y12bG2rKRtn3+QmM/HcfgJJ/jD1/l1NroeEqrGJRRotoDCtxM13J57eOR9i7oViaybTa2UokcDedZffzlnTDIWPLHjyjOuDaTdwDzHojTOu88fWWfavFQPNW1e/Jv+pTUg1+kbpjCAO/OeCmLffvmSiu5iqYykTb5VCUnVKaGlgtNoQTuK8R0pE2NwJUMYabDA7aXT6Ni7GhQzCKD7+8JCxTp25+LwxB8ttDHvBtIxOudTVdiUpFPslwcih7B1yl1VQXzZzE3+AShzjUjmairzclSHOh58c1JeS3WMdRUzJ/QwYr0x46mrZIMfxmspO1xTJaAOtdwaKoB7fZm7ZEZBg/gPnnYUfwGGXe+8UNbrtbcHjPleKLUycBF2d3SdVAyKu9W8G3aAodmItmhxEJBQV+JUa4oBNct2SfbEu0ZCv9Ewsk+QxBe+XnlS62hUAMqP2iLj4GoYVgGXStKwOOHkOxuWaWD3nkrcQRRn3dJiggo/EQOh18g9A+5WCOuhiuGoaD/wYp91inCYganKQtxnN8neLC5xrDsW5blT+ZOez9qzAMGZkwNW9r4qW8TpblzjILPqatd6ZUcttrkdkM4TPza5+P+/9QJl3bxQZBQJje5g1uEmcJx1ZVitkaHTqN5bzVdvfuwzvq9wrMwaiDWoKZrLWM1Y7Ufrnn3XWhm0AvN/opStgqZxsuBh/W9IzxS+RgGHnzcfpOj84F1RsjxuqLR4EGPgGFUrVjurNRhFyUQSyZpXLpR7+XWHlNWhMtohDqqP/3pEyZZvtUXF82aTXQgNntcDlQ7ENeurKVCFg/6hWeLZ3fsR9wgC2fLvG0lZudgFmyF1DiH5o81oDcKhvDNBmujb4uvCEUWDwOYWKp1vrjz9LOJtBmybaKOxz+pBpovTWSIpp+EVYeUBajp7DGAHtYS08Zu39VUlrCXtyJKHESEUCeL5zNyQc8FIlZAQ21TbGTSkqiIuJKJ7Tku+XZZw0T94Ot8/UTRJL1XKBe6LwjqQezjY/hSddwxiu/8mxC153PgbKHM6FEDZIPqiG99G9ZHV7xvQGUDn6Opjv7etBTBzw66k9xHkI4SEfOy1tIywrLecNYL22R7OfptvyqMEPOBt8N/HrUkgaZ7XT1uVDSMTsdE61KfWRd4s3lJOyfWj1B1kt1QNwcb6xiQxmLH8hbQgH0k0Me3Po1KiOR6dgpPMoRpD7ZVceygeSkzGXJ7SkiKnafbDLzcthGA17/hffv+OEeUnu2FLgp3eeDwzlCNzSmeP3r5XMQqTwQVzrNv/BVJpfW6H8xxtCFH+tE+fTDG9XPdtO4PdEhqVbpyiyZ9jeEqBr/x6uFGTDz1HsvyKOSQtIJpIl4wnERTYyaPUituET3Mw8kzYlaOHAa/lTxftwX6ERTvRZpTKJ7odFaxFs9eDe4pFN41p3D/I92jFCYwlYZpXTRZ49ry02ZpZQxpVNPx/5jIzu5tx2M0ylp4VsPFNKmkcCN8w1YXIAXHDKU4PwFY/mh5hSGTBQg82Zwsi/FOJ8dwe9fBnoRunN1KIYN8jWsTqU4w7C/TXqXPBOaEggd+bFhyPxq7f9+mI2Z9OC/KjdFNMvw8Rvn1d3/E8NJzpgVoBA7CPxnJPmYCsohS3oPCA21LFochTFzon4hOvVQebfJGEGfmPSCJwoSLO/chIGpj97l2WKccfaOyOq1IOQpwTzbrAfRdXawRtppFFpaRfhaq7Tf4Z8p+wC5/Mnx10aYjB5mAE9oudghd/lW5ZcEHt7oMecjGMmNnAj75cWXygTaKmCqe0h5u5w721+1tWSX3FjYjzoMDGz4f1LNH7k/OSm7CtSxPmTrzsYDuAxrcVPDKT5XuWfPtHjsA1MvYyvBE3SNCPb11ETQejA18Wvwlj/WwL7aG7ry1mYPuag60sRiasL8PuBXqNGzMlb0/m9EkTkR1LWwWbMc917OD8zeAkAwywEsjiakrX9tRvBL5BLHrSo0wIr+XqV6DPCxTr+LEnPmrFwhMZgjb9y9xR/nDnvwwwmGqEzDU7sSrgxpLo7wDFXswx7IV4l75wJpspHBE+bEgHzCIBBQUfP+oBwtYw9nnec6GtCW0clI5Inwb2h0t7htQ+xkRsseL1gfvQvZGQd8OEvx6UsnItMkYIKmU65zNL9kCxp1VgHedqFblNgj0VcCk9gjVQRp/f2mMn1DrxxxoetNKUcEta6bhuNjB8CtegZI8opapEuaTaq27TaQzLoTqvLJ0zmaFdk2DDmKbjqB3LfqPTqoI+RSFd5LD+MUYG/w8DBO82h73y7e/O5kzmg0huMJgjH8V90lZy4xiz0IQSWQCItWnuRPagQ4hIcayqPm+AjEJdadOUQPwh0/YCyikSxU35gHN51pdApdMn0r4o4o4XO8uj0dyDpIb/+VnWnDAOFw2TGrrsB8pNXEs1Ohe/Cg3GkJyPHS7hdpYAhOHR5Nf6/WbyfEWeHEETbRRggHa+gnhDdAkNVhm0HBiMkZFcNzZrLT5t1HiK5ctjda2qapa4pA7118klPRa41LBQL0cgV7NTD/hLUJd1hfNwzmJe+q7oesQId7VWT0gCugIEYt3PBfTtGwP+Vrh8xkhci76LF1G/xLpqhoCxFIPf1MjWdyOn9bpI9/B+RdAQf895C2sJ9cp1k5PoJQ7ZSGrWEm62ex1vurwC1yhtJJkyiVlNb8buMwHqbe08nJ3tNXE+6I2PqImQM0GsWNExO2deNIHUL+cpLFDQyoj9utWlU0I23sap5DIWD3SdTJuux5CE2r88eJINq2bu9peOEWR2fmcI1LJNA26s3oKBN7rq/hFTGgnF9FXzcHb0lF2e6HmMcysSk1qjBF14u1Sp5CnlDGZdE5SuFtEkJGqCMxZrJ/Kd5mG02TNh38R0BkO3oxbbbZKOyRABKbaIrl0DQ/MdpSSIbGiPh8zY5EI2r0/YgR45Oo+h7iKUAvbUeqk0vdzW28qqC3Fd1+plFFNUvfQK4JnbFHwLW/MaPenf8LMy3YNrK3xm3ksChRISfVSwhSqoIVDSOaqwvvMg7IUpwoSvlBr7xUKi3WerB+uKUYbc8ul29Fi+fbyrT47NX/xsdj7oUVb4nf55FKV/WhAjPehVV//n1Sp85zI73mxaWkdJ8efJPiTKi3nGT+ZVvDTlL0dpoxiaYCyrUe/Hk1T8mS0csNplAbIi0gkJ+NoUBenirsSudbwMsdcqNTcyntq3jRBxbulddqr18HbLtoIH80txbb3cF94i01dxcSCjc9mhO0qsxz+m1skV0xzC6ow/4p2FOHSIF5yiVv3ORbHEn0kzO6xX9DmNPmGBM6AFSSgedtF/8YuyLyQgXQ7Z1GOmDqkyAI7uG27dpHrFVdecG44JNy1I6AGZ5Fu9W7zf42cs1uXozt7tUzyOSmtCXLhUmUYaIGzGmaHkHtMQrO3f3x36uCxqdSfN08MBKkKPEzUhIvd4E7XZrS354epmMuVuLO62nstCRDYybLcxyEFafifkitChkj/BV6z/idt46+MEMl18muUmiYZjjeq4kKXuDWpTYDQLq4/2KfiwoiHixX5Rw8aqREPneExfU4NZ/qxvNBOcsQe5yqohKaaL8EplREhVTDlHXv502l9/aXz+hKQXvc3qX0xe2jkHH+T7BaUBNWYvIvwURUZ7eWHdV5moIsi8nS9Jo7fwA2fOIjCuBgh26KDYjX3UE8Z/90kIGqmJWDFr0KoRgSYanGNkoCqkZ5fvbiaHkduF6I/U7eqizCISg62X7EPWiLX0Y02Z8FxINFl1mMeei12VMVTG3tvuSCRuuRj23gOv+B+MXEQs2AL2RpV7OEa+Uo8RxkC94efKMJMMgYt9sPh/a4ntndFOGnniq2ycOp3FrW/FeAuL0gQtdGWd3PqqjJn3xV540iCFPCMy5fWlqlihpYj+60B6CeBeD3PZuNOnkBTe+ZW8WOLxCvjNdY2w767C7QziUik8YtF6vQghhcpKQc541FBUGcMk1U7qmXOuOBkL6FtxHfHi/QgCOfGOjm2puKQR5Rbe3MH7w9Ef0HzV7DM5fewkBM/ttf5owt+vG3iG+lNH2bCyerXTWbuSKMdCt9LoSPT/StNx2s9clX+vrI3WdknD7kFeN5Pb3iFTn2Lr8+9XV1pxvpSX1EunaRUNCtw6P+rdfZ1v/l7YPxMi+C/9Cm+axlFNiHElkF8G9Jwi3R17hRRegEtXB9kfJ4182UIUWYZ9Ff3BUDc/Hrz2tJUK9nVyQZFlITqVUjeqA8jcy/8iLwDCjzSAFWH/mZSLOuvOW+6ELKD7YH0ckdz4RlYr8gZC1fWD7L2wKZz7+ahkHnLucLyH7iWGsJ3a8frmuySwgVvzznSfi3vzUyj4/NLnQaUuEG/LV8gwG2cRaVLNM/zl1B8tF53oduiVFoEKu1zpZV/01vmodksFgAXHl/TN6QnS8qu7TjaAiqmaT814YYOijEVs3iys6gt8rV4454o3wq128VFcLDR30lYMufM4d4MPuomx/2L30MU7vIULanal4PE8h6Y7zkzz5BIKf/7XFximUJGyUJtoCHLMsOkKgbiTuknKKGlBqB2m7iFaJfuLRH60GyGfXgPd5RyEM9bQ4nYxp1DpbwtoQfJZGh9CUiWEaqrDPgJ2Ja/bgWrnnkPI92yQv0pRF151RU2yXgXT6oEYHnd7CvHOF7kYqLBeAC9v28o+FuZejvSvOAz3sBRgiyWMvkM8ohEY5db6Wxf7nAaDdzuEit/p+gT/7b9bMXm5ReNzQbH88yVjzTbqk5DNNCpiq8KgRG7jEOo9whrZN8PJ0NyesXN0/6bShf7iTGLyvKtZDzefxw73JfB2pJe81a38/01TGXE4O2Izy9FuaxwQGgRGvYekzjPX6+CA939rwZC6L00W0pQQLBjefbuSLmYGhm49wGtAP8SHBPs6BifCSHDGnutGvn/op0MXpEiLqGib0NNDYRsA1X79CXPKCGJPBjU3jxEdtN+t7Bzifzztvi4ptyyxHO7mFWQyf2PnDZTwQiieVHP28FdInioz7JKtmY5+O42CUbJc21D2GeabJYqJAV0r6gT52QVe5yL25B6LSSEV0EkcRaXHOX3no7LC0yecq+9hDjs8Lu4ZD6ya0uKqFhps9V4KghWHEHAZEuSBMOBKgmEpDNznQv9052+jYe1MGwR50PSNx5hGmTgmqVtBF1bhj3GC0wzr6I47srqsIja8xN04JwPK8XLQSY+b/SOenkpt4yOsq5IhHWo2lmJGLLCaB6iE1X9KRSZcp60mCCJA7mV/HD8R9fjv0hHdx0GADPQ1I2gA8sayBjaQHCIcqOkWD25WAT7Igoiv1Fs+1iczqmm9cNk5ysFMw0AlBNRIh8nNLADfNKxZoZiCZ8pybQ9GY6QWedOZK7kq+QoNiMNEPYaMEYaauU0+GDU7VQuF1cAr7Xlo1/Mm1C9K3ymrl7YBeC+VhNDK/X1G2TS+n25MBLoZUbTR1nY+6p4GQb4Ttn5QZUAlBajKRpJBlbW0GSnDE2xXTyqn9Ph/7qTkasuI0owEZGCLco6RPMCXTMDPIOsMZoaBHOhOu9rXoHFaPzLNViu55G/TnUxGR/uRSXRnK+RKAiRdOJopNA4qgztXAOV4Lrb9ceg1C9sqytQRg7iylkcHeASkvqVPW5Ypwi9wxJNd0hdCFUDNREcQVfXUtnplcK8+xZb1dcFQAGC+s3qHMjWL1nolRyDKMFGIuR2QmFwI/15y8q4f1eU86qC/upoAsfeOl7mUsBy2x4j/gE18L9lHsMefBhEAcJaaDilamdNmPv3nLhQPwl4YX9/oeG9XkVl2BtWVhhzucMZrVyHIgDd0IUuvEueKKpQpQSO33ZBO5CHMZL4uaxeObQEu+Dbv4Q9+ETMxXrXxwpxYMCxZ6fvliYio2DHtkGSJCbCl88XEN5CbevQ2u2MxX8aNBpBms855ZxxfLtIdM+z87//C4kkwcrmN+3s2r8zzAZkregpZk+CGBYPTxkBHB2JLqcj7jjLBYziqy9tyqUaZeiIYEyskKy4Jp8AnsoTI7r/i6KF7ka3yXWdSVFbJrKPnVwLmkE+ZePergkpqu0IaLs5KAmmWrJt+wGBoZMfHVdrx8PfkFprKMS4XRx1pivxI3e/69OZoFRqjeisN2rU0C+g/avAC96y6EVORuiqyHSKqnVbLPnXoGvrYvobZEVw+3iZUX8TQ6PTz5qRf9kz3C9xoLtZiU51amulbkZqgsiESUOxvjm5nW6PlESoPUS1z3FOG16qya/6y2NbQas4dWzPGLE1Jo05EeQc7/69oEqgknQinc0/FGPdnJF3EF8G9+yVmozwwg6N0lEse5yB5VqFHChYswhhYf6n8hYcB7EiqZxgyv36Ea7YqCtKOEHdVaDgXJqRzWzL6013AsdLkDCxy6jBdcCeJYHb/d3FoPfpIjEg/cMIkm/bLKEwob5t5aENJ9tiC5OmbME2BEtBVgDdrJub0g+2T0V1WVUVO2FghMrttvK46EydJTXoZwvVZcNaZkN9T0fFIHy/iAziT5tPWGjp3tNbGhTPQlFlMKcGozIt8kHJL6ArQKmYCoXylEZroXsC2MDXiqnb9W5c4OQ4QEUbdtQX0pivjdwb9IGb0SdIlYLjTsSKD18vHLBFvE87kAVnNUKxSFp3aIUydQJn4IWWJpgLV0ltx+iUQl/Z7oOx7GekwuyxyGrZyNMOvrLcdPW3LP0RVdOr359A2xiAtGPL7cMbOtFmzz+EGBDrQjBH+hPBbHsO2K1kHYBXmm6HTtkMwMlA2Od91HJVjrR8UdmzKB/Q5iXBgfnf7OUikd/Qrqz0M/yvK/njf37okAX003a39AcsYbCTcWo7hs0bpTTP1KjjX1qlBQKBpCLkdhFLlJ34uqRCrix8LMcoI4v9uYVqMnNtlHs/GsxvqJE1yyRZwBPW59Thwwem1UrYZIHipFtTKzt+g8hJwZ1/ArS1XK5dMRBDevYpsAuuhpu7BCqajTVeUw61M1sN6WeWi9YZIwudghJBIFY1YTfvZgrKwIhqdPjfv3EymqT0h0RyuAm9NQWb8oQSmOryBwXImo8IUNMe1aZcDxVndwIGRMm9p/YzaCGi4wWfg1RHoMg6DaiWhPwAgBc0LQsCR6if+oqZF3b6dRHHefqvKA7rwReu71mjoaJqKlhrhaGtH0e/ul/kxsULZpEUH9VEtzXkNvJleRwYGN9vVEfGzurtITi3xLT/o82QSz6h1kIp4aIacG0PjpyJdEHGPP+vJj8zbFqSZaJL4yg8p0YBZeyvyAYJXMnmV0Px1SvDOTNMdicPZMB7cZZum40MYiiKc44mz/WEeZ2ra5YJOa+oG1Qih/r2YGvCyuTIcUoi4i4IEWfLfM/vFx+oS8A5IuOhW2oO3uHr8uT0y0sQ2y4PpHv5yOCc0gmsH+MKv3ZVg4tAIkn3bahhiiaBKQkNur0QCmNijgR12ysBM3gdewVptT71EUeCVDiEXUmFmQH7BMhfLJR+gP889zJgudW3sREUGHL+VNlLNKa3ikcn/hCAWR27FIxkByxnMT09DquvTDRqqtSxrP4I1rgJTMIVtEOAstSjthMKsuDx1/QhZTz4+7rxuZX48aiQTBHi1XBFbwnQkFcY1/N9p3tE/iW3Uq6lofDLpq9nXrjWYRjwJn60i5ZRC+TwdVdt44tN3VZinS0W3eWGVU8U5NSvF6JyizoSzrtWwyF8GtOxRedhF5GJcy6LlJ4x/BCwPAuqDY5og/KDX7ocPfPbGXaZzZPBhbm5LHpW8ipXoCDBOQXvJ0OqUesSD1FAWKEoVpmINx3Ov5sp9i5CbXCUPEZh8WYRsG9DiXHDQWRja4LfyFgKdzTB6cOqpYKmkbE1A27zptPyX/npA5ZyqtFpiw/0TeLXLS975R4rl91hegMtzxO1w/vL2subjTdNnu07YJkjtkT4JBQT8I61RwyMKgg/wyu9FECcm/6Q8fRY1B8KpecCP9Zsf8N7Nbhw2a80vjaNFfmFuwinAYiOIfTwlXYZ7jUA40zRcczk3WJ8aQlP2+huXh8Nv5NQL36OMuIiX6+IrR84eqC+hFCDaD0iciFLyB78mJZRNfCtiBMcA1VhQLQQv8oXdL3ReugCWYRnZw4NVc+xKF4SBnE1tkyGTHeuB2Qrlnif2XNweY9ysQLj4QscgnPuYa0JMYKfu3x04T4I0LRW/SpWYaFqEnvrxza7ryz/H90P23h4CXpDtRwcDTej/K2BegL8Lx1SY0AEjcVwLYFsEwpz8dRof5R57uotFiNOHGah07oDhJPTi2Mrfl6RKb3aLrmY2pC4D7Aqa06qzubd3HNoiEdzAiYKalwtDYcbIfMD548PRMwh59GCC+VQYNaR7++y8/lrJklN+rkbF7aSIY/c0hPRoSCUhOEXclek7LbTfsgcyo7NqW1HbyGbHIYhAy37gsT6uWo75UEeQvBTCBj34N9vCx5nGT937WB1kaH0J5Rmb3z0uH5iEc5JQiao0gg18ZvzM1F07Uc8lFvRpCPSriQRdW+UwEwlRXfeQx0bmZunIK7qXh+fCmombIspsS32fU8/186ucPSst0D/NQIoMdJyEiEmwMViIYFOd8TY4mLM5wB4Txl77Iyp8g7Oqjy2C0/7YCcplFaDqrzylX23u/UquK7p6DCvFbum5zrkQvBVAcIawIJ6sfEni6OdKwRoWzTZcGhW7e42b7hoj3NtSHHXI98RKSRO30W737FvuG6U7ZIT058zpfVL1rfGAHo6ep69QvWEwQbdlbeGwttjeiC20wDjXg0w/7at5KHdMhl9o0TSum+y9NQQIe5z0l2dlWF+osUs8CzkaBetfbTczey6y6qH2AeAgQDUvtes8Bpkoftd3wDxojidLenoOuF/xBjXedbLTwHFQMaK+eq4Zozi0S839FuK4KzWv2iXndHnvNoacWaiaH4B7jE7f8raj65iWOyZRzUq4DGPkIu5g3FxGx/ar7oYw2kpKfR9pKYc1CXFFJarqedE1ysuroRfgNUMvuILpvgru1eDaMtQFxLUkj1AGB+j6kGeAUs0Zkhp7n4rhajMXKZqlRX9ZDT3Vd0Cvo7aVU4XQ+hNJ8Ew7uUYVhHglqx+qNdk9zVvZvDgOnTUBpgf/PxnWSSGr0EuYVAnlg1Ew3skDHhBNT3NiMkl+VcfsLpHYkSew1L/aKTy14k5cQZ2PenN2LpFHuxDHz4dghHI8uS3deI1ajWxLB0qDhCTZc22H3gFKleZIClpooj4l0zSNBere0iOOsvGXDR6RzPtnQOuPkr2iPCY8+vwesF+SpycvFX4Ae953lSr36yU3qlFI/A9ph1PmrTBJaj3gU8D/WnnQ0OVtT5nu4K6ghqmr9JL7t3n/BrH7WoI4IvxpnScBz1WNyIB5HFB0IvWtSm9GXm3Jf6w9qw9QtJLmVFhRRGtgH1i0f6/auICrZT0soNRBx0pKFzFlNnw478sThsEKY7cFgrzvPs82qED5vB/Z58ZHG3HQSyycSS2yrsGxAKeu18EEW2Y0Nzv2hJu8xhP8azNj7/1prHrRSioPu/cfBhM0wjMPF5H5uqleias7EqmKUgYid3rK7mD4Wrh6CRTkxrSasG974OFyn+5RSWPRBn3LJNQqDH164zRYH0MbMWCnrNUi9DdIClksidM9NmNDoeHbIoq57zgF+Vo5L8nZs7LqzlLMgJu0w1w5PBUy0KdOHfwiUJzg8AIC0b0bi5Frr4vX7EmiAo7AgkGBMkUmVBoZ0NWsHX0RPQSmeM7F6FnkzoKsuFH8T9l86j0kuNKNRt9Y1QORHA1qFjpuiwUgnY1+QD6+uozUi9HbfAbZ8PvgjNxcxl5gx7J5l9iGrWL14sJQtNFJpfymqzEeCFnQjAgpEOJ2Fg/rmYe/OXpaJejwXY2iVV7AqGzAK2cy0j3TjZ9L3BLFPr/C+JqsEw/qnO8ivfw9lyaBzaQGIE0DaCEghy0hj6FOPiMHP3q930EToBhOE1IQOdQxBqvGFUcYES+y2Pv3q7DAL4LzarQzR2ojekAuGz+fTlzlcph7qO8VvrshMdjPdJv5HlM9hhu0rfvL/XsyaUM03RPabRFtcLkSTpT6J6WeKWWYBPfm5Mgm/ECtXF6D6n1sVMd2HEdsy3YrAqeg2uXHsXewg2hfqrCENwHWBNOF4gh47kYUiruEZU+LnJvQ8ysjkNTEuoZJM5vMdapwn/WmMTjnLcDkkenMUM1bT5SHzQCzIkl0XULlgiBtRG9z2q88OK5rBG4WpKTL4HYSkBcgu6vDWn6/Z6ynsKEyFcIq2jtISNlYzGUedhxG43InXUoBvlzed0MGdlPx7tGzid89rLM0WkcsinolkSCIsHD4YJd9tNnJZokkVHZHE/o3fHYpNZDdqPIMFD2BPNyjFm7Ykcf4LrUmMwy8GkbLbjMzDh5QHOe2d2SMibbBuDPhJYKuAPKmOu43eeo6RmEACrk2E/xnlq7JsqXPMBgESO6CeXBvgmnnK2Yu6IarcQ/TOu/aDVpJ1Rle9uqARtUQmPVLm0PdvOsg+r6NqJNW/YLrw2F2F76toxBmtO04r3B3R2RWZLJRSwLGQmUi91p0huAu3DCzDAyADTPPHakaKIBEidN6hVIga6GZGX/sekwi0dERcP+uTs3n/6lySvGnS0RdO07aLFicVJGXU9ibLx5XHAef9uicaVyHCsFPC4gJa3kW9Oe5U4FJEG1gSfyMvaogQsjyVQ5VNsvQBkM2muu3TIA0vR8KJZ6+zH2MJXJThqx1HL/jsOfM2gxtfFXW0QFQR37YiTP92eidvvAWi2rwwYqwBUcvfv7I1CUJtUUjYyKS9vvGzAf98uyIiZopLu3YUEEsidaQVoxt0N9/eT+aPDDcdg3V7UBF1rhEU6YZry4L11ioaOETUcWbOfwpy+xKN9Fbqg2CuXox32D+mKJYZbDuZJQe3OHZbPmYCSi9eOh57ByFisFQ1bTbjdsvDPXQN4MhNhlV16xFigppQpV7qoPH/KpC5FWKo6Hv1H/SmXjFrf286YmcU8B/txypQXrhfBJQk46Cpv6S34LQKOBG932ZvYF3oDWfI2LbE0r8J5sIK1Pr8LlfOLacr75kby+U1xY725Mop5tTjv2Ym9wNCFSuy6VVXvOifRlqWu+7IR24cItUQnXikup/Rp8PlNIUcqqZCTw0YkVgv6wPRkDHKZFaCIYLoQcQHjODn4p5a2XjpfZ++6nrxjmhVKWbhnhkGyp8c0vh8dwAExZFvkpNjCZ5AgzzJMX0FEojpbQfdObQ96QuRNNLW1upV6DDcmlhG9Vlg/8+0p/k7zmL+ieYsPiMypDXfXkembPLSn9hjgd4zmk67lewDVYEwYwSLfJPHjcC4CqK/hsQkwYSRiyMP5+iQB+3hImVxpOXZmUEiN0VwaNUdEYgEEFHGr+YcN4o1N2wZaLc3N957xWIUfo7PzfzKGkssf4HBewSDZm4Ku37fGTQdhfQyBlnk4MTVPZr0yOkQNmfgbX+anUrBATbKJ8p7+PXOUIJWWB1k6NBelhJ1sqrdKiL7R7HgqbWsrxaW0nzjUs5kS9OBl5BdyScsFZfEvmDHKZEhE4kzbCakAE5X+rov/wDuSkSL/2Coc/HmHiFFxXoJNXIpbEZSCXuDf7bVOAdfQZrFomAERgr3FmXZxfI+HL+Cf1XXMKYnmYfEz2+H+QZd4ht/a6qkZu1EDCg1wAFYrgkYMSoYSGqEflX+ZJMupjE7RuNvUA3jMeaqynFQxM4Rsi3aQX7dQCa+9Z9wKgEp2iOxOO9MfuXfHe7OJ8CBBIsQcFJp8fuHJOssE/0WhEPF7aokD5Hz+VdzSuDBQNXkIJdkeQnA55m6HAAUeUSBNABqsXty6ZlfFNMt+ikC1NUSpsrFc4hVeSB/8hzOwL1qtEsK3t332BWuePxw6PhEuP/1pQ3+SbNRU43w00hkzh1UT5k+hCbeCvrJiT/l8ziuaZhQ5cPtgidCMyBEhoeXMin9KAdRhJfCfhrnv7X9Qmf6Oltqc2Pupu4UuBKKFXdPP4UQDrrQuY2ihhkrrpCs1JHt+AjfB6i6fVPdiE3kwlSqJ9BpHE171NHbVHHkX/KTFOwUwb4pr6tpQ+wgfeV7nw7MHAF6LMv3iSEtAZHHrV6dbjJhB9npxkJAV82T4RlXzWnRg0QuLtzZyGH0qGdjuMvqKBmglvwJwEV61Cbl8dE58BrhoKaVHHdaxWpQFsTsrXfgGK3R3kVb9KlWB4e41S1I7/x+gZt2zHN3VtKbykSc6KY87X1jZO10Nehixbtp/UN722aeX0ctCW4QIWMHAOKux7xOI5AcdclWYKgYvuw2wA7Re07FB98E8u3+WhwiC0eMOyKBO48gwsI8FWVKwQmgG/bhhIzGlRb1maa/l4hz/MBANmTRf1QcCjeyCgelQgrYQpQVsrjCgVm+L+/lObP0LfvLSCibCwBFgwgVMcZfxZBkbsIzxo32ujBdNB46VC5voASMcrtM1b8bX316QaqWIZQ8rOlXfq3/VGgevWwU1iCwcfmtRvNHu/KRQtpC4Av1NugttX8FzFDB0NnnBsnUvkxj5/CJEJfyJAk/ucfhs5pVUbMjWJJQ5VZm1ebcAa/XwTfJKvTr3Gq95Ve5I/SokKfwXVBQwmrrrVunRtdpHIKACi3xA5Ry86heRtyuQkJdWGHK5xdcVKS+0KqG9KjdbmAAlOp/FmaV+ivntv0QQWAQ81eAQenLrXFALzIj7hNJP6smWG6zKQ5vb85y81k9Y/IQ1b3aE3FtJfKaTCLjlZAGdT8k82QeEX/dlI1TR1ozGmCMBJA0AwCDrnbregWQlpox37yF5RWTAUTe2Ab3NCfH58j5e8yckBrjfSrmgor4MvDeXGJa9fNnEOh4mqZ121DH092m5NdFrOWkVzZ+YouNw3aA3NOfIsIB/AcBtO+BnRA8d0qJXY+mPe6M4kaPFuz9fAjRKHLHAtGy1VRpNV7dwRc7Go1USph+7pp+5pvkBrEAvnO8wg+uBm0pcApih8rNXTX4w8Irl4GWkQJncIMPbKV/e+dUBb7RBB03KJPNYY9qR3nmVAqjf6//cn/kiqXc45xNPelV8wdIcSC6jZcz5lMPuzhdLQ9I15KkA/2Hm4PX2tL+uP09GizbUwBILcG8kalUPHmjbMA2keVRbf7mRcwSrbS6s+bd5QIqrdfCKFQqCc65IjoWta0tbRg7RTzMYQ2J7hOqtxqWf8js4zBnLlRF0vL5yxABxDxGiXAhB4v8w1K0V87lz1tvJ7DolXUGDqflJe957W+8tUwFSLM3ONsSizpnumWUIGoRMuunbnXEUMmDtgkaskwKdmKTf9U+flb/VvwoRZHM5unEzlxI6ecwGduLDA5QuGq8ZE/0LaCXdlKBmEk8tqUxoiEyCnGCv/XG2MCWoPyeypVtpcO6jbBmhXRBthMbrI6ZuSahBBNWhC3jVMM/nYCp2gegti71AebKcJO5CXZMDZgOPHuzjhBgtTmh7XtNzboD+k1mZTr+viVpRShQNFq8XJ0joeST97fsUHSXy5DjMO4fBo3aJR2YVYL68eqxJEiQNHrvTSp9P2YirkBeMnutEBOjc4kQk7QodnG2chelz2Cyj13ccDR3YY3woq2ITR62yIMLp9h6fIzmKg9XajbmjJpeEzk/5eYNFzzRMp6oKNuB/TFOBnMM6Ys5ZRVKzTvDdUbikOj9JbCcmIs85uCDh9OUjqaqPxpklKfTJHBDuqs02U08X6XiAa5L+Sr4/lVETBD+7r/AQSAHh+A2r0/hbFkYLqKi7pkt3McAq9pGX8IsHamxI9U7AEU0NiJ7Cq6Fmp8wnSmFg7I6oZxsVThzHOAOjOlguiMZR1r6XJoc67IQh+iuLiECnu3BUFUUxp7/GgRGDqnCiukXZ5ho/i4jmZOU5bzBQGB0qlGENKGMMpJ7GIEGUmEnXMaddf0aNfk2zWXJKwubkNsP5o673pYM4mszfj2tdlMm8iPjdXWBAe3eQioSIm1sxKgWr1CFactUrTS7pYsFV/iWk255Bj98SjU2bW87aMTav0FT2HLS2a9SJDINfqgvwqi7LvnslNFoUbklO1xZGCMMyxPffLLkiWwbGoHweju0qJmRSv282SmdG0SMPySTt6P9pnWRhPjy+A3ohLBLnt4Ek18Z1a1S7Tns75DVwbE6XS+C2MCz8otd084/YCWXBFnts9SflQiZ06nZOWvmgpKuG+ykn3EphQBKoy0oadeuhd66InqopCTlTul7Ve4sp2roJJw7a5r7iZI7i4Dzb39UjCE35XyyNYDg0Juwk1OWykM8zrWY85e2YojijflmPTbegNekaJnD2/4QzysDrON72T5Q9a08SDhzyVEEnkyCVHAZq+Z7Fw2Cz7pAhE3NFQpCrQBVRCNoi8Q07CzGghcmOabZ95Yf50ET6WVyt+2oo7EothSRESlx5M1E+uSkaK0TWK59RywRC1vxwqoIR5t7vyyb3VP1hshbfCJXcqVjaq6JKjDstSEPwV0hbbDBaex7uQeTZubXu3z65dQgzr7ZNzFPplSm8HxGpd1US8FVBTG4/6XZ0NkwVifJLL93R1JDLo8Y7O69IsWKJ3USnjqwewd8IRAWr2n2uaC/tXYmg/boa9mfS9aERBByZOXjR2VQ4nB380ayO6rETPsyrZKuxppQJ05L9qfrBB+ut5iHp3I6IyKXBJaSlZISfbu5GhS8c72SaAXhyP790/M9ODzuHZEy0k9FJX7l76TTV4lNRLP9E2NliiyStY9m+YR6nydg==">
            <a:extLst>
              <a:ext uri="{FF2B5EF4-FFF2-40B4-BE49-F238E27FC236}">
                <a16:creationId xmlns:a16="http://schemas.microsoft.com/office/drawing/2014/main" id="{5731E0D8-04E4-4821-96ED-AC2DFC64DFF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3414601" y="4022768"/>
            <a:ext cx="5555960" cy="2829503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72950A9B-C957-4044-B248-67B69E3DABA2}"/>
              </a:ext>
            </a:extLst>
          </p:cNvPr>
          <p:cNvCxnSpPr>
            <a:cxnSpLocks/>
          </p:cNvCxnSpPr>
          <p:nvPr/>
        </p:nvCxnSpPr>
        <p:spPr>
          <a:xfrm flipH="1">
            <a:off x="97992" y="3906311"/>
            <a:ext cx="8728511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E10554C-087E-4593-B486-A34D2E2E0DB3}"/>
              </a:ext>
            </a:extLst>
          </p:cNvPr>
          <p:cNvSpPr txBox="1"/>
          <p:nvPr/>
        </p:nvSpPr>
        <p:spPr>
          <a:xfrm>
            <a:off x="4926000" y="1061014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Estado por Semestre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7B1A49D5-2516-40FB-9F45-32637EA066E2}"/>
              </a:ext>
            </a:extLst>
          </p:cNvPr>
          <p:cNvSpPr txBox="1"/>
          <p:nvPr/>
        </p:nvSpPr>
        <p:spPr>
          <a:xfrm>
            <a:off x="945689" y="406554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Cidade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F27F96AC-268A-491F-A06A-F4DFDCE77B66}"/>
              </a:ext>
            </a:extLst>
          </p:cNvPr>
          <p:cNvSpPr txBox="1"/>
          <p:nvPr/>
        </p:nvSpPr>
        <p:spPr>
          <a:xfrm>
            <a:off x="4926000" y="4030182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Cidade por Semestre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EE9A9948-973C-4934-88EC-66B97092CD91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3367692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oFQHyZp4ecBSLfyf7p5WQwaULQapoemXmvm0e/uQ5oyfrrldlqbWZh1YIn1dI7+9beRDKTUiwf/jqF8YPaPFMRNuMXDoPGgKHhdh3pqdOpwyQfdf3+oZUUm1dBAPvKhRe1rWeZ/qAyLeFaVxspm4gNSJnMX8WKSB+wnkw4u4VbQegkHC3sud4wflfPj3zbAyFVXoavSQoevzWtUObnO0AFGBTpDBhFIWcQFDdZcj6L4cYfA5i0IH6DwxDOe91K5uFbOQE6E9vwU/Gue89YKlj7Ze9toF1Ih6GuYJUG6pUxs4GxP7icgn7BmWtpGCjZ0ptppPo2nj9WvEJncE1sfJeSym1hVKxMLOoRx9+tlm67S8ipBceuGmxZCJZgwJsyAhA85xxJaQn9qzpMGyZeo7tikhpvN6Wl7kx0ezfsyzhus45nqQYcFzaxWstLRJye0IBE5zXJ2zfN8Q1eEESr4emUyFpFRZrFKJWrroKIqfqkOx1gJpqLb64wUcQc8M07eKjWPrhe+75GmzxT6qxJuiSKiOH0CC4Sz0q+T6lmqmUtXz5fSnYXO9pHC4OpYCwsC/tkXpSX3dTnTTdHNN7iMkrSOm1MSDXWgHUSmQeOz8JsP9L/BcadxAR+T/n8kR+bmAXaiqtPNDdtI0TmsIOaHC+TlVnsRt9I08gzP+TM2xIbLBDaDAM6w1QB0czp1u2CsCBfG+mjtBaW41QUw7uSNZOmNFahbtL93z34xAMUA7yOWeo1sYvmqfZbK5Mf6QgQj9tFpY3vN2Joz5X7k7namVYAGDNdSpVZIkxmpkClIk+rVDwQ9OWpMl3fkHXByoGxOU9xlIjvsEWasQiA/rrnRynoiOCVC2n7dKaLAHAqQaJgYfEzIMvF/ncxbo/wAGEci9ItLTpY1k2zMhEfK4SXBJgx9U/emrj5IXVhv2CUzHoxalszTDt9ScIsqFhry9LAFoUvfApyB+pg6MbPztmKCrx0kA6tPqWZcKEJNI6HQ45gfgjtTAl/X8ERFrLL7HBHPNP9b9dCPtbRpDvKVKh73lo91Ikf59VZDfSO0iykUEgxlt5fC2sTvAabmtF2rHR3XK7LXscnTGqWRxzDp0WgiZ61pp7OoDC2S42muxuIZhOlHr2bEYPYDGizpF7xthgOfE7usIvAJBUQR/MoJKdcs/ec71JedoEB9xwJLLoD7BECzV/VCBKvoQcaWMA3si1Xj1C1TOJWn0fKYok//bE+CV5b6Kt8+E+2Ks0bvcgzV3I17g7LjXpuV02e+I8YE8+rJMxOLV0Wxn+K9cgq0MpIx1yH4eEdrXdP4ki3EaQyW/r1avsw2gehv/lKtzZKVk7B7jkrPm8cXW/xL+npXW1lQhBt1uUMgCRYmrYiaxfKQtZ9fpiL++6YPoMcGL8agucdqe850FOJRgY2w1iy6Skr+B1rjpHSU9ypMBB2s4TmwDnVlm7li0IKv5Vq7rb8Twyjblv9RIZFyNw4+zlAWMa46zwdK2kq5HapMSJQZLR6T8AcLkvq8vmenaQv1Vcg856j66V2ySfsnd3CB4Lo2yi1Dn7LKUHhAKmD6b0v3Eirq3nDf+BHv57902H9w6Nj2gV8XUJk/pfEUllydRmbQ/coAs/lEIHyfRQMYV6Met0clkSXqg4w41p8TQbOJZ20OceDle6FsFe6bygSjOOZ4WG0gr3iOgockeTo5nNj6hTrG/NJmo8i6av6z5gvd4Tp+LY1ZOKdg0ArFf7NGUkSfIFnMntspQKciptfwsx3DJtHcV5nIj2SH0aCDEY8HPaV1P6+A8wuxMl9o0IbWzNaRYSJacm7e9VWFXCKVOoaW0If8wPQXsH+Lz1VnXm5KKFqWR7Fz/bM8TnB8H2T8wQC4xLd81O1VOQDoBVvZli9RwdxCg7r1aUKdA7fpk+93yYIU2ODDP4C++j5Z0NjYSmZqPg+Y9G//sEPX6OuhoHBN1shFrqCA4tL5Ug/Q8ebETB96dYQ/UrRk2LOWOENxppMBSbGmEXs8UtMFBDcLXngCOTsmD9v/LwcWAnFTucMkgCOBMe6BuLazKMUKubZeLpoLq4k6quTmh9sLWY5P4+3xy8FTMlZ2jMMlfLbY6M/6j4HgPDkNyVC+cBGGlzo3A8E+x7qOdDBw5yTc0ArWoDpTYcqw0ofODyDOPvfqLkiTnYRutdRGi96+VFMHmUozlDLNB8kaNYV8Frwv42XL3pXcCO5w3ffiW3cWxzM+3FGSAMccAuvWcDswxXbgcAU7x5jZ95THXkvcwqBQR/FaGRh0DQPkd40WGSTPXww6Ksgr8MEoIQCGAY2nJqta67PWtfVNii8gf3EyWPxYdCfhThuL/TSk6X5We95GowEjGWXq83oXVy1LN9nE1X7/iSrWpUhNye32xG10UhWdpOiYPcqaAugbnitSQe5s4yWf2rinU7V91tU5MSVVYodtF9iZuuqSAeG7UCXrNdpHomQfRd2pdaIWejqnelSkAYd2I1pj5+S90USQIEoEN8Q8ja7XTmdZHx8TxEv6Z/uxSSgYLuawjuykr0XohtRZ88TW3aSE2bEKyy0lvm4Y6NnIOQ0LxxiLocWa0DQKC+duymslE8bjstqQukoVQCFGrtrSd6FvWY69flfyAvl+MGgWlyN43YHI/RYSvp4mRNc5W0D59P81LtAdujrWvHHyIUUxoRwXJjPwUNQyBvu9CJFPBiHQyA3g2zZpggIxEw+JHmonAQ6VH8xil4ixzZpGP1//M5RlHLoU4gsWz5rHO4JtzXle7w2aj2zKPunLp+QY/joR8DyufprxmFbAFNDSk3VYtj3ipsxiPBqM9p1BJa0svZUML4QDN0lrCQ/iucwijDd81Lxhg17f8PZ0JpRNagIfTEZ7sjJXx1sf65CYlU9lytsFtaCEeiJ45T31/9veDVzI4JxfEb8wh4lGpzCRZAsmPYriNDQgGYtLJm4YqZyj3B1RDVJ9GAnKqX2KGTcFOLUeUx8mBcTZnANK0dRQlx9oilprJ2NCWWEwmgyIXXBLrXdKDtAHBK/8Gol6Yoz8lz2rUR+4wgQvVv+bY0eKcfzT/hnrp9UXbfH8mXIJtyNf7BEUO/b5bCqI1r+t5afM+JkiowqlHR+/uQl7nGX2SgKR1fW+d0X86baoeyKVqAHlTi1b2TuS45svqch8kDwV58qvY7p1lohLUuhELk70ShmAtR1+/kPkNztVHg6nJuCvCsGKPBOL6gTmgarDeOuq3B4VleE1ckG/B8lDS8VVIcPYQ2l49g0brMNmsFTncCG4xN5ihSFaLYzfySYUcDy2CUuAJJEvpwBF5NW0aKT452XE1QpoY+zeYzp0wdceFTMwDQDcr7G5/bwNSBPElDsduMJl+KzdDVWRWxMp8YrZfXhh0vhawUVUPUxDwZOY/2Ykxji2oGz9g/uBx4pmciJ5HCHorr9ti21D+Z+36k01882ranv9lLX8DeSTmJc7pQlO4n3mYDwFuqyLdCXhVnBgvVtSfFMTmyRNAVQ9Reyaqs0tlA9/BbPgGhssNTD8fkbHqrmII4DedWZNyh4TeJGxMGP7YX1PQxA5QOKYLWtaMyjIvVNykNYKfTYtOZLlAeYvUlmK5Fgfnt1w4TnKc0P4eEPQN/iyj8o3EMCKrKCY9HXUhO+pjTY1Ys8NOLvFv9O1Y0WqYYPyTJhChGJ+6zHI05FXiofsDLYLLLzqKZsQDbnB/ziprjmQLHelOIkHSI7/aSWe28UZ2JCUIFrTkBrXx1J7aSNrZe4l85vAXVg9203hQp/r3TK3rbOhM9IO5oDI87hbtuX8VC05Ae58RwfGdm0t+sZhDxVnIPWLw1HRIMsNF4UmfXRtJvmuQL5U/lgnOSO8J6RqLvHDrTUBQPHq5sjSFo9g3/0ScCjYRqMWDXD8lJRCKeu6+GcqO6EhYCm2nc6FqUFTOOJHkKuh2z7NAWHn0CmsZNSW1joQE7hxN9BL+kHWJ6f5Z78L4Nng3q+h9zk7QFlIsE37lnNJwNyUb7R7c8ypKrdHocaZPOIGwA8eysB+AKEP5S+6QDmjun5GFB2yjmKJVaFCTq0Nplsw9lLFAMXo50Cy1rU8rKgEYfQQkMoZnJrRPnh1l+aLLWwjYjZbJjblqKgU5JGUeXQO46OEqCaJJ0x9S5Cf5pkdiR/qcz3xm5XTN+fZ6x3LtTdlSy08+gFAv3wqJVjVmW4Hqqf4cmpnNhhEBKgbWAk/zuaJ3JawbVDtbsqqCotp1HyhwdQtBLMcy3qdKBA3o5nr4anAM/Kgrk96ERRB2v0lsihthMCf4Sap6BgFcUUO4uck2+X2lQ+OeDMHd6usTQhqTJmHD0BQX76TU/4yOcRemUr92YiK7jbqq3ogvsO3YC8QRW8uYh+zzAovc9FBGEQwNg3bLwVS4BdTPvDsva/fYH0WHjJwRZs9KTBOki7j0jcJV4ex/Ia1jwlgvZwcufOOiTxa2/79trPXHNQDYuMiFykChJAIEwkfIiheatDrrUPnDX8QZLy/Ov0JStaeLWMc+f241nDWTmtpo6MP3doSkfd/4SeNOAydGpfYnWsaztI3Gzheh9m+rBe+Q/xemAWU7zP2g4xiqsXz1f1jEIqnntfkMM7AS8jMEGSfGTw8kXFjjtLMeVC+Ia4kFrRNowmxyqy82Yt19KF4srzafYJLR2RixMX0cujJfKIzY5WKKuN8h3gny8G2IYhsg2ZmoadcW8ra/Mmw+7R/eSj8eA6u/V/87Ghbefh34VBrqrXdnkD51J9QV6ZP+vENWShIPs2z0+SR3wkcvKf8TkXSFOxvKYM6P7OsT1LYvWeNuua0jd8Onr2KHcTiBHclpGwk4qcLLAfikgsV4knOkP6CF8PFGKTiQ2Sx/ikLuHqOdZ5xDVf0DXipIC7Otx+g1eBVJWcfsyMNm2qdULlsBByj3JgRoIiPN8ga4+52PDRGyX82s2VzuTjCqDCM2vexIBMWVnVp51t30KFYJgg5oKxSsXiKp+g5yrcogdcFKpX+K9iJU/VepiWjuy6zq7tlbP3lEeUb4jEerIj9HUQYAwH/V4QmugcxX1IXmW3RM4a3cjm8VhFr5wNf3SsSm4VpOkjFNQ3RKItLPr3lE1x+Yt9URNin839Fd808RX7kWH01NGl1vXcBnBqfGmSFjx9XBNFUKtIBaEQpJY2e0b8tR1Mh3j7GiLJPinXP+lZlfHI/h4SeA0+JQCFff/jKK7FJGxGyqKWWjjiOj3ON7xzO6tQYWpH5nqOrfFLDlAkdb8AMf5oOcX3qoRkMC31y5gwXBRbe8ZkXgAgPJyVl2uiDSB9JlbiYnQhpfFY7hOpRa+zBhMfgj1IeJ9JgkWVuROtG9UdDDPVu1hGNhGM6+Kiy/t8Cd6EWzZoqHJEKqQ/0rx/QroNNItay0b3x4LFpQA1mjECqN9JToTIebQuAGJYRmrVfZNrKtezvx6xXwkg/lz91DgtjGYrctk6GK9NLp6kx4c0ConeokMoYbHV1lSk8GnwdMPJ6jzVgRMLsra3fhysKAK7p4mV7RCtO+Bfu9Q0xih05vTKIiq9r0/Ucoi/EHbPxN53FNL5Anpnj19jHSexuxP8fBemUiY+aZb1qrveYT/PBxQUJWV4Wxh8XxCMZPJM7n1NzEOHuhTXbdHFumnLRann9ye4LK4OE5UVnVtNspE7tHp7/dvskIau0nKy4UBEV1lI0wBsC9+Mz3CEBdOS7yPta/grpakmQTfS3iY46hNDmVK9ieot7ifm5hBcP6DT853yYg0WPDg94TX7fBy+v9PlbbaF/JrK22mdOoTYQtBuD/PRX0PCWyVj0O1GuKW9GAIHIRwNLaTirxFQUCLtZP0M5Lh5YFLeAmuhkeNcyt6fH1AzKEPf52/hsR/6cAjmkpDhjvRz5RGHoouuVVXPWJXdacLA7X/giWZzq6Q1tcVlBwigXeE0ek4b9MpCEbuNMak8/m9A6ZFeYEZqQLJ4FzEAinlF4tQhRlKO+fvaWe6VLh6JyYUgQ7OmKb9g25aholRheTcMo0KLmIU5RI4xvqtPxFBosuMU9QCyOZ4bSueKkJlR449LQUioTkJLvaLbQ32lh6b4rzBzHhTmvG7ZI6TWJ7MUlFegmwKTyeRI2qoML/pNHc+VMSWbZcKVFFNHaqJwTuxm5tZ2zVTNu8bzHfwxHnQUnsxiDTGQSZlX5DCj3pitBn0FeZY2LrbmRpuQhNuBJpcl3B5x63Q5OZxDeIPiYAa4OD0Hzm3PD7c7JpcOWSTAKmXGB/VzMK7FhGwgOwYkAxiKK5KJ1wfCRnkNBI8sR8BXdOE6QR67svvxTIoMr86wzeb4MyXuH7Iw7Evx+sF35+PkZQuiP0VHaI1SIm3z9oFVHGyx0W0kSCFBqH8F6BzIEgwRG6WFmQmnGLT/JnbMICRUa7Eyda8cT3DQrWDcXS5CADrO/wsTWPzYKECLtI8Hv9oa3B4W37AGKtE9UwX0h4nLPZkkadZ6KDwrC7D2QrRvJ+2o69s7sfmZzEcL5PP31mpVH3UspWS7kLLAiXfijYE49SFm8aVpuiBjTWpwEYJIvj1uJ7jJwhelNwA1HZzPXfyWtwXDRpFWg0jyDSADwMDj+R6OGVYt9lOy2iTpU5YPVzI3AGGd+IVxV4iU4e5wP06nTJn3fqinFKpSzJjev/1l7cVfQ59mJqs5UY9MhZMFo1i1o4zutC2PtGaCfn0LIxLYnqp1s0fL0TA/s1AOo2YWRZQc633cU/3nxsMlV++z4wV4z/lbyLCMubKjshQELnB2rsHLboZqt3M0VzUbF3XqqdOUOwINfy79nfQT9TUIl4CFlzxNGf8MZglMdHhE4tIs3FV+px9/zGSt9GVBvkerS8nkEhdG1xBhl546EuZ7PdIvl0TZO2nLd/FVSaL/PiVGAl2Dp19lHatPv13xCjlHEz9PNa3SDX8/SF+dp2joDtwZkqTgzR5Kksbxn0WMCFBNZFCb8KgJJyktam4d2en9o5/ebp+oTtGjdPzoJN7sFv7W3ocGs+fIq9oKduMEQxM3zEspfiCnxSNF16SktwW4DCQ7F7pwRjBpFWKRgl8ceeNQuETvTshyXQ9XlzEh999ODh9CrQbmiy2VKSXifOncQiHh1fsobDiOGTm/9re9bMrpVIxSy1lTrkF+9LZQc8CdxF7sW4gYjxWVJzHv6plCL6SNyfXaUdof6es0X9WGF/GaZMYDTbPYDe21QsafmSZTZOLhBB1+FEebeg0Ra43yqT27KHcRYt6513XZfPDjHhf3+Gh232Gz49rsIXxsFRnLroKNkXs0/ijbgxUJHCUiC2bolcwoJecTGZw+gP1ytIE+nPQlzr+eLH8MYPaHYyBJOmqgLn6ju386ipbBrYGCDx6N6jyddHB05s+pp/1LxavSfxB2vI94qMe7klvT80kVN1G8TToS22ShnRYeF433doS8tCIIlVedxKqFn4ICax40I3h4EjvEL4Y2cZKS90dxTd0pWdkPdKxvcnthR+fwGLeWkirSifAoCd6Er9c4t6JZJImGh4SfnRsYTOClZPVquGdKWbiU9vZ7z3LFzIYmN8tswvqq2xjuNm1RNpaR+SULmbR3gP4ThcelRuWprMmTVQUb6gpAf3V35jnJ9cV97Qkwi/dQrPhkzV5QTDZbNYo7SszmUY8bSjnftp9Qo3TIbnM/6I/YRE7qdcxCvJA9X5tfWOT6cWKSpHt8gxqzYu0K66ix6gG6a/wC/XprrmPzJa0XloH+HbLqZg2Go8m8Fg7OENyAdepDrj5EtDVAl4ReXIseRr+prgcFKOEDdubWb2meztFSjMl2M4eHMCNBFmKi0Ygw7JbpPuYK1J6RxVPDoj/B0hDWQxbGfM+k0UfN40gxlL1iv43Ze1BEOGphEn7hwmxSY17oLacpOaR9KtC+uiKrqvPL53xrhXaSaFcg8k9zKmJs6RmYyv6u20mJ4vZuJrMJoYlU2hV3VLyF6lfpaSIdL+x8yw+0+3AelK57gHm5gSw5DXLXfwCmBVFPtnZ/DrKkU8RLOkKuO9/rjJ/dtU+6SyPu+lm8ZtXskYU2TjPHimk7dF900pRMuSLyI7g6wzW9Z2McrE97zOiYyyBrYpUTsKfYpAlxSuHn5XitOYPte53JH6uggDQSkbH+xcFVmdt6MuUDEKqLdIv6OgYJBnwIY/d4CgP7tnlO/aIV2VwmCPU5nuwU+PoGlBH0ig8c3unOKwsS9kSCjf7MK0y280chs0MuQNNIq8ObI6bO0SOwrtkqN2RcdFIW6p+jaeRImRdLWyYJJw4NLbCtztcRvMlc9/5phSN0ZsnGT5JDgaJkCV8C9Ubkw9AmykgeuvvNSed6Uw/YvTjsyvXPbjsBjW0zMeDcSZoN7ISTk9bKH8iDQpsknvXUMRCR3wsPu2OjBPYq/KVkZgHM6ModIv6K4/sHfRkwsTrOmr0cZuEyPxBQBENr0wMxye9OocTxXwbfS5Y5BHljNomggrwjKSXJtBT5sRBeYYhACPWss24VQUye4OQKYHtCGMgSPkolQAwTmKbXRZMBXuC0AnbOh/B77yUkUrOgaQRUmFWLBDiwGbdVHW5X4HNqLr/F4SYV5D+rRXxzRkVsDS52UiMrJKOTpxJZVevyEteukLW8Wvigdt6mzqpnTqLs0MQeR5bp2OMPCTPwcz/AxVqEcSlP02tmXvKZlgVwcfvfwnmCGr1nIC52VBs97tKhPvR6+H70PV2JrIP7NHUIsYXdPFWUZdDhPS2A+otopqSjpCINEpxWzIvpzzfjW8Ibx1C4y491qQr7qdrv08j9Dfji6Ok7BsfdXc/Pi4yI/n73NfGCSSYE4tOThmnCB5yqfURqc7IaQiLoQl/8D4Kf6Te/xsvqsA9BQ1NJRB/icLMa8mizn+wVKAmIaiWgzkF8+18lZFalVBdRtBCQBKuL7XwKEy9oBQiz0Zm5+Yu5XkKUhYkwVIjFNlyuR5nBifNxBx1ViPW1XlOfb5Jfg0Pl/PJTfXm2FJZeqNpM00FyTVDM+V6nAk5FutICA9NL6u6Himtvmc6D36ie5Sv9Okc0YvfAgwOX14Jz9migeUlZ5y+NyH+Th0PK9cHX15OwA7eeJEb3kgJKt89N+1MSZZHr2LbEZxV1GrCqS56DuuNa/UvIox5Gy6z5nJ5TX7B2/OHICQ+BG2pq4A6lh0yKRFxi+POJs1PWrKHLffI4uXsTO0kdmC+lxxiNH65PR8oC3QbNEQ1LZzF+xiBBiQsQLzzqB5eoCfKOIv7L2B6BZVJlD/Yx5G8ef3E/BRDwkcT6bfz5UaEIunjQBGiD4NOWwC2ZZcLr4fw4f1y9UZSBzlovMBi+to1aCTAjGFPnoJFgivCgzfIvIvh/RyXuAW5ZjZ/GrvPgzYfDje8HMBh1nSOHzLRSsj2IT3KYjNVVNleWWFUWor9tEjZZ+foUzNsWV9PqD6BsCrm0uWpxweyoEpR8azdiL7uyF0FWYSK7yySr0JVPHtNxOYhnEXw0hu5RvFVf9YyAW84S3Hce2KjHxuPc6Hq7kvzDeiIEsCrwdgIR5OIMbnnn1h0bvdZVERUM+68UHBPbbb9fg1wgO/DqHkS6yopIiF4WkwmuWngvOKGjg+bk/HiltRnymvtk+4tQfkvYRcq0BmK8QsaUeVTegtuysj1LzNQgk31PVGUPi6udv6LUuc8hiwaRQs25JnMM8I7+1QA9mFvxR+xHEGRkmJkiBOk41CFim/Wjixnc9W8dBUg3fUhnmQqbFNDU5j8Ig1QYtlyU2TwEuEVfxWzOOklaW08Mdx6ky+3W3ynPf1n4vdXBVskdV7pMvPzkRsUpfScgcIj4Pj/97XrwLANCLmXMJpR4MVd6euCzjcSFrqz9/iq3OPrD3Zc9zl8nBRzIo8rtBrB7FvVrtn1eoq/5msY7/jDsP1alSNSpAIyJklb8nBAEjKxfMdoOrvYyyP26AN0ftL3qurMK3wZbhZ5T9tyP9WMdXVbzC2s0tjZbJiBLLKk2DBB0Kmc5XUQvxx37Viqp5C/bYm9x569009ame0/ouaupcQjvn+fD/js6j1v8jbLdE7dnZ8Ms29M2Z3E4yWIa1RAGQpu75a3gR5Kx2sxBgXKrfRZoWrN5rhXyH3EeqEVEFWrCLWoJgjyfce+qhHbxRZ4zWiq8JuLv8mnCc2Y4ehI6rtwliyK6lKWkAkAgpm74Z5SbX7rpEHjroH2KLZ0dRaPm3Q5FgIHfm6ExLX9qF9z/1AERJ5bp17Ibjl6ddMpoM9BsK6I4O7rV+TCen0e3W/dUS1L5u6f4l8sonpo+O8+h93ZWU7Njxd9lIfpxoPi1tO3uu5NeMYMwynHPDnFPsCZRx8jGU5nfeNLZZFam7JTsSuKdWvkZfAH2Fnnb2IlgDilTPMFAhmPuC4tCSvWhXiT9iPLWZRgmwLlG4BLE3WzlvHCNczg5CgU2DIr9Y8icspuvSVauCfd0i9GSdWJm/eI1tsRKe5MWKFZ4G4wYhF3Tmq/6OZNZxG7bPyIvtauIt4lzEkaOKwbXjn1G6Ga0UKGStxdCE9NTJb7y+0d0xRC97gYhkakqhdXP6VPJFv7xsVhPRQNcmZKiS0jInogioUrGxb2JdwwzxTl3gxw7pjGQxs1wEVR3bdUYiZyceP21+uWN42q1Jl9tVZtEOo2xBJ4naWVZE/Mc4x6ZXU0zT5LFvhvngtAR9k6r8Tqp5GZMPAR0oK+rE+bvh2Y+peB/NBkQGxEdhsF2ZNOuUNwqroUAZHVmbwcCfHLNGIsoBM/Oj6EK6kKDtxyXYWaZQAxnFaS8sEnQBx2NG3g8rrepEzXQOhnC4Oo4zAQKlDCbQIAHHaZxfjaCWbEGrvA80J7Yx8ArivaCuBKglCZjWScPMkR6VrJPISYoxA20MD4n/d3kxZLKQC15fZQDiw+rSr6hUuHAxY5nXJViEDtZ6/fph4LO2Flh/92BBZQEC2kDf0AllLehql1+MBXivps+6oI+9kg8ewFj9KzD3sG5+w4l6fSV/ZorcgxTwxmfRr5E5hshyIn7vNbupUeBj9Sz3fhAeHjT0GEtqvUrU+L7OpJyP1Nj+LgGo7Qgpasn+igTEzzMRLFhDQUktbozGXEZnoW5lwLX8p2yDFXR1GcjbjPItJWjkK4JvFHqxJoGiTZxZRZCKr2j0E3icjEXhLqTURbKhFEVGaFYVmo/WolAvdzTbW8YHA2p/Z+Di7h8eUyO5kvbwtT9XcF1yLdpuggajq5tNbDu2mYpQgtbxThpEWY7bhnWi/H4S8tibnIacR6sTNW/oT1mxt/3NvrT5e3vlZx6M8SanjFuT2M+nDT3hyk6EL8KsWqFxAN4pgI2ql78M6mRBs1OU+nt1HyXcWSaDQf2vAiYp8xRkgFGu5YWuF59oZwWKLx+YBS2kwkPa7bUlXz8dy1zol8earyWCSiOvoY94QbLhvhSqbq8MVYXo052wNCRwAUjGPVHkYL7DJkCmswa2/B8kxpUBCqfHtNySQJdbw6gJIM5O3u3g4SQyLeNkHb5J3gST5VrETZphIMMs9k8jYrRd0/EZBeH3bFVkCFAmF+XmGUtbW9omg098bEtDHZT5vvLvSHOCE9tMULwZSSJCiKhv2L4nkO82EvUI/WX69TnY54zAYEkVzzMICyCRWwwiGz1/9NtR5LpcFCjj9CaRvrGrO9fCUNTm2NMGztyqVl09Y0f5C1FPh9gv558N7rRILVc+Xk/466duyyVK+MDSSFll/0JTcxZ4e5MoRWolpfkwRDvBFwzuhb7J/iOGWmTyvqshJEoz028TTGz0D7+FcW5y/IVC8QgZ8lwRQjIYd7UE17bmQfpf3rzKKwVgU7pE0869fzaqXypK+3OtuhY3VjZAwZanz9QXbh6l/u3/FLJPBi7DEXMDpKQmk29jsq1scvQ9LOQdx9YShrEX87WdgywmwWejOVMmv0PmqcCCDYCTMvvTKk/TNMZ7XF3eIZyNIQ2Li5E1EfQyE14zt9Ga02+jXxXFP7y4RPFGOKPHQ08F3mu0CivsH40a7McJ8MT1CdmrgGf/JsZF546OPPgBMNLPjF9xC3YHTJr2rHq93QnY7KhHHlj7S6F6iu0xV8/LmBalafF6BL2t4856DDK9ur/QgYYRczOBBGo48NK27Yqg8I9qgZ8HKgK/TxFb8PuSDo2JyUdrN99c701J+LKJFjZjVajAsNn119QFjtGnpUL9yYPFFplIwH0K+EwxjmO+3/SCzRYBQLNfF0vEGzK4hlPYf7IlG3n9Cl3YyasL79SbzdDqusVXeInPTdLwABinOf5lvaCpIgAd7+F1Qzf/TBiC23ShLYjcL41PeuOejGESjC6gnqIwBjjMc0ANXP4G3YJRQ18uwCArdet/mkLTbQEkuSP6Mw5kGFqnUNRHus08TRCYTXMU4NNN3tQAVqFxBoZycu4f8p5nNh9dXKJAtuAQMYsF+X0aKvq2Li09CRtx3TSF5hQyezx9L16/CU7uCvRKAZtOQ4cCD6t0c06Mf6f37Eucu1HxCbdQROhi9djWdT4UDsdV5y/VCO/can8kNBq/F1tXoQv0FW7tJgpkTGhmk+l5RlwoXHRfaM47o4quZkHEbQrJG/BnkwEmMPa1ZqZwE3ZFXXqfcJn8sFh40kH+kX2zypMwRbZ/VSavSDd/XGXE/Q7pDQAotdllZlIBG5qhXZsYwlrBCJkjmoWysUGcGPW93W1qorKF/YUqYRJoGZeDc7lVtXC1qM0nJmj0DwzYqhQOyOB35TPhUYfyqRzUbqDnsJICU7teUoYSQYqzwjFO+wkRqx6hbPqk0Ct3E4dNwK21FRGjATuRatPiRmiEQ6gqQY8EpIuCtnQZd4xdxavjRMWjkGsNBpBRf4b8FIMDAuvmmuRQATDltzuM4GtWvgXhpPgZ1gC8fBP45zRTapJADsd8RE2E61N9lnUS3xFz+glXnL6rLb2BDNVhzvUsncikaWMomxfvRSPaFCenQbwUkVxXeTERGPKAqtF8hVTZY+BWCJq53SnxeKImT+Ea4W8OxoKx982jDibmncw9mi6FDd4eYrhjhFOPS6lkOr3kDskFcqCOqvg/vSd9T4jvKEn+5DPtZokiuX/t0KR5myydPWyANj2NjxPoKOjU34hyPL7tkY6zdWztyjTmGIczSiyckyjRMp+PIzPbrStMQ7onQEpZo+pD33BcG4M3sejHbaKfc6zcRDdivlRT8mLjuu3mco5LZ2NUGD5DlW1nIOGw+JrQZN4WTssa6GrtrUHyuSvhnK+KU1XPQfkW4jO6STgPSDOQs+P1t1O8r77SDx/eWexDwJGItG0A2i8JFBEMtf2B4uOqok8h+6ZyWGyN2UZd+zg1PQxXtELniFMhN531O+360ir8e6CTP8ANS92Mn3lytGNuisvhsezjqRixx3V/cavSs1/zJfXZaoOpEGbNdMthxn6/OsloxTwpZsevKTVSnGCs6vBLl1RZ21SrcbIiQ6Bi+hZ+4Q2Vq4pI0fRVF37oUU/EARqc76m/xKJCbCS8EnSi0jJm0hfnqfJJjaQjwG71lUjxbCeHvv38G8KL9PDRC73lY4whxxIQK4Rv7qI5mAQIWRPzMq8xtfct4mdhC+ntAiIkR+Arfeb+pINBhOPRTRWa0X4vMwXe+PDXUICJyPfQ3KZEEq2jd4cuLL7e/aTy3AoJgfKgYtHNcG18Q0ujTjDTmMd3eH70DlOiJjec++xd7y8fL8qfiHZq5Ubi5mloCIous21CzrtlESAsbuEp7XOmSj5q51pk9eZactIaitTrjAUmPZPxyHNWmkb5a2p5xagkSYHeV3jSwIbX0oAdiIAsVbuaTmz3qWueQPCv5kk6FwA4B9oLmjvhzDPsMbewHc0vrlHDHomxKbRgqzmCkxi4G8iR2RXfJ4tWf8fZBBkldUeU/ZdMRsARwsJKXTtS9ye67SyEOV+PJu/hmFxeCCOvevsD5tUNRqKGytTgYVqpF44JzYrKzbpxCSBBccrCWI2e9Xj+ZhV9Jzd3A2bMK0QS+klr/LPxr629Pxj7H9LK6pRMyipks82HTvDt1uQ1ooF5LkLu/SBo50yemKqHox2KGeqkOA/MFpZk4wrahDvKm5R9J/ZsrDRJVukx33gOkEmSYa3nzl22qmW1elhh+6Z+6CnSA5M+B+vLVFxZAMvbFwRQpaSw4sTG2lemNEw0iDCNxngh4fld5QiXFwCTmz0AHyD3pYVvgMgG3EUkqLCXuyV95Myq62B8H4VrcqTmAakTHwG9T0wkwVMmEwABfChntPNfwIdFGXb9OyDdFHLfxmP1fb3/ncFuw9ErMDLBSj+C33vmQCpwMx/i2Lm2YfkeSM1VNvt4Ox9Doa4GLnOMBdsuSgkAzur6Qt1joPn6DMQQYl5dgSc5DH5FFIrTBuFdWhDGRMzkVwDlNBX8GUWOqqmm1aRU2o26OpvZWunodxLrOwv2JjCF2hJFOq0ctxoSuHiBMeCGUvhIMWqekkNQpV0YyckbXITBuS1yE+VRLpvSV/RZFVY0edTqez4ZeQC8+NiuP1szkXn9irHRL7ARDGjDtAONDapMGLZgo2+FYrYOQLOay7s7Z9dFa5LgmnYtqoK93KA71csUPluJmXYxn7uGPoqr4vVjG2hIOd+4GjmSr0kUhlABocFlrrLChJXcIVz589XsyNxO/zfIDCpmbYoF4Qm9R9mvGct7gpStc6BQF0b9T7RvJbQd+1cEi5nUq7dtK/DzY22m/Lt6TsmZmkTyXvWNectwY7G7H/FzM+YViCjDTIsbyF6CaXkch0FkH55GjdegRnQnMb3ZChOmYzRo/iZTpxqyIwcUUnXQ2amcuf/x2132wa4vJk/jNvfFYtB/QVBApu2qQ8FzdwtVH8Q1CtWWc+gy585g7HGtHyX6Z6bs1rdtawLYoMmPB4urKNesTzMmL+yp7gCGlXE4QFsfuV1CY3u1+/QipVEw0Z0KdKS0LNOdF1cleRWzStXD5GsC/OdNxkFkxAbZXIyYSe7IG2Wt5uzH2uIHD09LO5M0qYoG5p4opNrNQKyoyiMlD9D1wiqu4qCgww6O4PZlL1wcGojUo3BPmONSXOktOgy9MG+n4lfgYXPcdZNlUY1RgYsq5DnLIlcLWTKoKXfYv1nVLHyaxbE9aTK/e2hOS/U8r8t7q9iWz1DIR+NylmXNpl2CQb/GtImxz5zYHm4M7MnXKdchk69u/boajjotZ/Ky3g8Du5VFgKOb5KCdNrfM056bbgreB/fTosmhX7Ej0jsalVpCAv2aJJHuG1ahTd0CH4yOmt9J5SrZEZOys5xGAV36TpaQ5ce02BoTJulKn4mkmNskDwwHRn+GToQoQKeZ2YdnyIdIV6EALLoFRPkpcpCaDOpt5FJBJgB6X+tdlJk2B9xVq4aNvb7xPHNfM0wP6wW9ilZ+6aDNNnBtUXqy1JAb78sZuXHlrnNhc6aV6fG+HBZPsbk8y4KA2XIR40r6mRmC0ksBSv9xM4xn+zisDOjTNfd07Wdc7hCMWfMuDe6EFbRR+rdAPQRd3yS9F2FFh7jR8V7atpVXb1j71YtbuspW8wVkTV9LVG5Axk+T5N9GBEhsJz1zJnTdAtFKDJj1mcjM9EmaAaJIjRMtrJw8NqGYigcV/bPYRHLpBNQQUhbzX2RFMADEpfKYQyCM5lSiO1hUkaBipkSTR/wtG7b9OBtw0r4irO9XDTKmbJmVyitZwZQY9ZxAep+ZqJi0wDQLHINvw64jxlDTe6LCrButm4MZmEMyl7d36+pt4JB+4pu9x5A4QJrr4e7xlHznpvCtlcCpBHxugY97ONAe5NTVUZ3l60lg+Q931AaifNsPntREhIZ1j6euPTu1oc1fTYm7EYi35N4HW6gzcXGfbIitON01ZTXUaYFx1TJed8lQPjulN4kHzujRNoslvDxFNVcpbSusfdT5sEcyvUmhh00vw97MBpRjEIFGAGidjdNtqVS0DwCcR8MQK8DBKUknERTfs5M6TKC1v5lUbEpQolkK/7v76tUrW9g8ZE+brLWtY0biELhcs4mvBNHW07zc1ZlTGcs3FWVkleoiL48/Vq9Eu5qL5itlxvIsK/oWXnMwd2r/JQKjpTeLxOz9fLjqQY/4VKBF4bW9q4VdiM55XcB16ckp7/b5tDRcPQKrxrIr5JkZlITYY5fmco77/3C25+/ZxPIzGs+QbXD6Vd8yXe1g9EaBAQT61dwknuGy8gse0OIMybJX6/hh8r5pZxaBObWsBo7PstAGi+w7WgnbH9y97jkXOwPb09tU5pnKbvn70Luv0tiy8qKLAa+nhmszcV54iMJgdmZOlv5mUKZAqKUfwfWgkQNSImQMfqZryGEgb6/RFHFn6ElRKBEZIUeoNPJxOfcZ2pzXUZGRqzakMRox2FfiRcpxvPDvT9hlFs2qRbLoYBiR7evEtABDL/LBWPkvAUBhefs99MBgBKj4+zeTfUunyv0T6k28qvCkogUx1PaoKX8cCiK/E3kCwHsWxF6H9/hGrol1NPAitIpGh0xafAzJdf/NgVzkNRS9vebaJJg0hWJ09SjpTsvggi0VaxYBMby/pCF39P+nMVDeEKOJGZAhjlCaiKahaY+SUks48+4n9vqHOLHmUhXUwgJjVmmR1TBbj9uT2GT0PjzwYhu3qs8IjS1kkJ7yW3m+Fd8Ps6aseQ3ajDFTiOStqkPwrPQtUF9ZlEk5E2mJUokE6kfXu3VBaOCD/pxaXA9NhIlZfW6bpVWkkgnnYjBB0U9esPLKe3AjK4qWjuPHfWpSHolSiMq3qt7DO/ohqMuOMlFqpmGd/sv9T0I4cZnWqJ2eRhixDebU12ZLs3Gm0yTe4lzAZKO9Yyp/d6hQ6pistsL83nchsk+9uLBJLJu59F1LGTFJMYp0uW2285pZXgjkkBU8/ld+P86gvVDViZkmphBToSDwUHOcmzCx+oHWfGroHVFhOQRu0j+BEMomby32SJ28OHuxSW/r1rs3WrVmH8FHTGloBpumL0+OZR2qaD4W50MZsUZ4mv6asHdH85WfqCwmc6LLX75D4itx6v8AZCwHH3aG1xeZZMj7L3BRE4rct9u7r7yfbFnziY6rQzABAhL85pNwCwkf+7ZO5Sx1q9hVnk3uetm8uY73ZdU03IXg3j702Xe85pJV6t5zvse+ZFVuMKfETEI/CmKvGv8lgmcThKTF+3CfAUpXDiLYwxUDmsk08CbDqgTs0ZDUcBEqmzJefnGrYc27UZN69O+NMiAumApT0azl2uscFVx0PYC8xBZcb8n2I2I0Mj4P0voyS0zqgdaBm8s8e+LWaxFB+YQGTCdpoPsOUKBS/xF9sQPIklranu4NdJ7Ol8euG+JT1aG0leTq4Mh6DfpLINA5lLIailoi6+hEW+IWdowQr7+5MZgArNmUDNOohvMG4CqKldI3E/6K80vdx3MC1Ag4k3mMRc/MsCFpgdUNGCO2+xm/AURwMQ9BeC/0TBWLZCohj9PFioy6R9BkgsANT512fPVxRYw9xM87lRECKIgNBsBAINDJzX3C1P1MFYB6iZ4HcEIzYuy9deOAhX24eIHzEUyuT8lvSyT8ZEfpSFjNOaFEJ0X2wJwQjqDwuLLTsGIGIvzjs0WgN6hkzeJJ/xNh5An8LKzsYyYjwCQftnU3XBbNY1FITUHruHByLdanRo/x4QuwjNpki45yqE0x+3pBxvnnRAuB06NjVm64v9a5//pZLPgUeTx71M/9SF0quyKMM/92zwAPQW0L2J2AaILRT4TTURSXLyhB9Vg9qLGPKmYvgZmIziJv+tjP+iCCyoJ63iuV1V7908NXL8SimsKpZxL/2U7tX/tU2wGXoNGypKYxFWkUNowQfwxNF/mbjuviCyK2nhWNe1IAygLHFzxYl8qhWF08q5pYijw8P2vER0hEinLpqzmqapNLgy9tXk/EjGKD5Xvce/RcnKy4/cAvXeDOzsEuYinGvwtHykZtHLhKeGnB7o0qfKdJVQspvc0tPaMNF6tKxjiogMwbn+LH1B65D04KoVlwrdNU9t4+4aXFZE+pnoBl4guF+w3Fau90den8siBPdHa4o36H6tbi+bOD819Zr1f/P+2wZbesNBcfT1W72UIgKFmB8oAuolynKLTbPjIakZtgSPz94zbO20Oek4WG0OswInVsCO3RP7wUbZJo1CrBEjj9SGSXuzkKJOlXe1TMRnITM5Bp5VzpWjz9h8zynNcJgKHceYiJBKUQDkmSWzGxcHM4wC5sF8UBxn/vVnlP0092bQhmyPwQdsd7bi6mFO0tUXqvQyBdo6597ksrQdtH+7ELSud2/6UgNbrCvQC+0TXV32qyqMVdthA4nJ/NQ4u509BS1dvQN2ZDPGNSVE6ZjJ8rF3KZZxIgKbdx9AiXZw+tz6FBChA69thJiU8IVqKw/5gl6TwU7nFq84VYwH5SbfyDxtIhFvt9HT7Hv3JeJjauzAZgC/tMsEQ+j0rbDLQ45wohHPjA8B8tyNhBC8AB4zmrlXTYRnvvFpTog9QdgLA63tTXTb49hbKaNckJp/mQBBUmTHyaua6Db6T5P0Bz5ZpphqlLncqBtqjcMvKjLALZo7jYCyqln6jY/Ve8bCJ63ShdlaI5HiOxWyRp1j3DRtJ5NGXprcPg5vzOyQ3THVVUKt3wwkiL67CH4dDmcThxy4bgkpU2+hBBganuTla3fvkBp6JMPwMQGoIvAhGo5SWzT6zkX8gjAkQygtUHaTKiYujRCbwyZZeNena3cv0Gmysoi4QPineqvU94GUZ5FkvP2jolfjKo0CugYbr0Nb+Nwi9G7HN97Fp/iXudKgMMTlr49a67z6yhzivoIHxXlrxgOqcoBW+R6TYhDHCjzv3d2STVRxtY/jQrg4jBpZe6In9p+DYmhJ7Amd223bD5UtpKF5/5XMh0JeE5VQVDONzuF2j8Qj/YjffpxeNag7/kPn/7zax8k5yqV28RUfpbwqpi2sw+NPyuZ+vR7gzTYhWM5WqVLx59enoGr82Cpm1WDqiH02p00nBUS5M7FPlbK7G+jdBMUn4THqQPM0MIVDnJTRovpFT6IBl6AsrWMe7urRQepsc/DicTiI21piGfd3I6jF3VPtGuVhLKeWjYweK6oHw4/2ovp1dZmdwK+I06IWgtZgjMAiCqjyy98dlZG79jIlmOrBgQpE3bo0GzhTckxGXNKyWMByyChl6aUrRYslyCIoKZNxoHxl+qxs/XejSUFzQsA8rwpj5dXEHMoqT7vZGIPwUOMEUm6XIJWfznteDqp94PnssZ+ywzENKsUgkyf4Zh9SfuT+8spOAeNjea/6tLPK5LZmIbkqIroQxRD12pPuKdF/tMhN4qcpOzZ93X/PflbflmioJF3l8vx/wyFiWQH7bhmqQRhdRjnIw38pIh3tBw4r0/sw8DbGES8L1kMPNmZIEtm7nFVdc7beV+3ZYq0GY2craiWuzBSzm846k1zSgTl0XP9nMzTG0xFppDcdEVzsfjXuyAYV3lV6hYAQwA39PLMFRrd+LZiqPe6r3cwKa/6mf+gBqM66bUNklf+nL3XZZ4ZVuaq9XMUkKkQ0qLd6njET0EfDXYvmIHsEROAvK64h0Ezh8ailQuDzxz1+nz+4aDmLr4uGECr32wtyRVWa9X9YwqPviDXArw16gRb5sVEelUtEUK/laLRSlxkM9CGvUk1Eu+SXf2Iv6s7UBzJrU3bo/2DXOgrP0nw8Ge84bgcA337/wLaCgSaCB55GY6BtoOXNzsbXMxcS+u1rei/uEW+ThJembLIwkh6p30alYiaH9xT5KxoKyj9ulxP1j23EnPJxrtGcHwWF4cN4hO+ULKMWjSK0ob9ixUZlgzCHxi6+KiDLOFi0v5ylEjg9SIm+tBZjB2V5I54TJVmHbPiXV+8P8cLyGX1LZ+kVcuRJ66QI9g5ZzluWUd8G0g2jJjhLkneCj2FXtlsIUk9aTvGWwtDDmDyIcNr9UPq2w4N5N68oOpxPLpfs5oM+hwP+YNAdcoFyiMtBNAe/j7c1XRtGCoYiohYyiY+dCsm0YKujlxy0IvUmd5EEofhFB8Rll860D07D19BjJa50/QdltpgOz5C7997myQVg8ZWhdQGc4S7aA9WWVr9B+VIQSgpL2G41+SlyJUuKyznvdKVa1xPDDs+S2mSWY77jNWAsm0Jyd06eRqggNX7kxVoZga/2+YtdSI3gZtOvCyMdHzXzKQ0wfXGCbxKWAT6n4tPP3k58TiqmQ2YnosorBeEJ8G2BtCUZXjDn30jxVjf2m23f6zixdPlVO6Wig72qVLkWMRbeCLeN/ZrXh4UFjvNrzMVj1rH4nuQSaL/p7VTMeSLq9vqNIYFpR1IYiYvLDCdGVjCjdAsjbC10dBU7g8fYQHeYQyUdMD+K28WcubvQxv/iNLcDmHng49l3nTUZ8UZn/rIF9M43+HOirwdZrywKtKHPEzYwUd6xQsRB9HU0rRNfRS+nrMiuOjGbMQ2VSuohWD4ZyPTjKF2yc/yXcGrpnefpQPJFEUhVil65NTNZdnT6o+nNA2IShi+UO9nMngsV0sMtsHpj2Wxj+sQTBw7jfo2ghveSemZwdKS/Y83IQMGvRFmDMy5SR4jKAzJZtrWf3n2TpKCnLYzjKeSHGBM9UZnJ47NjqiipNanMDc8MMfe8kMV2v4tOecNSCwVYB0hTYtZcKNsmXQ2RoU7T7Xn0eagYpZ9xOk3kaD0pw8Q4ugin+O8PBBf40fyKKo44XVmTauHa1B7d/DrRjMYBlDDAlxK/xQ5AWu4fS9wU2HNAOHLBdOu3vkLM9JYvlaQXYgPGYZZCFguFxrH3z8rYZdYU20XqlEYPKMK9HUndGDa73FNrzX/ai9bxcnqGqNkocPWDJWjWkVsHEGsJiGUgirFw79Fedfx3e5tUyc7ZDsEQ1R8Qahr9jxytXmlm8K6XVoadrS3JhYuroD68am/lQfATDEyg/8kbEvIBlAQScSViZSjc8PfbCFzDt2siRkhbhVthAKxirxtwGYeR9udsWXb4AZFdMwSzLW/vGZVIV6gugqvD5Yr1Ea9C/hLg+NQ0odyFQrlIDOOJQQ2rMEWGT86gFP0Pk4CJgrFp8hWuUdUpDODiC/juHtwz4JJio8jkVbPWlE8bTLuUOAGDZt0r/5pu+xZc/h7wjRUK7DVb2yQ2+frxy7wZj7mb9x30u7IHuSeWjJ9a/y48M8jkHF5dE9GSgQXp+FneYZ7+oREA4f1rw9oiGsrSa9B+OlpPrnj2jFbSh+gc8BrqWHUhaiwNza6NeGLQVMDNcL/yN1uTWOlQ8l83VEU2XdFS2OBcED43kajWzeb9FcTjsOwf5Lh2jArVUgFSl0CCZFEqJ+aM0sbsfaqt2mpOdGo+jMKoEYB1gMqegxzaQgFh+wM1ojvk63OBoymbIhffLLLu6DRCCPWY+Guime4E7AjnlcdGmTrr7Sxcu3g7t+qX+sr97Clb6oi1wnPe/4oBeBRwUbTe2JfuKaZLui6rGIqz5aWdNO6Nimboc2rJu0pkNGeWeHzhamM8gdICJ92PcMhA2407GJZ1auP1EtHR/ZaCY2pOngzVmCCcvBtelIS0F/lGY3VQWl9Eo+GMkZabGkC+D8bOPHY/693MaydXhYDJISF54E2DcqQ7Le6ZE6emVJhU2dEJFEXtlwX740Gv6E1+X4DxS3BHmLmKDwAR8nRYKtHvFIBNhyLq2YcrhOB/rWtamPKm+kDCYGy8/ULGOC1o6XANMyJs4RLkz+LfJsiCP9/2/T9Pd5TOcyzGREG/2i2F8CKm6jRysrXDQhHxCycGY21o57FrDGU/+ZIPwu6dw6m2w1XWlHfgwBcbCxe1cIERdRA51nMwvSqEGDTH90xNljVQAygRS6nsy5FU9Diut/RNCss8xntpOzLP7bp2bObakDkz+WdgZ4w7YDuP85oNSmA/o/KkTVTKZ+tTzvzmObFE3UvKuTD4MD8c/Hkyo+j2AQ7m2tgCmLQvE/5k695p+c7E7B22EAem1x7pSaOaV/G3yJrV4BXN1nmQRx2FoIdtP2RcKK1GcaOFvaRK/llgNVNGuuMaH3vqUvnC7WhbJwGGgyWPMAdokbQtTSZ42UX0c0BChwTDf2h1Wl84Fs2K3XiX5hX7lRWeg4g9g0xrRGUIZVQcv/Cx4+YVldQs/1+7KPuBMg3HzZWABEasgvTuDv+TAIA6PZ/QA4gLXXM/mf3qsjRRxO2amcynHXqlGrRvXFmnDwsalBaKHRlRsWXEPggdJR30E0Cj0OSr+8uXx4RpdKXDfQF8FO96Tx+Q3yhaC75Du0EK1MYvBZgFpN+BMF5Z1vuD89ILmbt5gmr0kBA8dqyCfDJMXTMA2K52ewo5XnwanwlCEPeQ3AHVRjKwoy8nucXIHfaMP0E1m1wrUbQh0PS/9nq75uT63nVmIQ8idDBDVYztjHNxs4GjfxRe+CGYb3/Z+kGkG6Hott4VJeOAHxjM7tOK10eF39JGzxrp+XZqpvwxsct0XO4l0HanIgo3AL4Ne5WkhUA1Rhb1rcMV4jZKu0ahl3D0Uc4IjhNyHqm+ADi9GxEakIC8ZANoGFPuPW+x44KA51Y/wI6hFasPo7a5Hrem8LaTMgbMuROfx7PoGJh9cO16xC7OlC8FzZiL6kNXEzpajrFVzhjVzoLKsnlvGoY3NwGwEnCcChsxTdEW24bUc9qFxoe6ewvCZ6Kt4jnuEeieLMwK0uFYIGis2dGaAuF+V5Qp+ulmFcZ0yKuHsHhZDiVRHTBjRwL5orUxPS71aLfa7vlPaXI8Xxka+9SAmReK+KNgysfs61N4RljghR2an6LTdDj1XBQjTkjPEtBB2fwMeNO2wnlUiGXKWUbKa6fQ3xeSJLegxWNTTSX9Aptu5vxWv3IaI35h7zKaOUGnZVJwjHldfqSg/xC/p5kse8rtc+dVIaAx8UWN+wLolI3IFRZnfgfoCDpEntTY70lEhrVvdxj0f+xgNTKgKK97iWaDiHxhkCj8+Oih1u0wTY4tUnGftankCYbPsu4JiGHq6HAhDUa9vEDnPpJNqtHm9VfnOVucMFWBwST3v16y5+boTK3PPQA6+KJheoJSQCkekakOny3V5C4Tyi7dh3/yV1lqtel4NPy/GbGTeAEdnvuOFZBJRrQazqDin8iZIa5qY5o0PrHUOhE9+pqLVP07QVTWGhLpkGJO/pjgCN7Gg6WUwE8Yz5jj0oRct2ZosmsezLKo2yMTu6NCg33zECW50AlAMp9ljFPogFhepuPPfjohzA47LGkQmvqxN6yfu/JgIKaQ5vRmvKok+GVU3UTYhr7TK7E+W2frGg2zJQGrkTlyuDlWwmJu+UP3+hsrGZHtD3yeAUtJ5ymMcpOpqzSNvX2jB0g3uOVX/+KvxuMA89YOKQBNLAxpofiTAd2cDoCpNjRWtE6vcgzL1TTgDzg8URsMkix1dWBJsWODgD5+vF0pMMDk2+BLSY7CSiNIhlH0uaL9/Hqa707HKkp17GLIPuR+FnSCtzdX67hcUpprPfc+ObmvJoURkoqg5IpqGTrMS+v7DCi6oMsLPLmK6fvtyhv5Ikv10gujjUdBVvkYSRjyEXYA1vAiSmmk+5lReYbUDWLBYm7XUXmHXiypfFaFwAKBFzlMNATPHKVbXDKCXdPBwBs1bpk3bAdigozLMPNg/OlJQVZW+46SOqyg2NLy2Ll72QB6exVjANiwbkHIh4weHRdhoaMYOaxBL7Hl0FCxzWjnjItVUfV+IFvA45k44tpvAwl5ygFf8TodDv0JiGCNhOfRzPkSXNDaoedSa2c2S/d+8mZKHNNxQm9FgrduNCPlNsRy+SFrNeR45Dt3daMC/ngsJA/D4UbVr09bEafZIgFYTHXwh43mbQmxuQSapMx2DIOHdeF5tjrim2P970mbXzWZvaDjjSsmpYS4Ybaex4Bg4e6MKRJZJK+rGHgPHemTq7LKOaDdde8RQ2rzYtwtj6lz70VuvlkAh+GPmY13xus84+f61Znchdxl9YfALMX3GgBcfg9vDH27MK5vPosr3+wrxJQNrWohnz5WgFVrp2barMGlF0gPsfKtGel6gF/W8zz/uDumLZIez1bd2TrCuvN4A754PVMEaLApxGR2xthAVnKE9BdDJAWEtyyCfbZTo2dzH81FDDcDJjA+7N3ytO+8kTVcTLIY5UYW40khgIC/L3Pa3ZM0ceTCjHVG+Wzloo2khyg6ztYLV8AOVpie9n4U+vRMxuT4F0udJhY8Q0t/5GtWxIw3TCfkXdaV0K92FHFnDC47Y+kjz6Xv0uZz4ZIJPB+ZOAdMsE04RGJS3TZzmRgqqYrNUlr3uRUxoKHZQqpkcy1TsFDpZfzaKI6iCdd232jdyAmcCvAY6ipQkNwQlxBzJue/EXh3xjgNDDinF5eFIGZD7xvaT4ggGm/G1l6WB/T4LomCG3uJUYTOS1GPUl/ZdEFnik0hTQLhd3vP8CbM7SIosQECadRNFlHpYJm+tEOfxWulQwnEIeXG7Bk9HNbTnQWxs6GKJ1DHHt5VYUmRjysqKyvA/mO3yJRIkEaAVTsD6tCoT7qyPQWRY/5nuFGKv5e95YrduIf5qigWhrpM2mlfTeXINnIuhSZ71Xat50AH6sNnL/k0ql6d+EJy608h5gOqA9kIr3pAvcrOJ1Dk7cK6B9aWH5TlSsJ3AMuBbeW2l/+OHd2chn8d2xMRez7ANWpMQFSchvA71WdHasYdA67VBdf0JFUYVfOOkcs45X5TGexWCXk9/uuB8/IkyOj0FSvhLB1tzdLAjF6g/ir8fjkV0Eto4YbBjz6MUbt3KY1QFKLVL+nPLYfWfd/nTL079iDE5vMuXuw4xAeIS40m0zArWvmnnT5CO2Ho48AizsbLuOqLe0vf216AhZ5+FZ9AgTSva/5eY2hDp5GVF+HyGjReCq1svjL0zdwJxO/ORr2YN/F5i3CQOVOmM6Q99hKBf3YBb3dH8TqvP30Yk9Atx/H3WFOw34XKm6zPvKT59u+TGH3cQ7WrKuUxrflfk2Egl95ihTOOr3TeabQkYyo2Q75SvZAaUAESncxZgBcSaxTkefKIRIpcKAYcpQaiZQIt9dFHyQry89DIZEhpKMMlby09AfE2zYHR41nlBd2FLy6MXfUO1aOx9mBhjZCu4YexI0Q0de7GWmQulqLVfxrd1X5YbYh101iJnqpY0diKVBxVzgyW5X8KTUFRyE5sQupekszRWGX4VCi8dZ99b5c/1uCdGEfytyUwavnhjzxL76R6QkbsXSUck5HE0aGGoSOkFKuqv5uSohi3KjKoZffdNANacKRdEiFQxxi81m12jBb1WS4CnOVvWmpNnxzFfPhS0UqeS5imG4mdPz9lPBgrJcA6Yi99eL8cwTqJKDPQNHXD5dZlYg1Vt3/NY2jnH7V5a06bK0HaABrUg8EeEYUKcTBuoYcumSasuwDkes8lB9axiGSY3hH7S5U2EHkYZjquI84x9SNURSqKKriaQrbv5Wqseq99CPCFZ9ZvR7YBU07PtYZCYA45vo/qDnV9u4pAetdHSdHDiYa3hx6OBpDSASpueINptn6XA7elxqfJUCiVcxB9V0lnkm5bnMBtsHu4dqwTnk7+MYMRW38TfoE7sj3Vl7yqGk1atKB85WnSybh22v5oE1p/sNMGVXYuBosnDDS07sGKelKyPzQnuG0wAaZO0zrBx+rsoT3V9tLvXfAtbHSHvquYBgZG7ZUuPbGjS61vyVch/u5rXkWkKgu42R5gp8aiB6DWYyhfgXIlDvD5X+S4gfch3fhkYxcMftlWgmfcai7EoZlxw372Dg1cNesMaI/W7aagCfFtKzt6MAxTjffVWyX9ugHYPZYFtd53BgS2C3u0sSRQVOCJLeo55y+4cmD/Ci5VXG35XDwVAC148TaBYmDEjJBGaeUrw7IXwkT+jf7JY09A7OV2bQwp8XMA7zs++qTYMRiqO5faccVzpvSsDxOES3xijDOWamMmxynkY/ufaJ1OIDwZ3kmXaOCM+k0O5unKORI5xKAp05Poz6wOaDuQHZsnim32dZ2/dmVwzsbKM6n9KRHox243nzKw+4OlPPTzvmnfn5+NwYWS5d9tQHOLagB/O5PnVs6HENvIgI7s+TUgWS72RIkMfBe5b5ntn7jUqXtiSlQOWBeIWc0W0TPkMC8InxiBlErcQOFl2UYpCQnJd3XwhKMMTGBvaoNJICzZ+DNVO5Zd7qf+2e0P6hf/E13yoSdBnkvHc1Es5EPPPDpHqiB6TzQGuTkKzOjjdr1yUDPlNMTiXk7qssuWvrzeXa5T0roivVbPnf9FAPJKK6oCzqJYJAzN7R7xOHrO986iS5xikSo0lMVJCio8iagVpqLC3cEAyLgceSPASBKHIAH/7ON2xmNhEcj5oIFfg0c8JVORkGmseaQW5vVU3V4WC2kMSP1ypF6vIAXFiOnP2skk/bTI0CMztRQnrg4vG60Ur4lKoC7/GCwRahD+NC9FpzTOT5idGduudgsbuj/DjFL3kMwd79DYIZw5qQGqjzIjzRsg1PuEbNiqRHtfIL4RdDW12Dcmp+ic1QIjQliTka760zu6sVNaEjCiq8D6POvqa4crlou9PKzwKBOHeRfdjY647nIEYkUr+6Jm7B2Gl2NROA6GPo765O0xHa9uD/RqjE+1b3WZoPsEFqM/6iXaKhyu8zvrY/3riftSn+r29QjiP7q2lvel2bgcCO5YlXnkqTFSF5Xpqa8+XDH68l6Cin8Nb9CeqILBCM9qqn4eesrKrQuIT87j2yqhDgXsD+LRRQENDf9XEsKAhP+aUcHF3Xhm/NnzIRJ2ib4Vg0fxEq8pFcEAFUv82K3Rpg/LIvSub2WlOtQhtmJOeR9uL/mXEybX05VqibkRHIzXBQQCwzjPzgae8tU/uf7NFxhmIcIpOElkqxZIF+v/ui/GDL4mBSpSXg4EtP3/BBq31bd08aratRnl5SpeQ9hiVAuxFkOHPnQVFiph34SjG0/Yngpu5X0HstNgL/QWQJOEHPM72GASTaX/YUsW3O+Iae/J+jusU/pPfyBb//XAwA0tXKH6Mr/5Z43X21ac5njUbWiavoXtJZ/FlsUzXm34xAvsPRmzQlqVoVESZyTDW45fuE+OHQW8cq1nSo61StYosDEUr/LeC6qECYFEbgyw0GoGxzThHbjltZAb3jIOZ/Soe5G2fJ0yFP1ho3ZPzObu44deUbSn1jFXAiXy3TnLz90nJJSSNgnWUA+iKVF9B3Gl5AvMRNeY9mN+oIMQ2DMPvOVu9IDad+P4GreFhG+BfrE1zcRfD5VHtmhwBKCZzpmUpbr60R4L1CRgjWqkDboG36D/SB6a1+yscTmA6Lm3sEj+sCKWBS8l4TfSZCzqJ42be7Nh4a2YHFSvOAmeU++5a2994h5DsJ1Fx5vd4g5GhRSra+pCQxEazog/FnpZK3fZqZ5sWjc+fYqrRygrMIfoL05noybp3dCoNMs0fLF6zDEprUWwDTnmBHiuJYRre+Sw7o1XuPTwbBnT4nPE9zXEMNVWc680lX+Q5kKqwTEHI3IHYkBZcCGVOIKkMlJ4F0nXIL4/gEupQIAF4qlbuQAHSjuZABPcc9kc0g+W+u1KzmEqTt6/2cO2J8LMkz7SxsDyl7sf+fxkFcJKREgKi+Kcr1ccTE939LuTNkEOWJ9AlQAYOoT1HJTJdKmctB2ToF/qe82aMLC0KImHd3cqIjjvQe7/nSILejPBiBjU0kFs0oZtp7Npo2n9WlH0h9MKJl0u9o7PcgIbCep514OnaYBXZZqteWZEJ7SXGmF6J4ji2b8cIXAHx6HdHyB4h8Hg2C+nAT55S7TxTmd6nx9A8dt5Y377uQQUC5K4FkwKBxWwSNolWq3naOcTptz6wmQVSrkJMylru2RxrCs3zYzlYO6+Aca1iB9Uz/zzp8FN2dMjp+RB2G0kEjTIQDeMUKnDFIifUoKB38873GUySQRtFzMvCaHxrS9n9eKN/pU6HDNc5XctVaMCzkiPPbT9XxIcPPlQFfpL9AlRCIb/UiHEDab8fdZ86+u7xzRsXpI5XMYWaDSkUnfvKyQmLe5HDWTs2MJspUT1uPn/pauaAdvzbn2/l8n/pu36IGHtQq4OVPjz5zXXtYlUNq8HvqCRf87iKXZVhlQy3oZayy/iajc0VaDan97Ad8U0C+NP5N4Cx/UZD9CkKfsC2gBJUnponwsAjlWy1gmhiGszv6JRjIwzAqEwVFUDf3tvFkBLuK/+jlK8GCA58IHFvJqyHkBVv6u3idfjIqvOafCjPjq9s+TFVipnR8XVTGc7LGNeCMJnk0M7NCarDHYPpMqQDJLsXbDWpD2/VikRgsGxlioSOSNKX3LfY0z7v9RcTOgQmP+sVjfpQI6jQJUGn6P31ws+vFiCXuhz+KvylySAJvV7bY191fm/0FSwY7u3lLix2eKlYsxPqtZGZUE6kJLLJolzXUDSaDgR6d5GdNcMSG5pj0J/zIuE+nPzRrFGO8948CmpKqe8TN9wEcr7C31/tYj/Jumt5uBU106wF1nMOwPP8r+nap6Zdb73Pczdx7ixOe9+/ZgohxY8lU288U6ackgzkNS7jIVaugms25aoXio+NpiAn8HMl8SMiPuyQeUYVPc/64s3bQuCFcbEOxyTRIvPTnekik+LXoCJGc4Prf93hAaZ2KmJI5bKQMobPaynAsMIM+eMhGyBAKldIEF+AhnOn14CkgIPufpA9RFYDfHQGOohhNSLFtFhQPbufXPMGa1FQxC6FBVZoe+2qK2KNksvUn4ZPuL1ttwWLr2pCo9f7QoYsTqXTuiGWLcrFV/CZ9qzFiHtggAr0pRPQk14L7ticDWvwQ2Pb+d/PCMV3+0svdNTgCQLu4Pt0mvY3V3VlydS4JTyFlbmyZ5x1Fq0nEovqLaabUbHQDg0/nv4m8+iwHWF8PmV7Fi6mhGR4SY2Gm+/flVoTXFnn8EBQp10MFJzwtr8JiMdgzEiBj3sOx1jOcmBDZHKJU+5lapJVVLbK6oKFDe5QqmbpjwLvkzQ/F7LFKM0jZd5dqGFS+VLR1ycYVSpJxKhHFIH6f6JD6Oo1dVXR1MgnNlOS+TyATlz25+NL1V83iq3fJKG8tsNdHUov2NHChEHQabx8yYh0tWR/4ASJ5No28e8+u9wEPrmHv+XDPVuJE2/PTc9fteCVe+q2/yYX7zhanyVRUQ3kYeVaACaS1FoMq/xouS8YhnIjarO2gkkFKhmgfdU7WodcqgjmRD9nrpQx45HmNqfuOa4vUq5e3xrYUQ2Er608L5BKp6mCEqEJ8gc3KboHiROHxWhEmPwCvOBDkVtsfUKOOBH6LaV3/Tz2kdDKSpdA/uHI9AFqje++ACx7dlQadQTrRH4zcPLcWIPorWuvhy3bTjG/wGnNMG7cdN1fVwrYA+e+JzodQl7VDtKhxsY/NGGrklsJEpjPElkvL1Y1P603r0CIYY7hDzBwEnBhiz1mcQeUrI68KbscfJUE7rrGfuhK63zJyYHHwUU3Bw0IVjq2SthVizcM7ZnDEafUFqWLNMlsB2pl1YEGNYCWPJe/YyeGdM1NZaK2Scxfk6pl/ZAZCtgU7nP4u1aNB4oacqBVqxj7KIVo4VDCCxpmBtYYbldnABptGrrJqx6NELP1lzfvcCtojE8Ss4fLvq9YUQU2L3ba07d2zX3SXXrgkU0qw7bab4eI1kDbDjATAaFHGVhrR0wfYh2LwcBWg9+VUlCxLLVEOnPCjy5rvI6h2MxFqGDYBkkRuyzIkqzl6bl0soNTaL8GLJOtwv0xXxFx3IoqaTVVvXqjsmyKspw6CkoIRA9ocO8vK8ngE6XG4jsLv817mKpw6zUQXCeUjuTjpesDbfwsizV9IUsmbk1ZH53AJGKzDUjQeyNGDmKw5HjEogPqtsV4VuiBLI67E123fAAuYZiXkCidHT/s5j4OzrY2AsPffXotbgpeHrc0B+Sr+okSNAOz4Kev5fvHQQnUlHppLOuBm8p5Q10D5cgqVyoDjXoNeNr/fOIirqEWe91LrzBfKSXG2YDIF5kHNcIlyrGF6UUQpZC9uD6al+09n7k4KNwQIi7YDQw8PwNQePOeKMcsiDfrmGXZhjQcKRBNu494a33+lpIdkl58S9GWcWnoo1TMqgO30L69afGnv8MUPviZybEsHraXN2+bCppTAmuw840nDDaVv9tPOM6RfMPeG2YzqFaQCO6r7/JaMzUfwT8xNci1ll16owvEEvFnhKufvh02FqhxV37HKDc9BPWZktMhqKYsq+sLBbO6v/9XDrQ0ECoAydbSQ9XI7fPYT1LRGHqMyyIbVlu8BwoYVQUmGtgCfZLjjZ+iciD9+mJdh3IMCQtZLjOnGUBSUp5iZJixXUSkP3hqs7K3TdZU8xrvRezLbS0JmBmESjq1I6Sv9e1TpJdP+LKoGjPeIcKnxH5VCr13K5+BPP9r4m9Bq+zgh/MV8ephM9sJaTmxNu3//9CeLm2TqpoxACzG7+K8V1NbHLUMWGKmS8AT0MEEJ/0zN2Gj/uf1fnpfx966eNrhPO1KitGWD/r3XxnGKuvsrYnBxOid/TVcbY1KEhu4iMcPYj4l8zn2vp5/TEXwaqTAj77S/CWq2ZjQOUubQqz3FfH2gSWaOi3naGfhX8NWgt613eITO8GlpMfT1i686K/f9QSTr4EYrp7RxbIR0dGDekWWV/Xxn/DOTowLDMv+TT07sUwm2RqO3fByechXpfxPx/pKWur+pTl26Jyw9FRK/XQAYVHiljJQIqyD6WXx8gR9YLNWj9zXc5gwTTN0W+al8wv6PEcCTpbHBmbQCmUjVBacG/9FnkXCqcNrkUr51DqS0SkO/9km/qspPCvYDigBHOuAiQA42PrjSViZiHJm5evH1Yc+2ZQHVtaGg7XjxhKRvtuSWk+wPSA6Qk6kvQoyuB8LRvQZCtG/yOuuP4sa3q+3V8anunI1ZFaDqH8mEGK6B6PNQ9ik+xvnnmYZka/and9f1xqiSZD9dlutKTIg4jNNQ9nl+oT8MEt+Otv1lzGg8RhheK9HCgXK/dD7rhLDAUtPGy7C+qmKXR+9iGJ3WCLYDiBTdSIKz0QCNtE8GLtCIOp/Z2HUlssAC1MuWQM4ZdRUiMC4H68n+XoKoXWqQm8NoOXkYjbh3WtduwK2ivIG7t4eiQRYnZLQtDLRhtjSJEMzzK4fRtM2ayGSfPv+IafO7UGjArwQ5aXCs8RB/z6QCt7HQbp3pk58JYd9GASag6a2lBDpTVOeFjVQoOIKvQ8eWF9Qte7D2eplLNhmEWhmqS8tDnGiOneyju/xqFLUS840DoeqvAa5eR38792uUMVPQGu6pN/vDoHCnRqLPirlbU/BCTjjfb4cfnd1GV86c5fcWbMMpGB0B1AH2t0oX8bPo/N3chyU+SiN0J/WdstDg3Y2fckEvICXGf73DIkS4QcpiorntTzgEmMiM8bcKOpEntz9zpZ0Lk3k4PX58OZpGVQ4lxCPfBw1Ksb/2jEEk5LbVuSZI8E7y4xrGOe0AL899HLImKjgntIqmhanCntwozpLxxB04AuVJVjQM56JKYfcPnGUygyCJDebSGaoWQ1CESkyK9NN18sCFVeTdEspGPhGe05RT6an7WBan/wIPXweEoPtF6DhznwO6yTM468ioaW5T4fuPZeLyEgN1B/lYj2wTOljR38cQQrDPqLenHQR61DYV/mHuiBPI8Z0FDRW8N4b3QKaGU9U7yXRrCCw/OqDhBeYCPeCYk9su1SJ/XbQAHZ/ZZBV2qnVLvUV/GNM9PZlhjUu9eiWRBwJAQLhoVpiwv1kVpGH/UAtxNFdHh97OZA1tNjOm6cLkYZ/oc7LSEsmF3FvMCDkwuL/pzlh7pX6ApENsZeTw40qnNl9ADO7xNAnAwQ0+ZN5pOWNfi9Rr5gi+ZJMS3tv57s/z7yZYRMgx1sEgrR2zeBt+PtcjkCA+LUz8DO1xNu1Utl+uQoLwULtpzHgIeuCYyBrpcx/Y72EK1ksSrrpU1OqZgs6mPV7mKfSgCZ5RVbyhTdZnUrzshXXX2uU3pjbyUIZy3B1+J40QzdmVi6ZLknp8N3wwKIYBnLfjUJ71s85QFD8/l6YZeP4wmpB6faG4H1y89jeuz4jVxZifCPEdyul/CZTcHKBb5Oes/4fIRynr2oBgHsZKYgB3Fr97YiDj32cl28+Ld665aeryt5w8d4qqvoReI6jH8+4/prpro9mHAe0A14hG7goU1xdOm5N3E80DGwPe12K+thOMIhcv3b/+FmbhdthuCf2Me713lPNjQAAhjyW0VOVdZ2T6hHUSvssCzG7ThWfz8sm4dFvYqt8AyUI1ouYd4+21HnFec8ZAH3OeOBMq2atIjaWS027Zm4A0RBW1OeytDiOxkIk7KOJjslVkpeEhyvSBYM2bg3N0mPuyfC/WjSMcoaUbOVMEcK0vj9+qg9Uq57ncNx6z1Zf2lwddyXxzJJitGLCgWPWR2bws1lUrBYzytnRP2UaUDKAt7XgQnB9zl61oC3/8aZz/00RggT5aRS/xC4EGTJpq0gXpZygVOqseKPD1e7ATXeKJPZVCGfB3e54EWH9ALbWOlevWgcJyh1Hj57Vvn7hSVEzSmRA92buvMXvIOFHrzdBaRAQn9tzrqtWl5y4wQfNP38yEn5vQ6KLpY9EDjcn2Pgg0qFgu1XFv7wKlOCyJAnRgFvGgzALI7BbpilygBxPFmFvAjF1IxC0k9b7OjRn4RqnPAtFZzdAE6xLWoct7/5JCf2bwtkGjjDOb5EF6TeXMvdCjrFt/RUMDxHHBlOkPK6ejIKi+wkbB32nfTazq16uknt9axa34rGlzxKmBQ8ZmjV3+pzkMyxfuhmuxhhq02i50iHnm+BJhzq4zx1z2xjOoDftUC5gNipENP/44W3EUDA8BhLeRTpyimEsKgfX6G1ufpnvNj8VvBvvLFymvyEmLVDAc1Br+UGeM5DU/DSBiCLXC5Vj6zuEC0hA2OTmKhZkHww/IfwJ6IgOIkFgq56nB2ry7IFYROKxCjXYwIDR6X9C2c4NKlpdvw2Gf6lnIQPpG9ugEwFcUm+Govi3XQr6bjMwi7SqtUAuEudUOUNI1Z38QDHSVKinPx22BY3YYxliNA8bVk7o9Wwd69rixt8XRGXoA7f84lGKOU5NRSHfCMFMbA7FV2v4QGto6H1xT6IZFyBPX6T+ljPPS23wNlvZiHPNi9Hs7eiFkOcRcRTSpWdAT9B/muRkzKh+PlCXnaC+LJGOmrvw+rVxD1wz++SUBow9pRz104c8pnkU2FMDXTtPP0AnVw9bKTq2x81JaHBBrFQAYH3+bXR4pKEr4I42/Je8Gh4Hx/8XIq8xmMR/xKxfVWL9grafuLdH5d+N+R4GxQxMXGjyHFTEZFl3CJWTMU63oz88vTcQ5W/G74HhA+7gB9hWQfZby/Txaf0MSynfEhBNA8Fse1iGB4LLPPeiPRS8sbRMTk53IDT8t+5tr4iN23Vo0bm3fyvnZ5f6MBun27EoeygXlV6eZ2rEbMZI7yF6NxR8IEndAWRXMshSuTiefPQ0F2Y9x72sUgfuf8ocZ+We6PR0zUlksQolbkMV1XxUqqcGdrNePXlLo7lmZSbSIfQ+tJSkhWgqoa5kwVc8RJD9UJiqkkqbPJx9YjI6ucwsy6//G2B1NNiuluV+xKqW0G5a1wJ4J7cA9gbdW9mnV6bmHBvpaWn/1RODjmh1R640MwwcoRo41+OP3pSNHW2DVlqx6SLst3g+hS0yAFUyg1HmR408ScH/lI7NSUVjAi/sqqBrO4w+VVSiIe4la9d3UK+9r2AyjPTT/qFLwEKdLbKgvL4/GLyqMJ24XBEcL8t4HXKPRTUyvsnERKGZcCpabbspF6f+56p9O2T6voyXUBjDVGi4lYPf2EeEv8tkiOyB3FFsIH78q3/L1Zcn2m/dDzT2OJgPnO5TsZlI4QU3gQpWgswVePHJ55CGso76rG5NRCSjLjCQPvElemiQTkQLDkAd617hXf9luwaxPZ/aTkzeRfRbkRWQr3KduYUHu0azs++r2R7ktxBOLZVhIKcm4aUXITplH+n8VUb4E4268v8j9YSJeVoMO+mV5RxZEs79U/JfaiUTmRHwfvsWWHdptvQo/B1pzXC8hb4olaojl+56WUQ6DKyXL5GG4FDcze2IB6KJ+l8ao/zY0khpMCM6DXZQip6IXuypQwlwqdQQqucGMncBFbctGE3a7w+h8gGPhcb8qn8bcRtuAOPgyVp8eEF1Vr8RoV7rq+GES+g8UBXHGNDZWl4rmsD7Xi3vHZM8PN6Ksvfc+s1d5wMbnc3XA6e+fsjuNVBWWGSp9IPcFaFszfU6io041NPRov4OVqJ07aTerMYkOSEJ/5BuGWCOsBKocdpBURU6XNwC9yAV7rtl6Ulm1K8Yyp46RME5n8hPoTSC5yXO1LN096W+a0dcU2SkHyiwN6ul63JAZ/CSYlwF+DhRrYQ6p2wW8h019yiCV29GOeo2ZT4qSXt2Z+FA00mjStw8eydeu0Fz28ng0w0tTZJoEIMYJsb0ABcS5C+TTkUo/I3rP3/v0ldTuoawj3skdCauZSUpaHjR8zEMLBAD+6o0njKGd6pwCuJlVhgBVB76YsO0SEUK8yq4cOOyGtMA8NJOPMmqpki8BLP/MMem3RD6HJQl30THkgYhT+0bZAC6Wia4XATDK4zhdDMJAYMM+AX/gj7x4QAmJvrxny5hTGT/cJQSdsHW966UbwZNTfKtZCVMG4OGFtqUaOFRam7AUFbE2O8ZkaaVKTfzZ/+nkcbgWQzf2GRgDSX3eqoizKGc/DyvCL39DFXScqKWBdgAc1Lw+FQtqQ0VmK9euiaMFuzSzBrPiPF6Ww5B4b/JU95bdh1zp06fmRHp6vnO53kzk5y9+PsI6Q4VvT6RUsPOC2r47Exx+SMUV1U1V+vYdQf9zTTugGXDO66tISTxIbHiG99RsG2WLmzbYnIqlGyQRC/rOWKv1+X1NpKHBJfek8FvWjmAK4tvUJx9Ggo9o6fLCwy4GREDXlhUsuxo0egBDAI8x9V3nHixiuzzeRjsLvF/3hmIVl3xqREL+/aIO/yEPJlxBsjhAEd1xliQC7IxUGaeoi3VJJZtAKpzn9n5x0mK5cYGMhXoGP86Y1+tdU/mzYtqWl0sgZwQMxGdg70vocZMR715XakwnFw1vxHK2/BycjhhLpxDJGoWw59FJf0MVQolAl1/lEv84dMwp/FHg3DKgBQ5WKGF2Os7QEepj0Lq2b4Zoc0gI9nYEXqk+eWD7Akmt6cDZtrEy6vkzC6uLzyRzvlgnXnqJUa+skegSTM6CZGPDrHDKhpUAwrqaywvTyxK+sN9nx36hGF/P32dl1SlqFM7/wIRRU2P2UiSG3L294843Mvd7VLbOrMciCziHMlcw2PomTlr+k8UYspaDPmMxE+UBzQNVGLbZmmoDZ1DPisw68DdM5G3fIXZWQXqJoZOrxJ4U8vVTk8wYwMb7ybDW7CNDtLpbDtj5AuREnzyHGsDaUDRJrK/V3p73R0hqVN88SxkQ5yLdrTn0zAe7G7CuoeTGTvLMMnWqWpoz/MBqL58zbSHLpmxkScWgYGbwy7owWwq+4f6c0/rofZe9zO54umvEiTwcydsVu5bwygovj6nshHDYO8lq2RMxApeSiPYXFPejQiiRA6mN57BtBRjJIaKQ5Q67LdpCc9EV7gxjZRel0F5/gYuRJj6KBQZIHD8c98qLKbi3H0cem9I4CfnPav44L6PUq9jcHnEuu64O8mpa5NMjYavbO/qFtJO9TOyrOxNBrucNqvY3tSsjxwy/xyhfZJ+B+7palWo6PMNiIUCNTouNTqXQJDTTmfbK5kDFcv+dJc4MgFhTxZ0rbWrw1uND+cxHLJ5DYXoofA2Bc/ybw8NyUVUJ4NekNNoRDUnEBwAw9a3PyURC09NF1+jyIJt06bR61QRrw/xiCB6lcU5eeBkLHFn7uIDphlHy/CA2PNdPQ32555RPpYhf7mn/g8efYDwA0U3RtLwOZrkfSmBd+zpLGB7cfWN4XbMD9t4M7tQQoFe2VMnPCWS7amow/+nFApgoZN0Qqmcs8ovdD5Q0QlaUivO5HyLa2WN1KLCUnQoz9qVWAiKCECArMPaw0KmpX1z5gHlsiUwM/D9a7Ud/RjtYu9FEHzPBl3cyd33HE+dXa4mDqNEwWCBV5BDxeibxlBUngX/eFPiZH7AVdZmlUX4GyoWI0BXktw5f/6tTS3DHvZURQMaKQiyIE+bcwXKa1OQMU39lZI5NYEapRx4QKsAVOkk4TWQtHWU0o2jLWlLIQ9wEOeeRvsUeG0cO8OGG9CckpumO/s8Jny51PB8gDhrE2OBe4L0XoIQSdEzRmnlmyBASuiHhWgcWUCZlZ6g5vqxU7V4C584OAxE52RuMiqgiLeb6vS2tz9nHlLYJOC6rlk86nhaAdnKr9oHb5iYsg/cqufAsNfhknQEJ8jJMtXwpLDmtcSWu+stwQFdca8CuxcVxkAn9mMUxuJzJ5wYfa64XejpFsExF5I7f55lZVBUOOF7WDN83ObVJgZj2UkdtLmQ6JKqcngDMOofHoBBairWviiNehnE/q2udYonPKDKK3RfD8gDZ96yAJwjBvhleSP3HGntI63zNV5XB5Z0ZL3hogpJi3rUYFoNiq/N6vsGsMqyKiYRKsBRffcpFohj7QIMI49NDTdgYcMC431nQPRp5cRt1WDRYXQ5hgQqqwBYczCV+ORNf/DSY2lphmwrRuaMsqYmo7hpv/4pAxmZ38vylnnVu+lnJlNAHhNychafeUXiV/uO1ZngKhU5soqKE+XvMNvvEZVA6z+OP8Q0U2OlG3kkeuK9THUJlyI/SEqkgVFPwQnNnBSbWI16XTyjOLIKihZgK8ZhLRG4P0sy7nCvcjLu8Ithj8QKL2lptR8qBSlVLhPRR8vQr46qRTds+7PRI8VtuPLQKx7W5qWYBYArX7NjzjHXqdCTgaBgHuPk+SaXRgJuO2c13J8s0Gxbw7As4SlTGyqPx0XHAFEUEv4Z9MCJjwYAX1y8C9fb+0my4QXifhxvMHaynemYkxgRCFoxf+h4ScZ1+3ehB6A2Z23DXLcJRC1jx85Kt0NSJqHqtpmlma5ns3L6cW09EknYbFwkAXpZRWzvteTAvTqb6k2JArVCso1sf6gxMT/OSirPqDIKIWC6g0QAMsqEIs32q5svshamAGit5clwccqIt+LyiRAgUoQqSOZg10vhC2j5V7jHd1wCiBfJlStOeHvJDCPDPoBogSgx4gmH6s/9+oniW5WLq8/q0Ic93pqcsO4+fmxV8MHuAS4AIH7OgX+bH6pvNLFDPo/JGuaMX2+CI1ywWVYNOl2uqEUtUVLXMDiqqnpZRlEaeIwLwW7cmAlWSkL8+ZJyy8neyPa/r1Gqv2vfV77+cuUn1djCKIT/Zpsld3kPRkQqiLRdnvPnjAm+bpE8MOMqAFOzUQN/jPgvEY+CAySQr3jwQt5iWaeGBlF4xiwdIbNbMsAyc0TYTf8ovO6BIgA+wzDLQWDLDqRt5OaYEw3dWqjaTL1mwy3qJ9h9p0Mus1Onv1Ca0U64cJu7L7vE7A39KX/UXYeIXcax4iKaGpJU7/hStO9wKHRmjgP+meVWDeTFvcDhgQTky44aqiO1oraIjE4QJ0JQNirkwquL4njnZ32aC+1vLl+NAesAlUf+dOhXs6SJQ5MwyJplvi18SSrKX4OMEPYiFZB0Nshp2kyDyywFeKfCxhgX8SjzT/1GmN4JpqHKksNHHLsqlqn9GHgG8EbNYXYVl29uxUnfYnEol+g2x0wSwlPsZ/M4FT9Uj7ctON5Y7mURlEqE3728nb9oVRoVk/kolSE92jj6GP8A7QRVSh6Uwh0QBYdc2B0pxS2mRxNWbD42TTJ+rbzOZFIfE701n0F5rCh7xRlisZUxmmK2w6lcQ0Nd+LVQ3NtT8NLFvzTqLt8vjAhv9tF36jsm7oCXz70aHoV8nrgoMgYF2z1hwMg7oYB9L8N29cDb5n8Od6bBuvtgPjPeI/1e1gt65+X0AnlrWPsQ/kzgtYLIQFW+O6gVyrEOyrt+C3k3oHfH/YNYer3iZzPeKHCjFxTJJqjbXyY04HtAMw05U0tapVDKq8DPwi3Vy8R0r4fbiT7gicTnYDWFXKrCPfIpAjNLY1C5EalMI/zXbDv/SqhZVycvgthdD/Px5DrZ89MmZbnjI9ZsKVT3Gg4i2Af0fEMEEdgSDYAmlp/3Uv+WdCy3mkv9EzQO2FLWgd7lsAYt2KPxuRKFW6/eK+4x9bGx35nz5z5+Tt/Om7CK6evGFTvdN8tOwhFygpQSRq8dTLe/D3z9syU6p2TCORDIBRidx/XVUSkRA3s+2sCcsGcp+8F9sgRet6P6FhuLqWqnjy8n2nanLOoc/W49W6uihrM+A9DCLKAZbGYYm0BhFbHQbB8JxSuyYoy0gyPWgPw3yd0SdM+/9yIMdh4m72hPiP3DNhLaXwjeLp4cpg08okMPJQxIrZMxZxNvMIIK0opBDx1dF5czrATM37IiE5QSZxw3+MKF8RWKTAS+KbWJotPFAE+VkH1zCsc3kLz22DM9nl4oxfz6reRa3AAHpSIoC0Vl5xpu5TfunuDJqhNStfeqT4ngNRM8Z+l/emVKc33NgN/5AZVaxjftXiQa5aA3qBp/8pqj4PlEFuXClnBJIr+h5gzpxnhdNIc9J8UmUyDLIXyelEENUqDYzx65iHtnbrUsVpcJnz2oVtWxody/wS7aB461KM6HOuU9PlPbuzv/Ja2I+MtY58We+3ejxfjyWh6+pgwI46iW3M2o1fmqWfCw0vc889HChXvP7QX2FjJdRLa3GTWEhDxPlDw+dH8N3pp9r3pKylLAGC9qkl7G8DgxP1O1Ok6OzB6al2+5x7nNWTvAFkLZCLs/vUoX3pSnwW+QOEZx7EQrTQ1RYsfqMmyoDirVQBVpr8N0cnV+NGAWy5cNZ6EdS+Gg7efwX2t4DtPllt7SdBa8o2M7E2xXo82DSF0MpMJrzyrwsbEY1OKtHn5v8RmPNw8I/PujCjQzvgZEyk000UkQ6Okm0HoGKOqnYsU7gP67MAk6VQ6QupKM3hA9RaQojbKwx5HbRnKanPOQLWA3DaZDMsM4lsqNjha4Ml8TTZB3xjvPCfAuaQqw/sV7HTnIYUhnCFoWNA8LlGLo5KNR7Wqa/s/ZniBBbd8I5hVfAkt46XFUVhTKlmsWlCungrv9dTQ6fWYN29fEXydLeAP20ysJ2KaEjhmpPzLpyewo5lNxCIZgB+DcK9UW3qy+M78DMhvi4tQlNzyFGrtcCfOZprj+fHb5MMe0hC3S9j2Q/oA1tzV9FFni5lfmza1yCk9aa+VB7BLhLMRHPFKR3QahbQZCuGgSQzxKZvBVF1Nds5kaYxyUYCmzCJ3d6lDuA0sYHbFUDrsWX3+5inHN70cJsf62OnwAYerTPOwyZ0yg2wQ9gmAJMr9N6cFkN+LboSBF9X4fssAgtBGbDe62DABvJDVQ/iUXqjSL9iVIpM66SKOmBgGPS9x7qjQCP2tG+QOZulCNpIoWPk6UDA26jdimsx1bZZQVKlwO53Qnf64vkuVgnOwJn287fUb4yKWZGfXOSzYjFreUlSFAP17Ys238pbY+vAjvW71KGJtMLsx0JRD6bIaZLm/dwR6Rv1NJqKzMsZxDU9KdmLo2RBEXj99HfhDowNL74egPy/S1zTy309kVnhCVuz7+/iI77IM8VKd9YVzpTav+WxNhdJqhtMafG+6kg5zpNhIgjJwG4Ng8thHUxUc8jQFb/+Oajy6oeKifESgQCO">
            <a:extLst>
              <a:ext uri="{FF2B5EF4-FFF2-40B4-BE49-F238E27FC236}">
                <a16:creationId xmlns:a16="http://schemas.microsoft.com/office/drawing/2014/main" id="{360D5A23-B4C5-4598-BC57-BD42C31C127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50943" y="1157972"/>
            <a:ext cx="3382892" cy="5564982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FF7130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endas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0305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NÁLISE DE VENDEDORES: 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Acompanhamento de performance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1A60B9A-8293-4C65-A36E-6970F2999494}"/>
              </a:ext>
            </a:extLst>
          </p:cNvPr>
          <p:cNvSpPr txBox="1"/>
          <p:nvPr/>
        </p:nvSpPr>
        <p:spPr>
          <a:xfrm>
            <a:off x="3924721" y="150958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total por Vendedor</a:t>
            </a:r>
          </a:p>
        </p:txBody>
      </p:sp>
      <p:sp>
        <p:nvSpPr>
          <p:cNvPr id="20" name="Retângulo 1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qd+jYKGglgT5XD/yPkKMTHv7ibnaLc/eeiLYisdnc2q8JMZg3TdNupq2Sww90yA3tAPHP8zSJE0XcFr1c9oP1hd/sOifyG6GpbVXlbdUidEww7Dn93HgUUHHNlSfgO0tMTBfnmrpHjrzSQF92Prr9yaHK5wnrsT+Gi+yRYXOt/Hs4m4TTnfN9rQgBCvGS8twBwEl4tosF3K6Y+nFcb9pCRQaAoTo8xx75GqKDaXn5OtI5oBB2vzbufdhaTeL+bMUNAzsaN0ta+cy9pdEioslrY9wpi9sIzCv5y2PruKObg/tz96BEiwzeufiUb7hM5xbEDdA8RQovcTcLdFHgdsg0T3ufuD9LBK6jUlmRoPDvm+NI0oGxP2AjPBhvM/ONU9F+Ymy/F2aPLVPhp+T/VnMevvfjqjxpWweAQfGsXg0MGP+RlLHy72MHXDN8HSSv/tzZlwJ8kkUidXrYPHoR1YautDPGH8mggI8zPheF6GxZF10F/rkRSCRrI0bmnY5AjQ1TH7c79aOzHdx2p7bWHc/1AE5wqgVJbbU9hfB5QKdtRvKSeqQuzOiHijJOD9pcGqEACkc6yNqTdxhFtYjr6Dr7fJlvDbWhfvJWrCww7WTy4u5vCArTKXFj1FEGkdmcTg08m0a4mGc8weVmOjsAbSbmJrYEGPC8gWdBAn4oWP1nBgCIopaRAnpbIHBUikmKWqT/LqhzZnZZNd2xqm8YpvONPAwzdOaoczwd3WYuk6gFoVDA3kzVnm7GrCxK7xuzihbTLyt1jNo89FwLeLhEqZDUZlxl9yy7JHbPZwW+EgY+V4uvHOK8IGsjTVZWiZ7C8vCI9Hm2qxW1zwS1k5CZWb9fvacooJXbPnWc585Itmu9sZJKilIenTMcnp1dMUnPIk4jTo60I8Ivc+3GVorQuydFFUobe29NBp/CfQ7Wrp4IZneCKKLlDF78SESb0fw1IjDeeBNzCwmaTFWOwm084II/NvwQ9UxFMwy+r+BwgDaKgXaiPdMZS++2G4w6GN8nW39ZKBvZUkZBhzYpY5YlAR6dT+/pWqxpwgWc6QZncZ+05esmJzQ5WQnoUKyoZe7fw4N/R3dyI6Ya3Qh5D/8CozNnZadQ8dD29CzB852PxA1syHi7Jue3PRfQwsG7sBBfRJulAzmOuNMCdnSr8yTxmB5QH5i95FPjmnrCLj8Gy1VBx5PWChq6U8NIyWc5V6b2WnrAe2xtMGE2vwoi18OAimysQMP+Yf3eHa3tlgxIeajrCrXm1+eE56Anh+tjjsVGHU+6msSTUCp5hPOUq0zlGDT9zR8A49hLSccxk1s1LxMXSF+Z1rzMDBEh7+fBWem5aAhmm8xdD3XgAfqFxCeC8MCTkLU1KkQAHSN4k8m3aY3W3XZoJEfQdIlBvWfuw3ucjGx2MhXg72E+y2yVQSli3+6DaZ/H6j0ZgOwrl4EmUYlnypTah0rbTEk7UVox8bcqgxRPWQsZqdyrAbKpl4Ag/6A0LjyXt/DMCAH+5eZ4Q3DpcYJBs0jcPhYkp+pOtK9NVM0rO0F47gCHMsHaDWqcSQ/QRqAE4ODj/nmLB3jrYsjiZRcHilKjazWeVtv0NUaG6R8/grQNEz1+155DD3P0ZZSGvhXJY4lzOKAiBzxAqR0/vFwEHAvMXYwstHGlGl5ayGlnz0gWViGELYQNOKj+373uCeFIge4qVE+pfb8i+9so9BDi2iStB3ciHDY/xY1QxvqDh97Z89wkGV7ZOPYMHorb0AxWFLWj/spjxTMz9yr3L37Hecg7Q3LhpIp7B1VDAiLCMnNdtGReAlQuw1P9maxq6uJwkP33NHfieeaN9wx7P3YapNi5LyCi7T3D4PY1mH6KUX5CilcSyKQw6avRqr8lEkNFaxIbR0fk4mKmWtzi1AtH5TPcH7r0xIoAAL68EogH+v69aBkjVgjT2nRebTPgNKMGfAgXXxi7fBSyXUlLRzAsKpuFnthgFDwyQifOpvHuRK2sI8u2Ju9aYxfFiLgGcCNzCcccesytqZPVPF+E6N52V698xp+Rl3JCto0/iPe2i67wUC3vC174hlxxd+z9oQ6dQjtRT16wcV/IBKlzt7z13Xo3BInEIcY1JxTf0+i10HIOn7pNaOJ7nnl/l5Z6LWjgsHUW5QNRjqk5vOrnsarRgJYCUBq7RYyCCU8FZTIt/yrsOcvKlqabX6O2timcrka8OA0nlYEKsd6SAszRsIxpUCqs8JGX/COxkjVQQLtpdAz07T/LnovoHBZCQcQvuxQMZ1qIrktQfUqnzMO8JrXdxeaboqw0+aHssRuCD+/6IpfH9ujVH6t6kpRSQnhi75iaJO9j41UHG3PJgm9HFmYGvU+dGC311wzC5TlrhKPwjjqxP1JzhmRZouEKBut+F/QomkHPCzIROZNUUAGSU4hDAdtfOlSTDLRKWvZWMkhOHOBgNKezDr/9DFBd8eCQKE0JcZfnrqdLBm19OnjvWGogTGCQANtrpovmeytDfmnulwY5T8jGnbM/RKEz0bROz1y+CVuY5gqU1O1KaXECWncsJ254NQneEa1IvbcFoYjAMWP1etRpPhRlkU1TEv0y7D2P9Sx+7uPGq499+bT4ZI2NjkPIR5Yx0jzsvoEUIFn5LBnoF4wQ7E9+0xxOxjiFkSeyK+BIkf2CZZJnq+ZxAws1jIoGanl4k1Wgb6+7df+oAMeP8TpcrPN5MLH+c/klW+fbI7sqvxtSrsC7RCQqtB6+hbLwsdZZyRcdg+KyqxP0LVpShyINgk6lRE1L2/xY+SPKWPcb0oOUJGkQQxqww6mQxSBDBEJgtuWKHSY2iLOsyMDAI0qxQAYWD5GxgBpXIM42amHYEk7OQcpBay+wuJ3osaXx6vj1Za2wKM5+AGT36BiZdSRN6xx3+e5N5i1bNNFOcVQLdPD6XOY9oKpAWJ2HdauKlqOlFohs7hSJ6IgGdR128oYzWLNbqdjHVO2YdG7VuraT8FVv4rZxOgtYGUrPP0qhq4xIG2yxvvu1mRW6fuQSZDjdlj2utL1SN2t3mmprr7Nsr04XOLadnEGoaHEI7aKtTWI5EOvUpBxOsjYLQWCCHWSzpszFzLfiP8M0d4I3gEd+cmKGm4kutZn4kdyNvwQg+PtrNQ4we4lEG4dBZGkOLjzdTovOLMH2MS4ECnIqRhZ26OosUwPo5geqv+KPPlmDnD0gIbBPQQEwzuA+FSIEmHHx41MNjno4itm2FVF5zUs6mD4FOQ4L49cT+aSiXEhg39dDIt/m1BJ64YJDnePr7Be4zgx70K8xFmCOXbeZAdVA9t12RJUvWj+5Iv9ZH8SOwNsAQeuxqpAVqem+PKhWEmvthC4d/g9TlbtiKnnsb6ZkZCVy1koIAK14e/Q0jv/6JLdswbwJBj7lJAyxdn7F58jwHje6TTnKl5AOtCuNTRGmSuj0ciEr/+hl2PpnFpjImNxQdLjWu93nNwkTzD6rmk4YB97SS6x3cuB1Br1BTxcRZMOWbbwfnvxC4EqCUcXB9ecTZErAzSavigkKKe87Hha5jGjVcVrmyPfHWdbqNulvXXF2BYb5LzW7g89yqKCC+sm4Thxhmt/3Xp/cbZdLEDejjfWb9tPxFEbdVYHwGkzNloy6B5rVLdHRkEYRrUhgzwYmzQ47gNC/ic1PbJcyRKMDARtUpDMaaLgGz1vUnN9aqRmfCx+aAEg8xqhoCuGXCPwojTVs3YEN0sBXj3cfH5RY1nxcEkV10fLfvzSFAQsGv/Gyz7kAWihGmnZlAPsBHY2c8YdefOvmIeFOliCfAZMnZM6gxHVobGEwdyu88W2GWGOcuCiIM/gM2DmE6LknQj4Qz0khnQw2o/EEZn7XqaxR0LMeq/I32hoRXphbzWYYWbI9tFOYyOiVt2br0kO32Ed7eKmHy716VBnIZ8G0h0f66/Iow9cuYi1Jd0Mkm4EeE+wjAbTRjKqj+qF3BMC/wZ1i4To5MSZ0pj8FVDl4t8pM1F3GDFoHAZJAHWAvAhQ7LpH0ZVZ72VTT90HhFBVXhGi+Ji+xA/ug9wcBEnDXA+QdB832wktwDs5O9XLAARno1UELHzkOTBLqB2G2EUg8vy2tG9ebUwafVGStm0rD5F3dqw4Wss+lJ8ZjIIZsxvA1Auf34VVgKz2otBnG8yzBSlqvi0pBZ17ZAxmSIKzY+VxIhTxPAWMVXTta45G5GnWaQaAoF5qPTlSC1ki646SrJyT0p+pfFlw+dipOaOmM9SdZODAf7GOa16reFIA0rCecMKF5E3egp2HNiFCZbE6aRC7yvEMsieA3QZthAK4G/Mgxad+nCb5gc4wouHSA5sOthEQaqgVEMfnA9FnHRzGeKSsQQzqa+AFTxoUNS7p88TldZq0DBKTzkeELV5R3T7UgJxR9OprpypMK4RjP2V2+Uzz3Frgz9aynVINllKaxZCCAZToGIGUe2ZTvU7di55VLwHALNM/T76WU9oXSGBnjRidXRDuSzo3wTrELZvZFbE8gDLbjjUKp5ZIO6O0fP2r425q+Al7eXlOP2jSzv8NXsf+zfou+oKCQybrpy2bcc0mDZBhWMQTCgURUFr2HMvkIafk7h1YPpAct4UMxXRZ7DRRa70JcX0X4HVh1uctuZlj10qvZNOnN+kBchSmX6tIxHXcc6a1o0Aj031InxBuoazMhnbyfPvLzWFLZTQAwRGR6YYh4TDxQUNAwmDEzQZ8by+gQlAoWYXvl84dOtsjF2T+NFy4Co1o132gRZuByAA0OM5lCsijmId7wQSxgMCR2BcCpTZtbR8Im2SvuXuGDCRS+lAD/J6gZx5OsGUaRK0GEzo5OvzHcQpeL2JGylgmc8x7iAOG+hZ+qTIPoyAkb4ypnUERvpGCSlGP7d55jPjbwvF2ZKZFQAKhLtB7yNSif+M1ld2l/3JexxoBFiwM092+q+DkoyrGB+wzGnHFFiW6MEtTvdNykqrfkJRiipfXOE78i3BOTVca9fgsANIN2Mu0nWi6mIZ41fX9puywWe5PCl34hGqGdMHrSDPHgs90wCY4p+WV2/y6+BC/owkQLrlvDHj5EO6z7Bk+kK1B9f0YERYNiiUhdy1R2FxV1R1TYuX+PVs4oFoKfbBOG7p5E4aBNZHPu5y0Uy3HpmXJt115HtF087B7gVDF9T4bnnM4TDekJSw6Ljr2MnvVjqDl4KDowKcJIUBeKfUICskOEnOa+2zRw/Gcx0Sowioxlw4xVRlNaGF1HufbH9JvIBlhXJKmGoeMBPWQMa4MaEUtq3SRXrbCeMhdDKZ29ZRPKVpVcRFR36+7JfgmcL6IuFWDaDY2VcIY0let0RVTmxMHAzUv+bXBPUGB0/X8/s4oyJGFwz3ftViGksLSO7Ow50Qr0Mbl2j2qowoKvU2eB8QaOBZe3FCT8DuiMvPBmgMLpkpblBwpn2FQXd4IjE2psntc/emYMuBM7EdC8imz67JTz++EeYyku69SkPNRtyH6qBtM47khgxUxZaRBJlVAqZjq0rfKggm5qUvEJDK0gHevy0/tw8W+Gg+J9UlN8n8R+6RdYJJsJ93fN27uzDMPkwApfffbePEJuCz8Jl+VblT7NFrU2jOQTkwZ+qvckf77zJZUbFnZoQNZM4cfQxqC/zfvCTDokkpoxmVO5OtWQwf80gNS6qDseDzYqh8qVgc8LoM8W9hGQRd8l7aoUQHbc7kjfgBEStdTC33rYlU8WUS2eb38NVMICRCv67xS0w950/UBciREx3tUxC7OU5PB/zGGt64ulxupA2tM405aKC114jXcdlZ0PuUWc2stNT7I5Jk5REdSe9gWUaHSDwFU8vVi7ANnb1Tmtq1+PVaIF7zy0wWhW0dy/moevM0bhAk5A+IHlLQeiSiritxIouFqJnJDkhdi4m3pZ2Ct9iF1F5ZpVFnDKsdbCzZDC5aQBXflExhG6rHAwGa1FDE7YWc79plQbsZShcrf8rw9qPzAl0BeSsjBxCJGDffR2JKmB4fbiuQkdVpZ4535Ror5x/I+XIhc8p/7cT0KygPOAA/t1SsULxVbMEWVhEAzaAPrFlccxvB3KHw0JvXBqPf8VjqLJcvntQXZ7KXQwJ+43bC3Nlf8DxyvFbYHJMK6ZT/ADf+ie13hTlMssjUMOQZjL7V40C3570DCd3KMfiASF+bBN/Uog90ghxdbLtimq5UaJxkC2ZKyTlAqB7w6tuZFqUn1HbBsqia8JYG4EHuCZo8hrTpzlAsS9AjXR9EO8fF1LLohhiyydymOehqcIKJxlhhoxeMgPiEDepcsRQNLXsz/7jlomCU7/8yGUWOomb45Yj6ddjAfS04VsSKGZazMQJf/hFToek3hR0FES7W8EvddbfN8sRz6LCMvaEbQ/QNhlxiyg057hPJxwDKt9FkxgpCmjssnvBoDP4iLpTL73NWM1ztyCtlJJUB2Gb/IiAMaLgU7IjWbaM259RocH17oZ6LO1t63iQQ9hDNsakKFLQ5JnDpJk5bXYsqPi+9Oheo098Eaf+FhVEigZxDVpB0927/XkpAhPO5vzuoU7D+0Zp+GnrJImabB0wUFy/mHggW2JuZBYeI+pbC0Ob/QD/LY6iJPXBbdg+iR/DyLIPS4ocXb/0AuACYWXdBT4hwRHSHj2CgZdZWjAI2r5LtUlv9VUZyLMmaHVo0mKQWHiZ8tFKQhp3sAFWbmdArCBA6HeHjwwU2k2QliZc4Y/W5yNoJUFJ38hhda5deOqElfqa74X0EqVPiZ68aM/ld9IK0mMsaC7dnCaP5u6PYO1RdgDedo4QatdQJRBCjpAMw3Kw4O7PaIdy1CG2USBj+10ASEf6se3CCPm1eDOwN1O0iyBU4/opmOItOMuQXEfHZrQiWU5cj4UrUSUhVKC93D/Hw1y/6dCwN5ICE/SdnOO5NHJZ6v0W4FPXv1IKolFygLcL+P0LC6XCVo1l/NWhof+GhvaopTDoQdljSAae88mwZ0AKYNQDOdLv8JZMOAbALVFj7VerFh1Eok501/YHyIy+JZB/OfjtUM+Wv1aI9B/vxAom89SAACxAs3yZ2r9xKwJg1aEzcmcguJfPTm5mqNLi9CYGNAdnYVh0C9P2hB6nHa/VT1m6JMook8+NKRAxKnhHe/2miwBZ/ZSU3hyuCOkMFslMONxS71/KP5RhF+6OX+var51CpK6I/zDEmyZ+8KB2nUT28uDDm/LkBNUTr8sTwBDkwe3m6DbhPQj4Lxt6lU43T47awfmpSafJnT+H7SnIfWX2PpjTfMHhUvSSNOj53Lb88VtDtEN8g68thbcWTBfftHAe/DyS2h+tPV2NNHvCSEEL7Poiz9+bjuC2uM8OUAwo1KaPFduWMqZAh5A7CH186jrvkyuxa3ChFpbg3ETfnBxPKnr33TAVciaK1LlI6NwAenZIlPFz6W0q58rJJ/s5/JE1jCgiQp1/Ix5U968jsXDmTN/tViA34apgOjX+dOB7lEWyoCbmWJUaGowD9oeC8r1zCO2KevTDbupSqw6kOgqF4wOKJfm/pzi4ofMcM4PjL+fYIQVpnLnxP0Jjuy21Kl3rfe8xDGRrqoGvm+TXGQWW+8hW2CAJ7uYZjum6Zrv+qO5xdBWBym69V3ZAB6MmrU2N7Qatao+vz73IVduBR/WKFNhYzuC6pMN+yFGPiRt/BEqoVwKN/QFJTF3QjYDafZZGXOp0wLfScllFBq/+KfqCcPvrPy8UfevtHwqP337PjabHmOhS6vnfuGkTBQCdmEQ1v7bDZZNrcTU/SEpviRhDJZ/ADnMWE/PUAVB9rFp4D6IHiHVnTNHK0zn+N4Ll9s8CaiDPghAMJWepFf58QdK7UfRGg7qIJpveEhfYMy9BnzlzZrViy6E+yv4Fh4BUFB/lVrU0l6RePnAHmenxOFFVrfD+zUFl2Fb900DANfxJSit2AKE+b5Qdxoq4kQG05oCEXazOQ4fhCLNZgynkKUHrYdt68B1uh3s6WDtoBa5ffIDvrptPiTT61hR8MC1nwpnhn4oOP8QRlQBUAll47WD6se+WYZbWHPkEfLX/f+3XZ781kx9Yle+ShyoXrczryHStGTxQK+q3SzEqEA3u+o4/PF6E/krN28uD0bYYo6q5HyQXs9x0Wv17aKgubYhgKni6na+qVQbWh08gReQC4PiIDN/Nz2u+Yhgi53KWw0jECxAXsllu6LLaaHFmd49j8gzwz61Oiljp+N5Kfzb7XwSUzAznTaFl7y1RlhHHXLqNirCzFTqLbq6Sv9amZUYmg57LyG8UpRLd4+NCLfrVLmeXHjenpB26QBZKTcTIdYHaEzDNcOX1BnzzkPHbstZ1W3zwl79jl9+IqrQe3CpVg27aa0bMQaRbrMApqLOHLojW2JofINVA5LxnqzJAWhY6Mee1/RKCoo16ErU4xr4CRGfxpGj92C1JWK3hoKEpsBwGXVqoY8gFtPFpmgmzvARw5E6GUrpBP6o0Rm1dSzHNh3FY/lDd99hc/g2Pe2OvlVb87LUn0i+n116jMAOafRRsKB3WNlvwCtCO1waxcSuWxsystyH6ukW0eVfOZHr4avl9xz5zTK2l56tbp4HHSCAfhEjWMK6WY8MAhEMiza3bedaFJwXbyig66cl3n7Wx0V06XFqaw+r+uXu+k81dSppI5Hhn5aHjI0KHrgG02zG8SAZ7GEiFBdxmvRZRJQEZAQd3lP6Kn3Sv/ogSyvuhsZXeJugiEirGZ+dafMlbBshgddudKyZj1RtGrv75oyu1rGpX+MzyOr4aiul5rq1JzpZn48hg1QAJWuxZCCoc4SavI5h/0ToXZb8s3jiXmTFyaQbL3PSggZ/vbXCzXgk2snqPUvORn09QgJStNnzkmUOHHVYDip4Acfv0aOqnnpyNZuKIHtNQB4bhvUA0vzmV73njQXYXFyvw39yQyh8TG6gW6E0LY4JGsvCNiH4GiEZi2s4jlpYfeEFA8EEhZ0pBTZnLjvO+TlWd1bzrju5wqUAYABrDneW9nFTjdqxSuBQ1+ZoBEo00OxpqrwLM89YpXjcXZrIRuhOwy21P2NQrHSgWfbYcwlis08V7Oin4RtdvjrEf1/kqPV3L+p4RZUPoU9VnBDsXWOGPMJXTLpJtNKbpveJSmSbfTuIRf/UBsEpAcvMA8/xLNNH6EZbxpRNxDeXmPaKc8qSyJErVPghZk8N4sMZAlGWfxGBvjZ3c/J+0E+qBtlPWsjkracTmtDCRfni8Dz19JQoqunNilB/s4ePadd2BbjEna5MNYnoVnVXnHn13PuktukapIzRIoAv/8MybngGhsQ799haJjTPJmfs2raBUzEzaClJdZGEs2rCOHK8x9lYL6xbNzvVRb/gbdXbCaB7NoMNIkzbzsJnL8q6tLLeqr8AUZ1fyMoutq6Xr72WvCf3XyqBwM44gterS8JUQLUNsCv26NlA9rlpcTH99R0Zz2iLFk07tJFw81iE/K8Xow4SW9/kxq7ocGyu3gYRilwWthcTF2OaM5jzkOOIVUMI/q5x6qZ2zSr8DZU+FuE6MgStZYZ8DywEnFMFgVdzYd+Q/Z4rcVAB1W3D0sPTN4mC5s1FcGUq5UzAdXdb21vlxk4TSEqEp4c5bMgA1Go2WVAHp4+kHcD3NjEBz6EK0M5iLSotduhA8OSt5b8/0mUZX0L7jvvZ3+IcZ+Oj26xAunAkr11y5/JER199y/e68gCx8lxuIGEuDHE9sfFHSWcmVRfpLWFyw7wFqwQTM1Sx6THZs+2OXxG1FF5X1rj/qhjZtQo7ktSbSDLkXxK6rzLeBk3EfEJs0W1LRY2H0GYxK/MXGLpUJjDQFo9vwBiehI/al9UdjGGe4xR6NUiFSkBTvdnFcoz4Ccp9AK47TT7KYSMNX2jOcNtqGZw6eYbIuN5OLghSFTZeMDiGLC/MTrhAibSyjdLUpgBP7l8JvGRQN+SaEvKnJIkL5PBlXH+qq+fjrbCmR9Q4uY5j0ovHqjxR8kJOEF2e6VfWMdcHnmbsEKuPlwyz34mjf2DXrxYJyC2IHr2pI5+uKz+hkEjjfRrR7ZIAPJYZY1BslT1Kf7SKYuNUugz6JrEgmGewzqfDT8wTKSzqrWM/8wbbDp4RkyA4emmh2XrSg1/OlGJYFGcO/hg3e1XYNz7Qv3LQYlTSXIV0TREC7ghiqF1RqHt83B/59PcrRrwCvCL2ZETC6CLMQCqvNz8Lq7I/sMCcYy7nfwwDKyF1hMK86S/gI7eLkH3HlLOQ3GmK9fTU/MEOmmKODmVuN8DKOwbZRwg2pSrGmqAvwNvVAQSNCcLZ/ZxQFcs2uyUwLB/Id6+VZjzvakZJ+XAydvXf8vEeyaJFak94fKDwPGlH9Q6GDGSe8EAmQm7xw9We/a61QzecBahvfJrfLlzpmQ18ecgLIRRBcBU9YYskD+GLgXBsz0RjRAM7pTnX5eE7u+tekhGpjWgWmZFwoYW8jJF/oTo32NtPsjhsgiCLY3uuheqwxiJD8zEzyUitJBjUgxpdS8z68SvmeeyI+xZWybjU+uQwPrOnbEv536MnD1YPGReEC5TwQz4Sl1ybcaZYynB1eW33N1XQdR2URoYM3BM888trXs8kd0uY7OOKZAcjeGdJ9lJHnyyqLAaz8TtYp3/vQ/sdHP9YZww09Fer98xc49CCEgphSKbu7gYZXW+z4EzgQGxUw6dqpPHgv9srXaIF9SXCLl41ITsuOHW3qSXAZwm0ZjCQ3C3ccNahxti7zKFE8rNb20l5ETVsbNzeTrzFBEotgCiDHDW6dhDNHKNIzbrwytNKu5DEZXZMbPCGVJ8xG/bVbcOxq5uSSuoHu//3VA7g7I+EZ4ivGmT/yt/bsiMnRlK0E02esTe6FdgdDOe2H4UK2JF/MWYJm5NeIhXWGkM0j9Hgen0Tr9G7RhNfBOwSYsbbqaV3f/d5LGwtBJ+wSBrVz65nIChMm0uPTIPY99TYThhtNgvjZW6Nk+oqXX40bZxyPdgpiV5TX08nQXKLIgbLq/eSttRU9W81QaqNrrTLdM1fShJqF2DIoZTiyxEIEcYYuGEj8Yw0oPAmJdChXeZuUVHUVow6NBkAFFneOPOki8yWavSACR4UwZtilVnMFOLN/mnnaZBWpxQADxi4gJBtrpbsscsoJl5PMrxHIzTbQs0XM2IWo5Q+QPz4NGRZPSMnApMtR8NpJKa4w3iJKXWzN4k34x44WthGhlGNyWefuu92Ll/KbvV+paDjjzIRF9HmXJGcrj9RIZmjdHc2+kGhi8393OyruMYX3thho0o+Yf/M+xALVX4WF2cPlEe3w5JIreLeHmvNmQQvUABO4+QiFanhKCovE4ehHKRheemZ18GpUklvwzVq2qcCiCI/RMt40W03+or5D/XALBS5eQnc9U9yOYloE5B99mqhVnqlB6mMoSBcDjxv/EJZlMCnDHVpFg/zLegPGGGJPpQJX0IoCht/tEZo/OU9cLCm+3TZzOtBRXPoi1TlN8NpeA5kRf8AekC6AC2uLidzwgQEd2G+EpVY3kRb+zumXzE3VF4h+Gx1G2U3fc+hBxOVk0t7mpRC66eV7wDw0Sl4Vv7iojAdbRLAk6pJKIQiAQ4adU5KTF/Rp4d+oA5KFKayrcWWfQg0cszm3dE4uuQkyS/atatWoyQ03Vg7o8s3n12RUZtDQCHy7KR3WoNRRbxQm2x3PKDu5YGot6GYWtNteYu+lx0NCxVvuxnoJoV9nLQ/mUAwATTY/ODAyLC5LHjL+WizVSv83R7udCFECMBiM6Jn5snMG68etnXv87IZK6VdPD+K8I1LkNs/UQ4TE3M9B7ytGhtY5OIGKs0vkGdtLU7zt8kDqnwW/Il8g+LqCfuRAIuy7BlF8JOyYy4aeQRzkPrAuERa6+ZTan0iPv7F1Fd8u2DETLLr/xVeiSTQOI9ds7QzJUfAypp55zWKw+xE/AIUs0aMrM0X9K+CgQ++6VPsJ5rLZsljN+OIbInQbQKYEp/jpnotwEDIjfYU3zzdqieh766LZXHdne7KyQG5PgJqqt1UGZOnDrIRNFQSHjuGZYXFzMbBGrJDs1G7ynW6co6Oo9ATHjeOXwur4lf1zuaav+1nUIEQc+gasB4ot7dcFPCm9jETlbkaanCYZM30izxb+oeD2IKAJAq6dwscW2g9/pnjmm6ovDacafvUda4VxaSHksipJrnSorIApuoICat7oOAwDa3SwXDm8Bu/eLZN6sBM8YlRPbrHZbKfFc3xrCjVypagl7RKKaCF4acWckMvCsKC6pErV//pwpV7Hj10bcODt2VRK7JujTsfyYSI38mHBuTLlfmSiaZoeRMic8vHWJB9hEUeir2OQJxtmfRSdKVf6ABTSQb5j/LUsGbBuYPOI9Xt859yp/IanKd5XPkLTT7f572XhVEH4T7s6jYudHGAH7kkEm1e8xXgm2xrmbXmMFhrQbodfffYxygfyyYxsIDT/zI1m7tUGopQFta41IgRbRmFKOHF1OGYegaza+9Z6jHsHpDxJDbnB1s3K3jw4w4bmUoe+qtb5heTltF2NPIEeOtlURrQ5YmU8forG3CSqx7VCPaRHxJpgIaLpxhvJx2zt77edPSn2p4atCydAbcVflkJq3oiOlyaB69EB+y064H+3t8WHo3wmc1VAqDGArUlN9094JVsSYCtCf15WeFwUHUl7WTyzVkf/Mjd36IikK14UmYeM6F/KQOdpfDEgqVyNr8Dd4eJOBgkDiIP95jsatrTRBIofmG1AGV/0/3yROtt+xQPkpq1vvqxo0cBNsmjALaO/tq2RoJuPEmJ3FV48wpTMh0su5Vacq2IFcVgG4+DDI6u+CDX4mF3AA9KFbUsLlQGV6Gu6yqJTr8v7zmUMNgejFELLodT3G/q223PcM8NuXgrJEmA2rIAkHn/bgjnNJiPROj4HEMTP0uR4zqDatCRlEiXFlSJUp9ITfBDFEKcQNiouS80bjvNcoSp9yx5vESwtyKlPu7bi4R+jw/uRCVaF1F/Bn5FFcW2GYcmc6sVLfVIsnWvrEo7Lp+F7y2FqgqUmbS5t1a2MgUujl45aPO4/2Yv573A/dMx7srJ96IlRYt3WVV3ugsPDvjsegZ+Q6VZgMg+M5k5YgLXwVOZfqtSCsSmw70kSBZ7yroRg1UiZmUfmXkjg41C0CKzKg0HcaYNK9WPzHjk+A6/AwNzvMO82hdNnLUTWzq9vO4MB9p0MqbzrPR60mMFwbsXgY81cJAYdPidbyeI0Y4QsF7XR3YSix9Mj8VRjKx8eyUaTE7H0tgvO0unGMI/OWDdD+kEj8IB1lhaAeZxVKwiq2pr8/c4fo33gg3/5OaWyOd36Fb/RPDebE0+6oV/i0etfy8/HcV9hrEErrEPYhDIy8wM45ensF7JgHJE2trOPSD8ILVSBMQYVsgbCvVa59khyzL5GzvLKKE7rPm9JjAo2jxgVfmColylN+FNjJ47vGCZezzwi6Rch9ZxeC/i98FqVX0qmy5FadhYwM7086DUOLRdvkRFjkyDv58PJUwL1gFWzcCFrMTCG5P9xrc8lUoVq9DPX5LEdS945txIIc8WoLjJDHE/Akolh0VHnt+opTA4GOO3mdMJ5zgWv9vMFnll2oTe3onh7gzCDC0PvY+bgcOmfk85nVfm5QC3XlaR4/yvTMw0lhWxFQLKtW6f4t4RPXDGlXOvfkLP+vvIufuwJ1hVgQZP7ppIybKFdLkmxmvPYBA24p5oxIO+mBw4q8JFeU/EMpIM++8aSP+UDKT6goS7CdW5ycSQ/KORogYNotU6MErE5D+k9EkY0zhgpeXDs0p5B4jwKZdhqziZ6QbWN2KCUGEpuYt0pI4lBMU+7nGW5HW0Y6FqiPp37HqKptm4llL7euPG5fQVVMYvIXTkiwSz8fRb8Pgufr7GIAtu1/nhKLjY1HlS4XQDQ+VHGmeSgDWsANXedZHLAVfqdPdcly1dEM8+GjRvjEd4i6RSALbkIy67dmczuWmKWf1JAovPFNJgt44HZ0+laAya/WE728Qo8mly832tmGLupKfOtcaBa5MNDtHNSkI7+Nn9kiSp4zeDs4QU9+HdfBymmU4rZ6IU6ry+CmLsNHO2WR0XPvQdPBiANwoWglRity/9e+WI+5vDTDKs2s43r71CLamdHR4M3PfPrSM6DFochq1SJ9/W2GMAT0E1OYqCk45YQZvFEdySujpWgKIwAfaZerQOoYhVOq+ctvvk9LadC+kAgT3wGl890AvyrQAWhmtTbPFBfiysy3h5d3CVw+KekFO33h+l1rlKjYwAOG6mTgNyIyrwmz2//gwBtu0odx9xeRJZasVvr0GGt5Aln12WvG7LonLL090f2em4zdkOwVrNXErkAC/olJ/SwQl2XeKuXnkTuMZHLgHlinAZMECXJ8skr1600U8b+3ORuHfDO+btgAmMvJ8gOP84Y5vOVj+HumeqnxFi5yI6QiZovgu1DT5bwqWo0LSI66kMs/WuMQFycpIthJv7Db9Tssimq5aDSIpLq/8YWvenvzpvUv98DC7iXxYmz95Wj/MiutEu9scjIydSBv1x0jSchYVcsatjjqkKBRpSRMC+oRm5EQjZFx/iD/7zwLV1/9C5eghnawlXbJTAAEI0ZmCd0ym2geHGncz6yC6n0ne0EBxLMZ3cM6QS3K/amP9uH1dmUP7EMTTkIRgQXcid50GpR2SsqSYtWlx+aJmbh0BgBuuybNzaoSyc/xYGBqf9Npsab6d+eoKNVlKBEfBHxJ0odgCFR18Dekc36JlyA9dNAB77Mu+/11xVCW8+oAbW+ygQ6shNFnCbpJs6up/wj3SZ52sxKt7p4DX4XpjGNeQtkKOAvVTu1E1ypeLZubmQXYRYk7KyCDj2q6s5xNmcjSfflpu7iEkRATGuDwIBhtKUgRS7yPurSKLYfumkgZ3JSzzx3Wj7XzFHfx4CyD8v43I+mkH+cG4w86SUJs7aIKw6zLOn/FLER0o/PZzC8hexi3UZeTTPg19yNaTYIET0tN+1fh7V9xb22LtzCeE9kIyr9MiY5AO8xuoPdYlo8dn3t1dPWcj8+Pr5j764p/mwA8zO6G1SaZmew+kYJc3OllJ14H28/yPsZrCg4XUSPqlLNEY4GdkvP4iS1l9xMe3+zXHjx7SlA9TWIA9RwMJ8kC2cwnHI7yj7vnBNPwwWcx5Qs91B7wcwLBRwiqZPZytKMOwv6g6eLsJ1WLwo19dh5I1i6+ANiYvMBrH22TMPb0J3FZJgYzzLFeNSzUEqXuyNpbbGom5/A8cH3Xa49fz+gSkhN74qg64V7LrQrCxZC1z3JmmiAFep0ZtN18sf/4WZeF7t/SeG+aiKTtHi7QKvJNLWZWcPcllIPt9bBfYii5GVVTom3jXfH59lRV3LjZvhtlQ5ZTTM0bMtEER9LCPrYdB7gMDm8XRufxYPjqXzK7OEFpZWylXHJo7CWzcdns7EakTPbW69Oei4fGwGfB0V2LG7vFuDAzcQwtCdndus5iUjsM7ezTjYG13Hp+dw2eucqZxaRqb+p27wFRbxv97pdOU62R1zZojRXOsEqS3D9JeDoRsfyfOKHzadW8zN03h4oLdVi71FEQX22plA7aZgEGUF6QQY4Vp8ZyHI/zNZdILc2RaIMWCXUBmSlJsFKLm5Z7YQEIaVANlEKLk/CrST9WaanIc8B3aHSC8M2f9I1p2Kn4ypZ71UZuGUmCzDzTXc5BefQcEbfqytJwZA/KrhoY+HG9EzxqnCcSHpnzT6YvqAL4e2/KOPITC2PPGiQwry8SuslFjaQXdxf4azQSxmSbDfflEfbAaDfbpb8oJoxRpyVfbmrA47InKdSIRdPe4+cdMuEd2PVvdOnVlR4TaIj5zxn/cpZe2oTDA10a0uqS8JFMVxf3Yj7uqLI5ekDPRlDg48nMi5u8dySy9Gszxkmf4wXBf5RTP7CxB375f7G44V57MI4BvX3HXWd65ZOlcCjLuQnQm9YHae0akOWMSg79LkLVP2M2gVGnqDpCYHAOl/B9FOboXacO4HZYbb0uvznKzJpp+D38l2vzgoMPOm7iO5SCJryWbpkzNvXrkgCIlDCSNBMbBjY0CzdHHBlUIJ8NCYNDJWXtRmAtoSp6WxWegjFpyG4sUkvYDAX5G+4uf38mRVrMOYDko6wjJmWYu0kUOo/cU9mi5yKlZrNMg6cgk502g8bNUePz6/jyKVAFzkoMr4osnWRMiSTgW3Zm+z5KFnxAGMT+/8ItMQRkYK12/en05bU1QRw/nDU6g3/Jxaf4xuP7IaiP8nJy51icaXxjHnuGg+gS99e1fTGpeQTATZEQ1vFZEWj9+Eku5/5ghkc4f1Qnh9fB5My73Q/rEkUbGNd19/fNnQw4O1MfZ29krng5qy1c5K9pj2u8fwBMtoTcxzua/GqA0AQIojo/Y2E2V/aNCNDHF94PhcOiLYOJJwZ+fKjwD8C70VRY5KiyZ4YCka1+WMQo3BvWBlBQMhkox9nTuooxsB8vrrjZW1VcwNZzbLoWDh436wLnpM8XJbTBzyP5KNe9YuJOKnGV9aX5VO+f5bC6gC2hdiQrLSieb5Y1Eecz6XjBpnhxgFPMcZ+qUpRsWOxw1RY0EKwjIfL4iI6i13yfy8VddlVUMkIa85npoxSZgInPIHtYhKkoxlFzc+lJmQ//4bcLbtBc0lCekFbKmQWYx21jOR9x5i2d6i3pltnqgIHE7PUj8OuC7RmI2lQrPzH82JjRHL3YA3ryRMAMyWxOGHLQULZT4u6df+AQ5CehkKkQwJcKFPHsHlEaEfhBMmEVtWQRwOYiBTIhi7WKjKrFH7HkQvfg+/wi3bZPpEq+Jh4wlBPkNAOgt+4azbfJ+mf6U7GgooVQ/94LWKGuJPhshKGLapHqigMQjwN/8/Q/m0QPe38hstAw1fn6VBm5JSWTcRiDVoO5XrCO2itVSsd6H8qCsoHEsxJUgojtC8Y3vpW8HuJVGMCEykQpM+1IpaLoP2M+cc45C09kUYcURKeEWiQVtiVrmPZEpdOlS6U7ryo8W69/e5zJz7OiiUD5MqKFzzdJqdjKVrzMXHv8QCOznZTeeezFkU/LxyxARnBW9gL2Xo+eYk4BMogGydpXOub4qW/TiWODqGHwcGfafR3oPYtO3mebXX7tHfNq/yrZptDqDvF+jew5kI1yLC5cZFv2NJE1+DRXaE8M1xg0YeGe9zay+Rb7GAdBpV1nxUvDifKjKu01Tp2/FEDX8fSIHmYNY3vIZmhMOhX4aCgPowgVd9hXeg3q4uBqZp7lmQQPhqJ3qaWecqvV3vcCdXSEFPtqe5+NwMyuCLi3ct2cYTgr5RORQ2Nvf7/KE9k4z966O5YI6Mv/aYLZ+4BkeaftycawvNutjFj/4AOb5035GqrsdJi0RE0l7qbzXwowSoS3llGnmx+URdzrGEF3aROXhlaNPO7idMkh0y7Ja7wLnOVFwg7KpurTTAyILrAv9Q1s3ot4VqP4eWUKJmdIw9GePJHOu90MUMB1+n4qzqr4WegLAgRiRoxLUp79kreKPggItPRa4mZ4DCORi7GavDD7P+5iaNCl5ck9YDoEhizd73aYQUu513OWUQyK1w9qZ69Tk4ud7NZqAnOHos3fzbBzvkpfahJVvu8VOz3RCDm+AD51GpKUq/Sb2JjVIMXmYal7ecflIJ7veYRnWytUZOyeQgweU0SfH5COzfhAm72RvbzbIHfpehEZpey0rgL+MZnPG0y+thYBC3Ak9MzYlCn0AjW3DEo2JLeYqfwqEMLk7z0Ri5woc+PXfWHIoPY0raU1q14MD56kcaSWoEfsYw4olRFviqxvnwfJo9jQywGhainMezJWK2BiNes9LRIzdzU5zU7ciSjrujgSAgnFcwcFs1PpxXIJRYnteQq92GHYHM6NxFvjOB3C9jbFDiLc4Fvg09CfGt6IqnbZzgeFcKlqLP8FOaB3bobyEFt9gtGl7wEy7OevQttdWEMVpqsS3HNG0J71qXL8K1YC1XM2lIs89jK48Tj+eMI/YMU8ckIvBHbVdmoHBMulFxwdHfCzounH4fkHSqV+xpLNzrsRDpv+OEMmdovzWDPDtj3+CB0cssLjig+9yOvu5MwxwslIl3uR15bDt9xFT9KMlyOBntdbBz5InhZRWCAY6y/EJjxsyP6NJIW1i1up0nBZioHyt6BIX94an0TCzt6AloflkkLESwEMcaEwHk9zpRHtT63QXHfKpFpe2kPDoTCgAe4i0DJniaL5ni9HeZoRvkoAZfTPXRdKVz8a1lZ99rfqHA0N9nIsh5BvHupPiwWDjDpEZuiagvvdEEEMdKxHU+5mbvRAsNjxoKJFvLgQCgSKGWYcxuLjI/TJ0qGj7rvBl3GNQh7OxF+nnNBTa8xA/8MWL6ciIkW3zn2npTFJluAb2SRgBGAGRkIFwHfHDcBxFGAAmbvVdsQEPd3K2faSuP3aT0MJ9XtkW14+3/rIWoy2a1sdZVRREq2+oDoNTzt7CR3ub8aa3HPNCJhQ3iYBOQWVbpO51H68atXoLjIrjN/Oq7LW2zgHQmi9MPX8l0joHDn+Q5e2oTiK62q4DTgHPWmPTnwr9dmXUirUPe0ehh6ya5nfSrbrM8kpFZIN2LdsGK3shvNAX+zbbE2xor54PBB0cFLDBfiBvUGnrUL4k37YeoIeKfhsFLgVPeDjerEEpcjH4QW20x7vG6dNR4j6m53bV9boMjIQBBTqBjqOn/VMMeGk17bgwxCf4+5uxfUu4AnuSpRYKDIGluQGDZWEwEctue1WwLqttULY30vjt19KKpPUaHvfmlkpzVMAyDctO1PgbgMirRm616cBqw9Wwldm5dO5iQYsk+FsvTt9/wJ7+5eNLsD1byShW3j/fNmbtRAoBCdrznBpP0cOyM2BAZn3+Wu8vJ9o4uRPWgAbPxSAT19sc75LEKcKCZXur7Zmb6bX9KfbWa1FxIjsSC2c158NkODgTbNHIMIjhzM49kpEk5b4idbE2Llwato2nJLzk1FYpeGmuoR13EvpGZMNAIb9tL1f4/K6+qPwXx2HFs2aUh1aTSGnYUpCeJv6xzydSQB7VwmW8khMBRhpClWMQb0PCYWDGNCFa6hUGzGB9suAlzJBSGwh/Og2EQDvUpK1ih6Jfklp2/nU9Lbju+Rx97beCsZgCffzT/W2XaCMweDiT10u10aixCyi2cXBNu16CEOmI/O8UECRb6ps24VCgcSIWZuO5yVA4TjYSBg01RYMHSSOiAHFTOMl38h/1je91qUyA7SICj02Zh7V7lkm1jkiiTJbyptZcIDZj3PORf2M6bf+AvHaElqi8FUmf/3yzAexEJqqkSEDlANmMfT9HqN7yUVC13n08UMMKziEw1whFOwQVDpKGIhWAGJuKX7qeabVZ0giX0w7hNprQRd1meDTE+M1OZo5EQMuOwiUR5FjEqbjOK6BKztGAkJLgXmeRYkw6kHpx2L/Dcc8VR+DqB2wSzwKoLh3L9BsEA/dEWUTOWuqTVqERIjzZ5O/Ck+V+jzAu74tdlLWuSACPr/HYrofwDOMytVoxf/WAOJXKDFHqYTIef0VnVtMKMQigzTUqe87PG+zRbs3GiDqCphZWVO8vNtQiEjg3DHVEyaNR1C/koFutiBd6NzqKvqnTQnnClNkGA9uMnaOPOBUIIyMaOMc6vKh+oHZm2fARGacUsdynBtLB2lg5N+eDXzAWKOCmgRCUlaW3dYiJ2R/WauYeLUk04bHEoWNRIOaZxgorZXl1NiFyzY/Xk2wNbGBeLqca/Ls4oXHNVsTKXdu7GmT7zBLeCdlzo6brnlqczxTsVUdokBPgHUO4dPyHosI8nZWn+gbBALQDgN9oBKtcNP3OeJjMkvgFoxjbQD+L/mdUF6e3pHqn1TOpLasg6PnFdjsojYXTex1heuaBRGUcYV3qPWCzlVlfHz7ueqXIKKmy4XYsADvpbZg3L42OhN5JfCtNchQ1KOhZrNFbqOCZlY1UXNh7qCCXLXmroXydJXIB21+drYt7apWAkC3j9DUQ78xo9bIJ3HXfN9PgJU/zVm+KYzCeqLs7U4K8lIPxR6fKz0kpknaIfvaArrt+cWXWozIVOJWjgk2/paANYSQZZXR2M5O/01qwyB7TPxXo7FtuxXw1WJM26K3k9ZcdHCqJsPuh9L2scKZazuN02gShNzlyuQA8V4PhGRIFDzzKGKjWUhiF7/LTWyif4sqmWXqZaXMyky/IvUYFLYS4lUD2VAZTAQuwWVvG1kL2ggag02fwoirg+/MBonLDNbkEQtyZTATs6av444DblhH0d6Qd4rko6mBHa9FX3xpzyMmD6/9TLX1h0Au/TyZm08BKxXPn87s2+Q9HgXfCXaqP5huC+dEQORgfK40LUNoy62DWVypxxPq/3v8IyEr/f0QnBhQjKlRGagumfYI3aSlUeKGDkEjGVRuM+Py97TTaAvw2TkoemChv3a5Jpp169in310BrM5CHKgb6KPtHemlKu66Ju8dERNFWS4Qrg2vjG9uXmZDwRgXL8m3882ZWsFB542Tn64Cn8yWNJTvslFDBz3eyEgVrQKPnWpmwNbLcRt9eKj+Dc14wHf0SVMf5MRekCwKoqXaWj4ZuRyBSxyFov8iZVsepCGtPQZT4TcGA85brDFD7G1gXuGkd6lznsQHPrKxNiZdQfutGiYY0TZcOkFdVbvwClYMjxXDF0UAQxI8nu/s3QP2ihmp7M1Q5ILMigZYewZBy1oNo1WB9veZlEnl/9tSyr8MMDf6U0GBzKuvZqLpgXqlUGdxzh5x4o3tIzpnUYWgbTVowf7MsYfCFEiO61OAhVgAAfWiavYsj7llcjirRyR/mjNJZtYDvT7PW37rpvKsmSg+GqQOCI3NeIAwAIkQSZXXwO6x/eHFSON+QXIv25iJlMnBynmCS9edbQBKcVQ3AtKDVQNzLAIoxSJROdE42QbgB4OqkKt7BMv9DvifeSr9N1OyJx9NFVZkMt8tyEJIzXTNO7Wz7XN7l9C4QX+Fmr+ouVg2kShuI2DbUusDJ2yQiFRM3JDH3YOySXAPjIdQaAofFaUZvAFIlHDm3+5SbugTzfkebKnVWyQY93gweljxKhmJoNN03/ZVTV3+zpXj/rb3K07OwE1tG07VRRW9cMvB9SPqM41XcaYo1fLC7tlP3PEURJnq1FR9jwhYkqRQmTEWLjheZRyg2NTZ60S2dTjmAfMY2mgZ9qnbdxQBMi3jaZsar81dNUhQQ40Koyl7wt4euxDNXKgZcNgaC47bjWv8UeL5tgsr2qsFfVBeWIUUqwvmC+j/5d2ovZ/coqWPTgQTgtmxqZO3E4lxB2VMH+Skm4HdYkwuCyI+h7/XvbH5cEvzO+/vo9eh9Lj27kq1TBog0dMoivOppir6sszsUmuwHGEMS7+1y0cygulTA9TwohOrG1xNatSsEOl+e2+epejWlsZjk8G06zT8MnspCj2Xdc9M+YHgK9bfMNUzgsZdS3J3W+eN2HniLvHQQQVaVFM27s7eDQSA3I3F1o1i2vhaaQmnSUCzUr+xIMw7uGpcdNUK612/I7JuYXKeBaVuB1GrLjpLEGSPTDGXOlBjDvR4vWVPP3dvcE/DTroLHhS8l2vqCScPgWm+mRlY1QLD3Y2Odgywy1ZIxy2lBPXBL5UCQ80HnRGLjU/qCFJBM4C8W+EwXu53F3VUvyG2G9Od+geTqZ8wXxIQb/OgxEoC0D491zHn4lfTf2uUmJ+ssEIcN77rjwe7D6YJXNmbont6UXBQ7iqDkZhotal8dKZyKs4xqGtRZsIvVTBJ4hvEt6Sn1RGvZSkDAhy56IZ5ojQq2uOg0RMwLipd4ehUGJ2HhTorqn4Wv3W03/dh07JRUgv4oSfHuktHOBoPyISz2ylcdu9eXwptXF5HOKtAvTf9bXV000jjn2/iHREM5V0P7dE2+Ux5xA4k5kdlBxjKNHCbng5FLwq70AzLrRJNBaiET468SVDxaO8HXVbCLY0leO7PfaGYa204PVuoeayq1nV9kKiUTqbWJnUZei4lEVhVTHG7tDpsoXEtJeFQjAO9ljugAlQV2BKormQn1mKgHQvRGwWelUUYgjQA+xlQDPIFjyaHWKLZ1GWjom3g8GkAAzKHIP+IVR3nBALR/picB9HSzE+Y89N14iT33kKeEoMiHvbU9O0ttgjjL6faCxtY40ngTlv++Ruofbh3kphGEQm4FoK3xO9qykpPeb1okK0Pz8Wmt7VERalr0g/nrzlHDpkd/vmVTyD2SZ1bZHipJnlMfWz9k3FwPNGToLSqXJqdLjEvKbawhn/kINF2eHc/dwzvCTAl2CQMTsoPVjRvCgJjXtdsFnKC/m+XHqNpdeNCfgl7q9S1Y+LWLTsAhIytKmfb/WBNP3gYg76yueYFTviuN5RgyCvYgRNCIt/TDv00Wz6/8ActEp6v8Tfl+Oq7ixZZCPUb5txFYhOqrnE7t4f7a5oRm/mJ4tzqtUa3LQgmegFj6yK8ykZLnCoolj3nvFxaI4QVLQfxN3zEKYx8JseIDo3jcqfSbceM50ZTKhHVsCCMSgESi/ajJAUuu7YBeiqovTAQkeb1t6iPIBWyJU31U62NY794N7ptyxLhqdV5JE4VASGLAlj0wWZLIdR6x2wIY4Q4ChB9nX+GGN/jEqNyDqPEXwRMdkBOkdUK4b+A0nNWAgpv33qOXYECj74OSb9MBaAlsrpJ7WkiclyLlXhOQ+LR2ckvbdH+c2wq6PVOQtRHjH87psdpNAfVGmu8RiSuKyj0VYmkUmm95N2A9COYJ9huNXKTmjsxW9tbtsXzwzfpivPC3E72mDttLt73m+Mwlhi2lA88CQl8MDbT1wWmS0SDeE/ZGohtfIqMRr+aeKXwj8Qe1GMDpr4E+N2a6DBAz4i5ecSdLRxNPug4Ns1J0t/vvrDFdEZgQjIxhZ1wb0hdpDaJ15eEHitJYYox9ISt2mH9sYuefyZbV4D4svtX9vPMWO+hJSXHzQZlVRkAzVhNBVz6GZXxN47bp33PAEKEpuEl0WP+GTSTVNxZ020EKgmDjjK1aFqtrNNuksogSTTcbObxxPuKL2JF3RyhOAT1s8s6zn5OODAMvujgqpm0KmFw+c5t+5VgSNOvxUNXFxcL9GVmj+or/3zYb/4S/IyUE5hZTm/DGwfOr5qoZNJSJ7WBXP1MG8rYvJSPZNTJoUESo2p7Kp0gnmgga5v8WHmNf9QUB3GoTMKZm9J77YUfokUY46kZ9/soz/NgZmFUBepldL4Kt9UkQj95ectIMdsb8gSqvRtWIy1QMsuiiwoYg84ABrBqIu5wuL8Hsf7cr18OsaC+5bE7BP453EeWg8QyVQ87Mfv5DFhCyYWaN77utzGsUM27kNgpat9tiCsZkaujAkoyTPZsi86tVNv30Cauzdi96nHVnDgIm1Ik9sDvHtY4DW9Ce+KD/KYRHi+74GACg8dermQVvIKhp14vk4VaUJ4cqHlO8TMzGyZ/cJ8scJ0Z7JoCCHv/PkDxE6z8nosmtqoj3jPDZ0hNd70MvVCI4EusW2iLW89ftFCJ76YT1S0r15CRHCFiuqkxXdn2cJVojwiEvxpaZ/dLOMrEAUkm9KuP5d3UMTDdq36EHZLriXMdnyjV849dzrKAvg9/1MVXJtsX2wgctaJomK5LEslb1hHJqGy+OkRz6kHPai4BUtEZVtZGRS1RbONl8Ph1yWeO2vp+5giqm0+/S/Ns/+T16F+uiscDVkmlhKxw+MfiaVOl/ixWPB6hbtUgsbX45J/FZ0icp9WHZxM59w75vrcKiMSQvcb25+WQykGYJyOyfeDspOHw1G5BTGjGgg/mkW6YLh+Gks4ThZmFOs54TT/vBmDmLpwMSePmWbrxwyNhIzbWnu+XCwQvbp7l6kdQHFBGcob2S/a1MUY/brDo/QcLcg+Outas88c3LaJ3zM6EW0n8rx7w445KPwbaVbO0on2fikUmRr/2gweR23V1q/bwCaDGIgrUkArB6cE76lDoL3ZsH4qKiTLQBiU9nL4tQX5VnH2Vo1Nsc38ErSXWi6umH+Cck+Dcp83FGzAOAeYXonVvV0Fx7/KZl1P/1my5MESxLurvMfUAqHZLeeeY3JY3Wec0Azm9g3RIDFW2ks7TTiEQf7Ev7gKBkbVuXiAGBFhq8kQUhjXAVbozWIk2mS+toGhQtFgY1BcISKcu3lvdKxPdEZLhQ1VwKeG3xWYL/iG4FD+BGPX88TXxL+x2qq163FctUpvOPychqYRY5+LfWQ62xJKz0C1P1XOnqDD9hLiJHTFcHLaSC6O5wb/0W9OQ1Os1mKHDyoKdWEe/siFZTyzW5gILszOwwGkeuG5MwmR4W+gk0pdVNk8mrqAqppG2TOoI1ZiuEgH0/KRtKH0CB8MQhk07wtHMevpRoXXZsynctxfR5htNhGg/XKYpFiKAYV0VWg0JoLPbGv7pEx2THNCL8CcisvyYccCiotkp31THgWgnoGk2MCqkwYULrjDgZOp6BfeTxYnxJUkx2pD4jugG08nlhwey8Nlftjjf+sh0gJ0Q0zAGZVVrYyHs6EGeb8jOsu++knYZ+m+qN/phIbAOMistOEE1ovsgUa1Tn5iqDk71csPWNQc4Kdlp70ZyWvPTxLnL9Rd8E5tmCL9VaDxSLgXAYhHJH8nx2ImcI9asJgPu0uz0fc+k8RXpHvvZgmARADM5lDvCgeygXh6o8NfOcB20t50y0LHmGnD6Yjvmk7ca7EKCv9eaK+T+fBrOrEC1okkOMe5sRKPAuDPugW7entEShCcpy8Gw9IF9IB5FWnvJ2bfHV6tIzcxFqjPH18q/ZTqVkfdmmd+hK9SVcq3hp6sts24N4d+BZDnM0QBgmYUSABExf/03tlR0z/n16BdvACRp9uAgtA2kHHeYFgFExWk1rOgrU0EMwEnfsMfxYulv28viA/iJ9MHgxVAVzvT5V2AZSNMPRVyEzwmR5u8xE2GEKP2/Rbwiov91hX1QIzAMaCGppQDhVBAhWWkhbcQyprnB8Oujvb3OwZ8hR001eI4pf/aB8u8C9h5b5wZU4Ip2MnCAb0xVA0JDDyDFs6RgeAiLX7c7tBtgr6rg4c33kz5zEn94n71LPCr+yIE2gMPK92zPmjRMZZRlL2r7/Ji9aF6bH1Utek+Vbmh17UBG30Ebwnt9HlmEUKhNmeau9h9xLn7AxIgi6vOruNl4F62uaV3zyhzAjlSLFrO34lEAB9oo1yqKbsD9TAj62Vo2GYUaZztxW+AnjV0KmdcLA83SEu0HgpHz3teugn6hgUhFrJY3Pdk/FEDslZDUIpfA3rdtw/cGOjCgik1Ker9A/sNvbEVZOcwNVT+nr84PWD4wFCNgDalNE5GqmfL+wf1rvF3wec/6uD/bR4FBO/WnveVPZkVJ4Q0CBFfSBib84rMrlRXUzcSN8iexPTxAsuZAYUDul9hF5K9CMamqYkxhQB3Qv2ccVf/mzh64jS9fH0pp54RAWP66HkHQZ1SZJwHVLEcvmjSnH0uDz7pdJuMY6+icJll5HfT/ZQrUTRSjljFG6EyxiTQbjgyVOJO5kqrZkhCOH9uljylMOH6YhC5gileIwWur69TBrBL485yWMG4jHImR9FdHUxXc+kqSeKG6Z5xpMaDgSOp4e29aFPYhDqFwLgKx7N/mggVWrFNLK7U8X2iioZPcWTp1IdSDzTyPRMsRh7lmqZ2v1gPm83sekD/l7XBMXYTNjU50xnz93x4+BL58PwlabZijfwbdfwTvzxijqIp762q5lTMTt87uC1xpOKlSOe9KCza9Xm0VvIZ3ZjwRTnCXvbdZTpHSvUoVvzrwHEHMW4paTbpzzmHp/TuaALoswrFooaQt+Lc/yR3cFoV1UBgq7zEdki7bkoH+wmisjhcmlvsxPcsjOiFymumN1Gd4mW72VJBZM+sEAEcrGuOcCOMI9HYpcfIVSwdZZp/18ETSRoTQZqs0atHFANFxbUfXO8SlcxLSft7shPrBunpqew/xB0q0W2qa7mlh3Ycn3z+8CiPzmzIzHhL42cShMWfQZ+VxBzup+2XPiaCxr6lwFhLiD331y9GS3ci1fFmyLTjPt5oS2QfY92Cf0+k+LCmX626E2hSOij44i67CNnw3diU7PYDkryT4tCHOOPaCyLewOHfiEUa7AL9J/VhGAIjr/4GoEKM+fEFMhcZ08JRMFQ4KUbI3Tz3l93Cjk1cvHljFzwSi1M/h0g/noegLufMRv5aZ7agARqM1O6dMHWkaSetKa+AkRkS/lJiMe8/D3WPkiT9N+96h4L1dwiuh3coU89Kwz8ak7MhSk6vskAtrokQIvij6+B6hvMQ1ZYMbwkw4IMduigmyKZ7h0LZv/tFE5pq35MjXqcgYPX9orRRyvazw7FnqbnAwv57PZFB2JJ+xU6chV2tCKescVjCzmWTwt1IkSDJiFkfG9Rp8s3usDwmdO1ggZnKkfAP0rUlyl3dblbQkjzF0Q6MR8gN8XNzlzQj5JRVGf814W/jTO4NHlv1/NJi4XK9GMga8wzW+KAioG3nu5IJBCbXwuIzl1k05VtjZBrPFWcwOr2xmuW9yK5gw6DdnoyxHl0jKq75Doo4rEzKVZ6TTqCJVUT5uD4fo1HbYvIQ6wz6BD8dKO+1h/Hkw8PKaCZu+OpVeMWL+kOxSnmP6ANSubBptfEkVomCceHx3NElSwfr/w5Z6ckvzK+g3yTvmpmFW01X6NJW3nD76Z6YxJpDR8aTqDEly2tIGQGMpUT30Fg5oQ7AdukbsqhE3gEzRnMV8hSg/OiAhy3J4TI1CFCb1/Ns/fqTWb19bkfRWQ/6+1ItAns7SrVxzL+QFnC9KeEkrGLNfLCzme54502cY0u3FzQ2AazuGC7Jvnz9ZAQCABc8NrAoB55LMlX7auGfYdwQW2LzUHUBd0rZnO4xFHFTTC6QbmQRMtJ/cUb2ftzMifSKSRz79BuXzySp8Wc0vXlZ9h8jCaQhD36+7Mw9kv1NDWoeWSDZ4N/8UhaK3KJR0Uuxohj9q/qCsbmO+XW8qitLujrSR5YzqPeuT0qHcj/BZF+pjoz4I7v566l3GezhkEMORCgflQMhP+4PzeSsVIBVy3hxtqkyb54GsOBhOz20Sa/rlEPi8p6sfYSPjjekLMhn7TeInJHG7zwMva59QJ4i2rHrEB1MkMhO2UvY9w2qKoHEEXXdF4iArooboom6/18t/fsCl2r1j9IwtBXVCsqFQFqaTEQK+zspJqrB7Rn1hnvbtUEXGeylDeSUMY/fuONY+oxcEYzDCPKK3RQ+hZZJFLuOz1cmR6JE0LWWGbNZSWHHdoVipfFhyAZ049FU0n5NsBroQeubRttkg+T7XfqvkSb348RIN9ThAJMOXgRBwYouExkqOUCnj9rqXUEbmn+Ei31z5vPECuf7qkrmn6HzHVKUUkfRexZDwVwoKTYPN2WrMaa+9oO19LIaDmy/9yRNCibph7c7O8b3KTkEpF29qXHlcYr3SiWD4YXivphp/3bpvH2FMY3nCKsDur+Ws1OxSVdco5dSdFLuWZnM4QUT8Ikn/WOgG7GV0iicigpned9PIrcGqPIekcrZWD/DXlQ5YCvdnL2E1rahhI70u4VhkRN1iBkSs1DwSo5t2ad5b5ssEU5xEqPq4zeYp5iBMb4Frww7DziPCPi6uWjdacF7XnUGq7QdnfaRDw3WTaHGGfQRcr6WNRrM7nX+hLMah5pwe+hTAkydGUqlIalSRE5xhh5/PqEPsinH/d2KRUIkP31whsRNbMEDBq/TmRPkTv6r5N8AuhSyZMuSFTOx7SbKTeev6kAwXIvs5Nz4/cBo6QpHcDJV0DltD4niDocaWk7znyrHfDBtM22lP/nd/yiOBGrLkhHOFAby+kEn23juKBQTm558XS/guF9Qhve078FnATLMeutb5Y9YMYp265TSsgyhFHbON5RJBZluNBBu17nj1kGeJp60XMSDOvsGVi6aofniw6N9fyGyr7k4H/qMzK84qSudVorAvkgm3xZoMTV+XMe3SSHc+aonXKMx1QXqzrG+MgVZfxKCd5aW5OxmRg1wZYzqUHFCil7FFUUa7fRsYjAho1OeYptsD080IUcdjFN7mMMz5gFPwfWywQ939aPHnkUFB1DHlswsajFjRrQ6YJutad+IhvHBtlJE2RkGMFGxZzNCJPgFMbS6xSQRMGahNv1VykE2kPST2ty4rSRemzDD3QvnJl1zrt+ewuwppKAbSRScQYD5QsBK4WjfbYg1I+zWE3Vl3GOfHHueMMp8GvC5l63jEgUA780IuL/4o8ha6nwMoCYhsimAYesnZqc9i06oLjqgGWQKEkGdCq/nK+ShHlGCwdBfV/sraSPuWSuujHmsQSd+yX89w4Dr6xqf/b5o/E6b+atRb6YSRSI0QzJ2KOcEB+lOlR4epb55y5pCQzF7QCGp1gUkJkNvdMpKA4LrhOboO2Zil0erNr3CXv6NImGnU3PUxSlhCLhoOlY+retjKJpBQrkhxUW9xSW+M8NzgyDOyagL96myfeO0n+SYxzbgqNMAIoD5n7Ha3zs1ZVo0TFWQczVRh9xnVc8aOUdOCy9FPckaRXT7fYgrewb3SrxCR2NhIMAHagj5MPsvS66ZAdWpa/tsuFOtIzUbuCd6txH5maPCTlTjoPS3kuPvI2jequd9hu104B9QxkHCVrI7OhTAcCU3KeAdw5sa5oRSTnzTbEOmw5RFRA8gaPXpozQj6bor5gtc5Xcuj3dOWzoAuYg6fHMgAc6bfQsTwTVFybZ5PaJrTDx6T5x9tWIsmB6So31hL6ApJ2bn5k9mgQMsRCt4gRbHMGx/cCC/H5nck59CGlxXrEIeGOuBo01jnet33hG2D6GqjUWbiOrwohbaREOiVg9j9TsLhCTggWNshmacP3kJOepYRUUDLNGvKKg+VdVlh90OtIpS8oSjupU+0ePPPkKEm07Qhk5ROiQELUJoF8suJbyRV6Gxk58CY3arqwhOvKusdbWa8zogoTI/i6Z6WAdWwkO3X21iaN98UF4eD6vHJ0B69vUdc2tYhpPccDOs/4Rco8TSC3Xvm2CIEs0GNWinaJBE9P9CjWQrYgoZ3joEfTrHubnyR0B+oDG9CsNWijVT+d2jQoqMPDl3svzPNw6CMJYjWTCwEWXIgMeJ5ilN2xq6SuOl1spEuS339jU+bFjo0a3ekwrZrEXljTSP1c6HoARiEqHhP0tdfp/2G8RBI98qcPf4ViZBdyFRD01uSe/0SrI3K5s3erC/s3AoCJ9VohpWF7rmF7z74avJVTZcVqnW/2y8j/dfpikzgnEuYxKyFpE0X1iLuDcLe2wxZ3Xt1ipIKUTNoI8whSyrf9NLIOgoot5/5ylWDdKYxJpmPQUrK/Bix+xdNIJSKVNtmW//MtxHlPrFEzn46NdvORhrKomn2xBAPaVJy6msmsKdfrVZglX3K+h2qX6v8JXER1DORQNWl5RQ+1FyW2VEzlQObBpGc6Ygm8lY9GxFldBvm4dfYbrAO/6FdUp9wn9JUXf205TrlTwl0TlryyTcZjtszlhbN2n/od9mpxFkcTJkDk6yE7klb/MBJ+d9ajkreQutEtrnMWcSz2VZSlQ/DWcQ4Rsyva7b9Qj/Jr5wudCmJExaXZuEo/E6OGAx7YJZ26KSVEzffa4dUuNcNGUfEoSHw5eYxLFA+F+jcmV7X0+enkZNebUd0uQa+KiQ4CNy6drLabyYLJvR8ERPC/JbHM5ecULb0gabpaSqTSaYIZ9Sl6/LHFJiwJ02IDh2EF/vVCkTXcOe/PIwAnpJdGnp1nPef/qkT+8LsFVfpkJhQsSs80PRmDZEAQRWZF3PHdAMLFo4D7vvwVvBEcSBI3EMiAQKiEwl7xrTLDk98Q37LZVhM/mX8cRhTyj1QYPm1lkyPNgxww8URh86lxzKnTD6ITws2noaFyzFq3hzDvXX+OPzL60oM4VjzmGj42QZUSnI6+58vIEtDYm15rL1fKR4smmqGymLOWI6Tg3zHtGATbMT7I8fDD3o5rIE2Ntf7ZAVX3K0931ZLSXXve8DtaZcsJH6j3xelF1dlDiGT/XGiJKvnBlxBu16gfi+zqMM3VWY4onJ/y6Ofn0ZItDAoRfdBVI7GnBg+9saXhNMkZprFVJAW8VFXpmNx0MJ85nPenU3Xz0ZoGbR30qU70eyfJmuNovNhuZbIsYqCWg4vbSFNs2oQGBUq+bTfHg+OxS0Hj7xO8XepyoiiLfEWhxcGo4hNKFPVmnZx8pt11KNfN+efyL8vRcnEQADykF1krVoSdzWyNwxHHeduRTIpKFP+1oorrwUrxkddfaqYFdCGqqxCRprrGp8gj0KCNHSDT20TTpamjHW02AjOhxapUUKNofYhc/55vD+XXMbbuZyRSSD90zFqjWd33VJAvO3xLefR/wnDvAMS5RpyLrNDPSTbc8CNd7zG1zYWSVSXwOcmJ7s+DvkMY1kEB7I/FcJSLmHGE8Y5Dap5ZcX7cDJWmaLkt+qGU7kxGjPYqE5uoRE15jRYbFyFspSJ6zViI7ZGugURM5O1mY0CUT2pGoCwJNHwbovtezGF6jHnUromjOQkNNb0dtcApOPzo1ine27fL+ZCsto3fj80KhrHGTuWXZ1f+JxXLiDLiQBGHzI4lmfNYvX3Ji080+63UBimTx6sW+jhAnDWFgs23iqTfDfkfOcsDyBl6N0leuYwuzo5s763s/aOagSihCMBFSVrcjcc/etE2/yTGZYy3yK8YCBpm3rT6t9lOuQJJm/B7NyKN+kf8T7yA66McYlVUMMiQtocmRm5rHNNJ3M4kKBgi3zdx0GFVNEEDKajagOp+hV7e9imEJ9XBTZkzBJN7qhGZMYiKaZ0ZXvE7lhAMAeiGz+C/OuhiUUPFDtiAX9aioOnUepJi4AkMM5kbpmVxmPKJ80H4ViHpQZBeGwv5+wOhky30bpmdhX9tvXnOTbqyvCVtQyoxOMLgenQA1kWXCGoRAq3wmppkU1i6+spMtCnQTWOCEHHiYcnNO6d8JIyxgrjgnU7JBkk8AXp+1ky6HQ3uUo+d0wHksNsxjveQPxKTcWNVb976XODA1/9/i2TmHBOQhVSlLkNw+9E2gR9vaMIlTY47+Ubg3rVGOfol0tSFqA/N3F8F/J+HfgV/PQRzt6cM3egSvqQ8RZmkTdyDXcpFOVHi7JQmUad4IbWfSpav0kDgQggb8Qh6BzZQdZG8/OI/NoGgIO5sgBf4EbepJ/x+dkPZElf6eO5p2xNxV5nrhBtWg5UfZjCPfJ4ehYO2mACtqYTyubKhoaFLUxHe/ZqI3Tz24tqqMJgORVph9jaBptXibV/QQq+/57RH4nJ6hS2yuio9DLfLHgxxaJa739RlxBVO632Ww0qFX0Mj9PPsdvysJGRh3enPLjnQxDGVG9I2kyKY7bJSBjd64GnDu9tvGmjgmrw0Wzr1hlKtZ4C7FEJSiwOY45TJFMS/GJYbk8TNnHM2D0nwS7a91HjyX9GEtQ+sXvtLfof3iJQUZ4+L/0D0BrHtopNlo1XiqK/0g+1vQ071fXimbHn8D2UhFvR4wc+utl9rI4nuYDGg+JxYBl9EAut3RKI6mPlOP+1lVmKslYHk/juDwgKYk5qYu+LVsQa9PaEIkOwgTw1jRe7XIdQBTVGYT1ge1mEk4ZxPbtAasVXr78WBQs+t/MjPbiJ8kN1f+8d18YiQm2OCr/HKPpGLBimm421H2Hhv709FmbY6mG30JxOAEuzbVRuucN5BIPeq+q0QPvAGy9GJKoqTu7e1eZrbCfozfSDG1qQBYjHEQazXy/KRlhwrgEXDrLceKeJNADh568+EP8zvkMQak8TkVShsOeaeCq6jgJ4tfQHxPUivDisHEG6Ufbu1+NpgaMVyyihocNd2W5D8NwwTQyozuGMmw/f53nX2BM8wIKNwDUItVOtvk3FKCrOTKBDhJmKlf0iHGjBcNvs0AEjO9vDnO3hukOKW7yLedkdEd6QCmB3D7BvhXZeYynZuCoCSOD05EapmT1oHmQfG9B19UsQHK5jkhNTuWt2+r64lSDqV/ZDAq0/V0SkmfrCNfLWrahF4libM6dlZQ4xToPFrBD7coOSwbRyCiaF+PnpRVJCuxJvSWZ9Cg+ocTGmWLZvhPGQYDLQVY+sUbNG9vxikwSiDbNHiZHE/98jlLqKnxCwuDII0R9VflzoxC0Mp9PiQbufBhvuFcN4/3MTY6QoIRUrAkj7bSSjq/mYGbeMICYM3ZxHxRkx3gwMOOoWu/uW/kVuDQbVVdvZHU3bopQHoXqJ0fIRx3D20/KBlAq00Zo2bthJEsG6KrlcAjWcYG0sICfSylHvdjs3peUx0SNhj/Sx32D4tbS+wfzUsvS8lI8SuQABNaypqp/XF2QKXdJ1eCYYNfF8eMOTVRy8OM+N9EvUtxYyz2x5/UNUSdGvnY6PjIzRcpCDszNEPRBXZgMr0Pw6tvnyLIP/1yTu+LfHynYKrFbn6D7i6LGoFpmsQV58w+K2nzVxzi5tI5sk4rt8hR1rVZDIOgC0q8XWV60emK0T1f/Pn3GzRd/xr9jj2cGHtTASftv/+UbrtzppAx5lHN4J1FxkwrdvQIqqQenR9eWY2sxO/I6V/KK3Ur5MWudLebQTr0X1XbmpX0bQiCffyHVDhgnWFp/C10CbwxRhHz8N+JoeEAhifgBFqpth5qPT5FYl0paaZmHUvXdjGZRm0Yx6o9BjPuxEimd9I36k7zl5q0rUYTkAdq40PmdawDf9VkpGfs0OynI1/AUe6jVlvRcvEYt/rdbw1yO8mVMlGFGeCLoXvnQOOGDDY5h4vmEFzi8tAzPCPj6A/Ix556JN7cSqctn1rkV73DW94Ua9VCakw7ordCuO+jp0H5wRjd7ZJXPiqIgt2mWNUKEfbgeWPx8LSSa2SVhcCkKofUoc+0t6cdp5sMP+Y6IRUT0mTOoRsU6GuAxuhBzoGZ55q29s9x1Lpl8iwkOxHAKeiODLmk0rIpjeHjD/kRD5oV8WiKfg2azb5GM97cJ5BkMWJHCA0jgvr+nesDrlGkAmDJzoPZiiIowQOgqo0tGOE0IQtHg6WCIqyZXe5QXL0Dq9e2PuJhG1b47adpfe7XPIQ4NUpyll/H6IHHPUdD4Dh+/MXduKupR4lRR4waktXcIN/hdTTkCz4rGBLYyQorlV/20qLik+Dd3IDmq3BBI99aYzQChECVhomzEOuu2s164/UblBRf6xtQPPo9YRtdKkC864s2jQPRxSqCcSn/IRGQqScHR0XJPwyMjy7YfCEcWMIcybY0b3BZVEZTVobSzlXWQTvYAkKseDdNVZZu+ocxo3FeIoAJ0+KXArkzWEpq5T0+NAapzJ89PUkB7v5Kc6Bbka+9TfA+m2xYEaYZF1y7k6LdadGzcppszNsP8Rj5CQeyzX4BKkN0Hy+VZm38LWifGuUjrOfTwWnyYFB/jPh+Mhsm7U5hTH3q+pzz1XilkKDf9z8A1yIY+VJRXwcuA1j5dJt5JCDVHW+EJtbP0eX8GY14gj7HJrNXFxXsb8GMm7TOCPXctN5xRCgMPF6IZz77haB2kMdTo0S8gLEcdBsDBuV/d63liiy5ijkox9Yiwy4Hfl8TFlgsQ9qtwFn05iy7c9wX8BhPh6a0D4i258kJN2897rP24Hwce5c9xMj1FuCR0GEBAhB26GfiiRrXtvfbQ5kVBKDfs8ctZT0KzI4M8tmFVLCL2Ut5/92hbFcYu/MjaynmZlbPsg4rqhXDGmqSrJWOPARCub/ayPmYyZpS7d+MdY+cNYIXc17HRel4eN3AWwk2BTWflJdnFWCwMBYrqW1EmHR52vZ8NjM7zW3qO+oSAmUbsw5lxBMeA3tM7qrgqhQxT7Ya7+Gnd7mPbgxn6jIacP+/tFOX5Oiq+3qiiqN1A9Rf20bs7r2TrfHRby4kPEzQQDpO4KT81dSuPx3Ll3/vydBZcr7FT6A2wjPK1RIeXt+lmat1YqLguOR6YNU+wrn7VJVoJ6Lfjb7EXo/rHGMA1Uh2pV3PBrZXdrQF0/4evpUO6zeGjGJtQiY1sOEY1rs1TXWzNQQmGk1ANCKCl/UpnVNIHsZR6n/pp7JkPFMTxGWuliQ4zer33gzOba/KjvQKmVDunid4KPQnVCmA83SDBKd6fqZL0dheTbz5KryvhdbLWazFKkseroXM4CBHZnHufCRE6sld0RVKQ5y0UlNRZV9jBkyKaEE2kiKtlpJhlTtqNebnk3px+CFsgNzs+Df2V2K/8IPiID62W4aGu4hiTEIWs1IF0S07nU+miwjqjTmUjrXlkD/5VZUL+wlblnyhZ7W5p7i2EPhukyHvk6Rl5834rP91y3cRkZjxY4e1U8FicG2QjoiIYIIfhUnDEGPba0x28pLrw+RKQbPgAh3uN1lv02T6qaj1qqIKqbV5LfpQGYJP/wevC+WnAhHrRZFz5iHQ/p9Wbi1lyl857JNtdihkSH+kXHACCrhD/bM0quVnmNXp75BMp1qemivvndmopf7bpfD9gHvdslpLFJPV+seAp5RMeLJQBR5PYzcmWPqJtvzru6Ehv3EqmS/R0QNDPo8+KWwF6uTebKjlRAV53MqHY8r3BWCej8EwKN/s6M/yWot5zbNY8p4O1AYyP3dHFllu7NzOdN4lf1La61e7aBIzRnS2qiJqUFLMEQddYxcwTHyOvRuSaSMpBSqX2+GwgGhMoxPedqIjX9B1YWfm67bxWvryNGYcFRw9bq/yLjOFa13f8wMVMPpYfTbMREF1kYtthudHLlLozG1CKklsH1PI7OerR4rNC/3FW1/MW4yGTgjGbu0evhGMQ0fIk9M4EIfewPz/9lMuAG8gxzdy8Qe1atnS9LxQSlzMxfz8Baw/jEujl6AQ/gHdXW5UxEn3/S5O48mm90co/z1G80I3PpaFt9H5J1StGUObtx+DdKUYtVrFjt/Y6aDtPf+HjfVHHMKAMEZAJ617iHc2xSMy3m/caoMj8/xyR7IeAA7D7eifsaCeCTN1UzFuLu0VZubco6deC7GUChf4LMjVVZ+FFuZoKIeDKQ0WTIHgOolIfa9EzgvVExVnqtO1jJQc6usD0THGQ4THq2VFhZhgvs2QCtTsA2+h0IbhBjDrkvsXuIJ3jgLihUIHHyDYxh8MxNay/pTWGGRyLkG6cVif3pLkMA0mXJtLOZB2XYJc9P956gyWNwUdkbJ+BkxlRdvyCRI0e6gyZQnrvzHrpLAgQoENemTJ0YecbJjrHfBn3tXdx+3jESjACKZsBfSIRt8QFVaMcsLCA94yEHagvnMUkXwNDiksu2q+V02sHCHDNEq4FPO4ceXWIBwHpCyICYZAsbBePLhmNYd//9LiCohgt5doer46AOzy0GVzXst2i6yKeRJx1FgVz8je9G545rleQjcLSnHMf9on8qsZc16E4PilxdWgatFTdh83BPiEOw6W8aY4LudPisNe11xSZw7sbNqJtHEEwzr77M/7iHjzypyoELEWRbAEhhviZ86ubnCCznarqSw7WGaTUBVwukr033+dq4LnqAjk7eckKqyI6+ia8vhpvvm+Iqc76iYTX5TNG6F+viMwpUheusBzHpbz0EEoCarKy6m9jXu4A7Z43y8NS2GcpEySUh4B/TxGqW942vHhHbTvr3uerM0PQEXoCBA80PPaMWOvxppBGSCZnoXPt2BReOk+fOZ1OaHqgaginruDcbJ3mVUfZ/qQp9TycoBan/+qXIQiJea1psF/iLAtOWgIixMgqPCMvYDUhX5Bl+0XaqQACfNsgXydkZKuwHARp0NvpGasYATZKtapYt7lAdGeJh5FtVW6n7N85rlTPwLR+BSf+BGYeX4DEmL3OLv57DnoJKCKgj8WfCLkdji2hNL/bMOvGj61d/iCMsTzmCxinzhJtI8tssOw28QvKnvxonaFVVbXJVNxHBdOO9tC+D1igleMTdVuDooSOzfvBkEpmQ9SMTT+LjD/uCwFhVfHKLs5AnnSgURUP5IpFdpi4IGHo1cisR7cmR56/ZZC4fS34EA2rT5xsylwD0maok7r3DZSepqk4Z0j9p2aQ1kGrZzx9eDZQY00OYHtWQv6eTwoz4m5PgkE9pjhCw0S4xcti/PdkZHs03AaQUBzODYO+0R2H8xyrc3GYYcyOKMHjn+9nkHONZ8xjERZL0ZC3XY6L+qXzY3KPmHjdfkBlWA2AAk+7hTfmr+/orQuszwfIEoGOQfE7jBQyfu3dJ1Vp2jelSaMXMDIMb60k8xSUWUuxgcWjg9mATyTkVBU6wwUe44I8UNHLqBkN6gr9nwZnpxQOJq2DnSXSbmmbtCUuJNRXSf1ZYQjtbjeaSAlU6XNxWKduJCXy46Tzcb4D68502dpa3TfLse6CeIkqkFUluSTIubh4gQXaT7Iplc/L00sfbJTEk15y0zTl473vXW2+3PQyL9AHs2FUkPMvq8Z8hEwX6qf5K3Nv4WWxluoVsUR/bO+uE2vkrZv8JqbaKr/zwGPopAcSCTLw9Qvs6hVICGT0bbYOjnvYoHqEzlIdVras/sU5wBo6tK5KEdcqAMd47kI0loED+E08646bQhMgEvxYhwaDZRUo/u6kvOrN7ZaBGdVlfZ4PrWSOLWavWk+WgEapM2h7Eg/GcVmyi8BuXEs54eDnX5W8Y8pbRLHS4G8FYURtdzbvJcPluIYxq+4b7vvZXBu9YRg2ToKOSpelmXU2cyQy07a751ui1YNw+Pl86nNOapcnbdyRXDqUkHSr2CmzHa7nLgOGFB9wB3alX4EKsep4czNC5WfvqcHY4GHj0odwS7Uv261WJnBF9+kABjgZcJ3jxr2rwaSEWQg3EOENVZ4jmwYOYWqseEVMBl3sRhaypbjyVFgJHakEkXqBst219nviPsxOTMYFYWiXze1Zpy0KFTa2ObyrTBT0BGWFEidQKPxmOSY3ApY9IxiMko+sxxhxPKNU8wyFp3tM8VJ0kEHaUq2GT8dMrfgUkYDfiYimBBBEFEREePDmw8jeTORqkWPJOHURugczbTVJP09wmbkBBT6yCsImVNlvbM7bHTqDhQ6NH1ZTYEMK3XkkvGc/r4oHZtfseVeY+6GM3C61TxqawSFtXhG9BaczK/bRpkZpMsZG6YyBGPVxwsdIkmBKpNf2aebvW/VrEsaNaC7dDStWfQ7UWZdxqfxqRsR8FKxYnSMKKVgdR56Q4L5R44oeviSy70AHdsr7idxB0y//7FEqP4AqFRFz1RtvZ4zO/LDNpypA+TxrnMa/YqF8unjXwIoyTY0q83atsxGWfUNf2BMjOl6xSfLQLse3w2A8Wyp6XQ5kaleJ3WnD+qtbtEl4cmIM7tFNAcKgMh1SI7n19gin2HXR6/6RnOLbr65FDaBxJwLVgXEBeCJeYbZ3CLL4W3k6jCwphrj7QGUrKENYujjqRpRxm/lAAVu9gQt/XO/ZgXloR5fx01rW7FmD4rKBA/gGK6UK8JQUL8SsZ7phUQDSXlaRmOyVoSw16X1bESvazy4oDi3MEOiegz6842yqkYUzeG+7LM4hn+7/pvsQRHy06xBmrtGcY6f9RGrgE01ssn2uRvOr6/lHoCFwVR88exCHKM8XG+hj3Fsxzx93u9NGS3li52k2TV7oKychPJO2hspfmMsIms/Z5MQcu+cmK1qv98rVzQ+inriZ2YyY2lSm5Ee4h2dF3GdroebT1g5isdEB62b1XrqQXKzPcPa1UkjzGZjBPk6ilf9Oczl+B2J1T7o83iWqPlTlpufEWSS7+abBhzxCJ5XWLWWMi/Uxcn72A9iUWyMp0UARZhDVEn0hDInJAXQ6pLLygfGulqnh1FyXUEChnkz5Y+Xd/nfRKOGHpdIC8L2jQoP+AHIClkqv5Lbv7oyCuImdWygBqLASR8c1gjE7XKZOb55dCi5d7cpS0YtIGyRruZgjQDbB5Yzgwlfi94zq3TQS+oofya/RSut2ns4m5XKdGVCLuYO0DAoxqx54WXVLQvtMoyhXWebT3C5UC+EFK7UgbEUThAIgt7gujzBJJZtF2sBkTjh+MzCg8ajCTi83Qpkuh9rwyy6Hvup3SfS65YvY0FczqJKLDI0QYfm3+/fJbP6pznNc342WGXyXeVtoLstL53T/h2QI36t4NT+/XpvyVLtCLf15qSnNUZ3sT9+mzyBbKyhDNRP0Icq1lSrzraSi6cbwxtlM0mWnYb0jIeuIdFXBv1R4zhe5U6f5+v6d7V+StmE7XB0FQ6OQEFsSJYOCs7GzLdAiHdzFoholDnj7AwDh3ResdJX+hSNb1JRMEDQD3Awj0oy3afZ916yZbt5kLRwRoTZH9ft4fvqShwOHDBiwN0+aY1NASYNVcQK4UEmOIADwgmtsvoeLFfk48fIqypW+mzCWU5glR7iMadqclS4nPj/0AJF6Mf6fd2TELevpyKXxuL5oeQDqviWk14v6TbXiqf7/aa1E+7z1d4rA7DCyTb5zFcBpQDDaKpY7IasjkzjtZqgCvK6vuho1JJhKng1E0k8+Y1yG+pBzArD0EA/mN/uJSYXSq+gRzeh15WPbec7pv0dWdxfTqEmwh9lLNaB6kYRxoxjLctlPajeLX2+taoaVM5sg7hntK1/n7t/na8LE3K1/ohbTIo8vhvaV03T+3WIgSAGiOY3943o0vfe8y+SA5LITAEtUNzT0jq9QlSu6p1ouBFaeGkClb9VMWaXh/nJdVglRNYIRdbBDPCcaP6BzUANUQlSdCM99CznkzkYYf13SHS7YNbmam+SflEPBRwg8/TgkFPipc4ZXodG/8zrozSGgSITVsxQTtgyqDkePDxRM0kVHOVY9VBPiqqbw4GGhHGbeXxsF2Uq/5X69AR/C2HL0u3GfC8dVPWEqF/wLSYEPV+ZmvtY/8DeqyY9ZK7cJsWX2NwJUDgMupcNKpVe8wlQnvkbqhQHCyyYsje/vV1E8FKHwz4Wttp+Alq2o8cPDEU8irfoQvuqz8HNhUxads0nnRqt+9w+KFe3UBzRdeRrpOzq6SVJueaDpu2v8NYNMCFyxL0Kj5NyJkbB3isFUO0UqUl54N+7Pgolj5HmoLey0ec6/SHOwmzqedSJrIIj0EbuPHBJuh1xAsmeMymhbzHCu3/hf/NzRDtPVZOJhvAa6qLB1HEy2bxDa0Zvd0G/J9VoWzMK3gPKJfwwCNcaWEkWvcnw4sLgH0q4r89pZZKj+j7IDpX+ZY8ibo7imZB0WUGCfXrydNwtXsZnw97l2jsmNCcGC2mqxzhH6mxXbVpqOaXFQT8DINXPivkxpas9IMSlFLwD6LfTpHPm3TwQ7hZVk2W/RQ6azZ0ZHk2TVaF5hYogmsZKWGLaNof6LJsUcC9C8RWjL24ZDBwfmzbxvaXq1xuKTU8sJktWi+hEwe7UgkwMQiIBMUNN/5SQezlekjwH9M1duMTTNqNL4zkDCTwHNEyIVNSTFgvXNcNuZ+n8BTqa6qpfWMf+X9/j/Zaaxvtn0Z62rf3KGbtMkG4YdaF9v3tDrKS/xbAKDO0Vc9vnLNd+FSht4UR6owe6ntctRXz0vh9jcJnHHwd7RgiZcYysOot8m95rmi7VYiOahcqlNom+iCxDGYnZkY20oLX86zifrSAI33ESr4+arFpDuYTlPS9G/UD2O+Ed1f56+zfB30Ynzlw27FJzf/2nIXG/5+AfIMSGpH1YYv7ORNP9y5tivc/qIkXJgJKow8nawN6XjiU4sfYwHLY/be8/+Hcqq/Yqrn63KT3K8hHI2DcJ6R1TrIYtgrDwdsC54YhXgUUlbmt3WWf8UC8UiQ41sUcrw1RGCSBkICGXIbHFPb8Y2IFwaSmgv9QlE2rW1jUaeoVITnIf/gWte/51+o0DCRHm+OQh1fTox7QzYHGHv4HaMKMdzj9ELBeqoH6P+vo3A84loI5uON0Lwk3wo4nDhe2c+gVHBw494YKNm0ANYiu7ZB7UU2OmEOnyWtYNdW2xOnmnGgdOQEMCnbsZcK/nORRjrr2yHG7/evSPSQonPHt7sxlCtXjQksAoUncdyy7dihg+pNtxyVYKJBe5msSuBpaWycnqLw9r1b/jN+eiDQeKmZchgbLbRHJVp7EC3/FVftacoKBvXXut/hPJVxxknKlvldbEJyKz7sMSN8vYQw85p78JY34wZ2HI6T0VXUrzO158wYV8VjJCF4EsZDeeJtLuhunv9+6tN6KVENCey6sAzgKKuRBuzECgiygoHNrRuN74z688WykFvzrV0XyTaNFite5hqxboEibU5pzJf8JPmEe55H48EUN8fYPyX/iv7YbcUvIHivdzYr0MM8RGeWJfSLf2fqYQmjkW80UBejmx8/Ql97gY12Tmnj9N067ZnximEr8Z2MINlBe/Y2U/Q9LoyKhIiuHSyOi0ud0w0/Cbx7UJ8Ljz0wfiFcQQDy9D+LQwfYOaCruBruGzcxEJXER+lxj8zzHqeLcYXn4/w9r2Lj2uUWwgAWl+ElJRSs61cI3wdZohq2DiXDzGlItx0Zv7CsRv+kPzxqRcS8lIUPnL3K+giUe2hegeeeDqyXApWjgs6e/vR4vQt2g1YHACnIjtktkhRL3xaOaYwWwFtg5tcvbc4Mj4IVkPnSfzg3mPJG8H9tRzUsCh59nvK0HgEcotuqYDRRnuJJr1I7xGbkSRHjOLUrfjEKFGiGg+pj+Y++gCmRlWbNLG2h2gHtjJBR1Qzy+CESy2sBig2lXNR7llW5A7ilewA9bwjsLWqmGrYQCzeeI06LC4Ak99yjb945liaYDcMVDgJ++Xo9Wyr1yLpEs3DN28qMaSxqSkMv1sJKw5bpiE8taHSZWujiSjAaZRC03uGedfGwORf2X0otUEXz/bX/zgKLJmwK6WNX03LXIhyogY5rXQ5EHIp/8ICnRFZelLLFbPk6oVGIJtvfalm9m+bqk1KYClaf931lX8s4OiN3p0zjpaGoE2BK81EeLLo+W1gKbNmfUQFy1fNm9LfSBDI63n/3oQ3MVsjTE/JREsn5e7HjtsgdmHA9Y344yNqbHZMsp2k+LzqeQCnhygLZyaUC+uOYtu++EExOec5tmBpdRVYQ0RWb2FUzQHouepo1IrvWqFHDBt/DDZ7Xk7NsPCsbSM97m2skPMcVGuwgpvGbf8qOr0whlYXxExCLmFktC2dny+bspij5Igw9JSJaITVWUvGMLzPjL0cQS1BCDpF4qaNOlvcuL40h4pXALqd8cnP2TQUk/Km/uBYzI5EdqdFo4tTMsZ/nU/uYmIPeqoK6dzm2ET2g1eAF8+gTK3awExbPoWe8DmME63OK9THoyfQQmR4lFawlbo1C8DibiM1qtU9smvO2m/ClE0VzhjyX0X+ED59Go23E9sbmuvNqwqHLBhcUA+Ij5+lYb3X1oi5gqG3TBSL57MyuF8oe84BgSIap5Igt1QI3XGY8YfDfHWVd+ibRMvr4dVtkK85UsUfxXYAo+Okz+Pj+nH4I9l1ZGJm/ftId86/YAo0u6vDSWCwYPPwN4V7qDJuYDpLBaX2hkfczYiPMqbAS9EiOrjKunvboKjUNoi1+4VkIcC+9uuHgcx9v9v3efKjaO6KmFd6oCsomS9essPQXCP4vDqR0BmxcOoDHJEmLc0rv97vQlZeyNS6oPZYamXb5uvgoUWyxyOIeTSIetuBcBL+T1Cj4Yl0CBcZgbgbzubw1aq79kuT/yNPJ800t/BAu7rLPrm/p+uOOeChLYsN73gzX9rfVgDA0jyuesA63YuoxPbrClyazstFuDEsSgJrp3i64x3mQavPxBJW9v5F72YH9kduooBIYe+32esBcdQuiCoCgBI4iLWy1wwOct6wIklWiNVk5g6R20s/IeFL13+XfiIIUzDAidtlvab9vlVYsNiAd8ydrRwydtj+D0yopv382tHseAP2u9lV4vICfiu5gP4g5YHzCiqykVqcB+EGqN+qbz8//Z1LRSXHC+lW1/gsRJGH7zwhDrOSwCpjaAsJPkXoimnDw3GvacrE5Xtf+PmuWjTFM5KjC9j6qpkS7l0CiPNyGiegSgGaBOjfB6U+VwOgrdo16Co8+XyGUuFadF3GRk81Nq3IqlfCk5TCO1BMjjY18PUyT7mVRjRcJV3b9IB0r3UNhJ4tHRZlM0Rci/G4mOISVXhAXRKPHPZHcLPV2dMuTZQ+0l6MnfOvrZX1Hsagj6HoPl+MBLIfNA78LTOASLuZaOaATaWZq72HQuXaLYmYby0pr51yVA+qkdWFjcm9cTDwCpTG6mB5laWGsg77pSvqtjnrIG570pB16tukWjZfp88sWhxBOQBWoX3JPuRLFpgnucMBbrRgPi4W+w7gVpSP2yRHZWw1H4vP6ZYS5+fz/NO3hSJm0LAzNbT93j8+ixF25L5X3MHpcHHZbh24PIKb/qanHgSWcISbvRHEnzJ8mwPCnZgD/thBirWhjVV/IrKxyoi6HaZOocfALw7YjGXec+Jv1z9NWo+kT8zw3mkyp/M7g33DDdI3hU4L/JiboWA10jJ1t7oz6YXZjqmpCCDzEKKaHzHjWlvMVpA1tFhtEbVitcJeG33oAbsEzO80I2q3h+VgF3EWCEF3NAXOX/dhFBs+r4Y6yUCWLA0CKhQ3XezcszglSp8vkchuNdcyIQ5uuTGYL4zkpDaN43hzaW/JUAQF8fadvIxS7HQcuhQWdHTsH2oGDpKwmX+4Kw5gnXgAL1hOWGjd1yuHEOnEr4OJRAgEdmsgtvY2UGRugnMtiALdlP4T8R/fYbA+AdivEjbIni11sSV4OMIFH6BrwN9pLLYIHUrTlFNBVs9zZuOPhjb1Q9/RqKFoT5kUgJpqytICUMYbLWf4BCuLXFsnw1RnAc7pVdQ/QJZm30HPk6JvZ8Hs78g6GhK08anV26/Y19wmiwhL0CTlKXJkRWgb084I1n39rZZz9Fg+oNDidhMVMsKGwLxx//2HKTjWNrWOoBPR+aQm+yHdOjE1LLwJRfcNCx83DPYOrlEFeNXegCojzyqN0JH6nR37exKii8t+jVUDpkTn3Jt0qRb981bRDqIBu70LdWCg/okqUVqsenMK8b9wNqa4OLjiAWcVsxe5YXfWjLZHAM7DBbkKnESm6ryxDI6vqpKwdc2KMCX4meyMHut/YK3wz+qpUm6xQDQZBD0IxPp+xpE6pUcENAVzS/62P3ZOsHkwumJzjHYUWDwJlpTcRklRWysHDqC555bHf6YQmKfN63BxWS874oeiPVIa/4esbGccGtmqLIcz4JlxjZNpP6w0hjQPD13eLQiy2b58qdkmhLbSexsMhrphSzJpEilFCXXe2BDHDtiYZIqlbJJ60eqlXxUq3f19X0TZpdHF5+50gYBSVbASRrF/AuvnhhQdE/tKzlS0+riwktzeUyCq/MqfWIr9VhQ4P6nOVmGhWX8/3SKtOwp1xnfbY7fVDYRDFcE+eQXi0fsDp7m/iE3FMvRwKSoXURepsiutb6MxWI3YEBn6+SnYXTkG7KgMoMQ2asaAfnp4FxZYR7hOCqBcna1ZkMLK15PGcyZ/E0+K8T4yiNpx6giYuqeHcPb8PSooGhvVjh7h1Vt8A/WS1aMs7R2RVrg79x+ssB16oqZW1rEknjM5TOUfBm/f5t0kGpYpwuy5/LxlmNcwCcceX12lq/0iajCqUyAIuc0qGrRrZmOa6dYzxawc+HAsoXtHPuCs49ON8Cz7ZF55EwvhY5P4uB/HWXvskYY05RotsQbBdoa42tYvDFe83H0Pj5+Nxr5sfPGQG3UjiAMFegVgVKMZbhcj9w8xyKXp3ii3gyyXqlJNEnFlbiGoq0368Xx3V2nruKiAclVb2ZHoxARzfVByhv/24g8neH1kuqz0vvdCmYLBEbK/VU0/77MPvQAePeY2z4XR55CnqWHzf3GLGrDsYG16SuPCa73QmrVOoXkuGUsUqN5NZnQYe/NetLiV6QvOSm6MxPWP2G55g9SJ+KTO7RSykm0qRmhJHytXQ9mPMm2OBgkX21nTSkcc4wQQjEWpZf+KxdLR6OFtKoY4zzgZ5H4+CDG99VkPPXmNRwu48olAQJpfZ/S2RLGczPvtvQupx343jqAYbYHAlWbVO8Y7JGPBvq1nL4DPLqfxbH09n7Lyp+m1fV0rbyEUXh26ZnPaPR4uazMsy11rS8QYXQM0h4cfTmys7sQ09bVw/zBnT1FCcQ64Y8l9AuKnqIZ6BhdZ0GltGIrmBiFgF4344qoBTqG++VJxt2DVMfscQjr8VjCPQdpM4wvNjNS6IB1kvXZ1/YlGZL5mXq0+x7JfpoDjA3dBPnzPiMEbQvFHsdhjv9cl4NonpJrAUlM10BTp6stq2lxrK/84t193H/nEUw7LU7IZ4bfARQVjOie1nY02bDK3+H/OsT1F6jc8XQZJtFFRed0U2w7KOZWMgy8iDElCSKzVZWLGyzVatccND3HD5j1hrhaZ1J9lhPo0moGH2HlPcjR6AfiyuwZLhkIrY5OS/i0bdCjeQIbTw31vgQazZ8g0YNzpSe4P90yqNCwY1QqhVAlqToLzxKoNMzfSQQzyZsFHzABItDKoEqpPIKCVjke5evU5HSfg9qHLntSnbQnagUpQh0vXTJsTdFxwt7D/vmNOWwieS0tZs/+uVbOJahIjVwVPH7HIA4WEs8+d6UgGC83u3ACIf+EH3ym3RXryepkdWY32TiF5To0e0/2kzr1OPLhDtxAPIyWeUJt2FEK+q/d/5JDe63LuUrtqOWf91ScaHLEUcANrqT9CjK08stntJ4pmj0zAZ6FsL95VDNDLKTo+mY0zNSoIjjop6pxHBhIoOg2cP+ScwTxBthJLLSI8B3x2G3bGtV2XgA90CHoKXELP9TXYMIf6zGXfh8pvsmL3j9rVJaF98MpxuNRxdnCT5JGl/5n3Oneq2zpOtS82sGG9XFSFPwxbr9KABAbVd7SS3Vd0DtfS2LzZGxtzdx5QfRzWPsTkDojarjc4nW4IH2bHn101LnhbJNDIAD30nVwi0KISomSCrQ+Rasi4cAYBYOgcXnF0SDQjnM+JpCoEctGnmzW7xsMU179S38DAcAdZ+AaVP0JyR19Xuy+FTq7vIW9ONonsJF9VPUxQmczvgv3Gr4mKvS5n/G9z+EH4aDVTTmToqKKSAJ32VbfY4w1iiyZVGasP4nvgYhIAQ7WJirAmRF5xg9j7kosrz5TM3ObTfMXbirlZAydvJ+965Ya4ERMGv+U/jmI127Jb8bJncTpm03hVmIFoD/IZjzHWIOlwTAjSzbTLwuUHa33YSdJLfq+LKDv9XcbOJsMxwu1tC0SMy3Zdvkml53GEG8WYp4/GRhnE9MchZCgtb8hn2PsBFh6hAORbD5RLpTJ1RhxPV+AGJd2Jzo5DD8Iul1Cd+gLWwkRi+xvhM9OnjnbjTixMNVlvEQvox8KToPdintxTQaYYVxptW/3bEcqUaXxj4NkeIh8wSLMSsha+R+HoiyL0DDs05Z2FaU28NPLDNeDF32+Uh6Y7WnZU+l525islQJuWMASewk0uJoGf8Z909u78EvnE0z61xylHgA/y3pmsCJqV64YUIh7K+hrlvPk+9DCh3X6/TJVcmog467ypd96sVpQmXq/DkRKhNBBzFAq7EfFiMQh99mMOI5ehePfxVgWewhl1+gH53bc853LKGYAMIhrrV5RvF1vA5VyBMMJmKzsiXLWXLAT9xsO4I2oKXf5QEu/V7RUyukrnvx7UxtuSS7+TbA7XgBk5ISImiYoPG1yxK0Tr6i8Y6lm1DRHpCl3cqugYFNWTH+AIAqzrJ9D57IwBHWsFGtAe9KvByTYvB1lHMbSQSY2A1h9wU1UgeUd7B/9sAhuWuxyz7Jka5aWqc3lmbyP1eCE8SQ0a+vDp9wIE+rpanoaukc+Uefg1eZWC8H7yUyDf1XPZN5p9vxYCIvSff0lNTxNWZ4rSUdxClR7hDzdvoEhdBZFcp4al/lQ0fCRmiJB0guw5rsjJdwIKDVCIpnXsfWDZkhxumOi5mgD51+8ycxaImE+o9pgJSHuXRRv78VVhVpD31CcIOPR3KrN91XZ3VwK7d9Ra/daaXnTZ3TlJD0dobkqiOSqzfleU86N1SBH7Ivz+L2i59uobyPAp+D95fm8Wa6iNEoy4tQhW4pWgwmJ5K45yncefSgMnx1sKcBv3r89zAIi32TFzHvFeo/ETDJY1pkYL4PU8pWHeLI1fsevtrz6dx88f0y6UazVXTmmBZZBaBBLeQJO6i934yMTHvIZD6MTZaCGBDoiKqT6TTVo8I2SyJ9kZWFv39h0jG5eLayHKFcp+lH7orvEwVw/amM8gL4DUZlCeiOG3yZJWS8RP3YE2uI38CN4cFTqIcKk6SGsvFnSCCcfdHnaYj1Wzx7qPd+mD1g8dclPLFXlm3tiAxpGcBmanKvq7HGZ1SyRPAbZH5tkD2B1Uz7IqAeCfJpMduoIn3n9wSlM+dG4VEcuJ/O+0BEvLZoEWNcVC+N066lUj6CYyY3yO1XJz5L3mDDMYAinA+omCAgVT8syIetNl0HLebQHNEtZAgdlgVyXQtlELFn7m1/9PcAoCRpzNLkNjdsih108dImbWo5hMnKV/QvGcFxsBuI6DTUSpgivgEc/Gl3HskPTodxkL39C+7CiX6GqKWA1+OXLjErD98Ekv3qRQFOLhWX49TP0wxElG1qRRi+SLNjp46s8Ca6kAlwhulZ0a1wiB0PVXgxOiq3TlKVjIvOzOkrtOMyUEOLdpAJN7UIRQvOA8rlakBvLXnklVZfICT4Bv4FFM43613K8GUFdYSlgEGjAPzK5WkAY/tb75Q0EHCts4ixkCmMf1OLDooxS/Ihz2CMZcSEFBlrb7GdDvLADbUVRZrzl8UQoNRAiYxfR+7lo2tto0Dp7dwnazgjciUmHdpypU4/RiMqXKxnWAjIxRGcg4YYytNUqwcCXb1onrngF9hZbBELD8WrwCTScaVREKi4qMGDhbjU33f1jzIA6hqsaEAj3cwzGCd1jOEnh7XbRPOQeYiVKdWtFFqilq/EOzupS10LfDvEicK3/naYFOLY5NnoeLQK7iFnhgdh1z+yL0umBjxGBQsxhTLNI7D/pnuHs1rmeJRzWTvoXmP8mfQl2U0MI+IGUAWhwhmy1L1nosgBgPDGDrOBwbnHiIv5VhTB1MCVHwzVAM3XQA5hXlIPTPPto2hCeNGXdxEW42z9dQ0oIuSLEshuusbUpqpJTkEqBPWpq+p2I4uaFBXU1mZfo1wS4WG69GHtJr6EDHzVhRpdKumzqC8ROhh/PVCp8xOzesUE4lilMHqY/4PFvfeo1ycdqRkW1aMZ07MOHz+N5/zSQSz2FtkCVko9BNq9h4KO1fT0rkhoIc+Zr2lrZbVzLQXV4zWHqkWGYHdv/N7Uw3exiV39iGWlENMTG2MVrPb2VPjrw3GWZhM3j4pSorUgFlPldjhEnXudqy7eCX/AV1i56C6KW0hQKJ1x5YVqnyAzUlQM/KmHFCJkQKh3YNhYHxJT1JAcRQ2pzLekqJjnxb7yerGRk7EWr0C7X4ggKPLkbWRj4QdbapjRj2HA9eKZgJnno4Sv06gxdYrZH6zpDtXOqTesdAxI7/itvUrydkunoum1LRi5IwUIAf3I7VTURHLi2o5fvTwpK7cquJ708d4TC9j3um1L1VQM+GB10jH7COzNNTIxx9ko/ASFXBdnT0gdsd+9iGGWvh1FocRbtuqmppGAssI6zW0EWgYk9whjl9pEqGUO0hZKIpzaOjxvgvb9xvrJjYsAAxrZrjkgoQTPGVcHoiPmxoFAsBLCkz0IV2wSa7kuo1usuGtjrV2dzawBk2gXeytdlEkI5D0zmwA6v0Njto14rFaC5NphKLlTHGWTfeh3yzdo6weV6zRcANEBmITQo1T01gETyKaobZWGqXKQcEY/x+BWMxaxb2B6zjbrXig2dGkpkfCjbqUplqlMYD84vY0WbTCqzqGwQPmzfDkEvt9pGcEpcretLtVL5NbKF76CxzxVr8gzCmV6Uuy22cvcjSFazzDQIJW2tVz7sO8MTn3Ex0EYpbBXmxbTd/PeRfNr3BXdvvw87ylwJv98QQbBaePQnXlovwi0QrX6GCrzBlycFEhpYDT3tH5Q7iNw+u35oIdxDhEJKggVg0trc8SNJRpooVUhqarJXLt3EmFhxPG6tZp8tBmQY2Y2pbFeIz0wU8b9XUYisTWifomWvKQJIFRgCB9jfR6wm6O9FEdYbAATxAKY7MAZIwe+0VV9Dwuw87kuPHfk5ZmT6QTk+dmRUOyOpO8lT3aFAqwU4K9Upg/TGHemqv7WV233AswcFXV/FikS4WqoMSwYrYuDJg9JF2DL3rkfo9Zp5vS/qmw0u9iznm34OnTbllPPCJS3U7stXVytUwd94g0+GDZwRizp2zYZUXVwkuHAWX0isYQRA/sRKn6k2Qb27jX+Vma1n5RnTYLu5TcO2muouDWZUMbUxWT19vpG8e+hT86MUBXIXKH/PbLYzwanrAlADy7ZlOoae6n5DEoLhQTWyAi9ay16JsHBThltL+5mitsuqCz4IXqXPszY3lPSrt8yOdBP9yAH/KNZsjo+Mt0otrwXJUFEpucxAaLaUmDnKCNNskUsx2dxrLpjkws+Ca57eC+vRHWSQ4q6gCVqeXea/hLt5cjYn+hh5GZK1VRId9i1x3E9YrCf/ElMJFrIGOTUNSDHqOCxB6kAEESXcu/N4/8U2Uubm+D7pF5MD8XD329z+bmkJAKW6yyedEozVhkNL2JeSMzYOdYueMFVgQ6mv/fcGzTPLYPYabBT5Nh0SXOvgdYKUIEZ6GXr/GJ4KdDNUahDq6MdJyjNM5oXarUwPswNFUiliE83ejMLUfKUy9YRcJI9JrpORZdSZiNDXYFxWLeQ3fxolyrLz9qeI9wZeFgM37PSwgnxHnMgty1vMRPB8thjDGzzOsnht0vPsvHmEmtzuFfmR7Bz+WZIITM4mgLhPQY1g419Q38J9raT9yx6qRa4JtxnsyG7sC4NzHDopgZKFJyRxynIwXSOogdrKfuVUmKZzwBwLjOMNXwJLYVT8rSEdcpPnHMSklxstDoU931TxDcMy4aNfe3Ko7YtpVKsYyNQmPvvlgAZE8OYrF6yhsFsPesLqYI6hbHCNuFI6wPnG2I6FleYKXv/93QJ9TG1qMqb6DJEmiye0/M0iaeFjML+SgS0ZEpukObWzaikl+w9lBjoLq8YI4v/uhzqdIQfYcYEDH3dXlnsD1tkbcnsHY13fyegJT6Hs3ZQtscd40x4ourdX4FfoVEFVAVBs3Ph8QUmv8JXmZP803cvJppPtL3CzlDOo/iQCCW2CixDrzcUH3BYKlfN87uAVDk1z51tJCChC1SIPmmdN71LYohJpVwe1miItjQr8pEZ3JoChWYEmCsnuLjpqVE6ip8jo0F4zdd/giXPOaiEl7KoEIxo5AZU3CxnU245/zPmB1P/9y16nquX/bx1vNML7ucBqTQRzBXvJNWWiywz/YJPUx98MQeTbaQGqBz6vB206DmebHWkplOS17eeu3MPuTsUNDI4qAlpp9ax6G5c1IFfpcYO6ngtWjkLy4uSTeaZn3WyEEVt95LbLSNfiduO+3iFBalFXKSfP5WTZ+NYkzeRb3X/EObJ8Mfc/ukGq5MLwTHa646cx1EU8OfOD/WS9fgMdge1Wi7vokFS+Xse57lN5V8QpjyKuUFJa+cMzXfBdo7IhHE4WSxfHPGXhyssenwG0KOU9DwWSIN8eGppZ2m+SggLXclScWJJFi/2PVjLPuWDE391einok45IlwkL09L8wZdxrE1eOXPMVHfFtPIVMqxI5rXWn/DFpBspZ5khUxRvL0LRrrIYRYh8QwNMHnv6sDV8R3RcGeTBX0NUqE/9cRzC1noSyFDPqjEp4FzNyXyluazmDON6H6iFMmSow9MhS8a7pTFR48h3qkxY6lbqPtiIBhlqEOlgU1cokpEG05NavR7nwn2L2Tal381C5za1dMjlwn8atKrUOxCAUSLD+jSbaQtbVxbxLVOr55SKukODy3jSBfdM9zjhgD3buknQM8VMlw5XcnTxmwveOcbAFB8aemSLkiPJje/JatZCHlLTtR4+v/DILASpffGyOWoQN5LRsmCUQo2mA3sQfLTSXR670I87RKjhwujrf/0YUeOlQJQEVct98qFB984ag9j/rL6nELoDF5TArJbE1idsHIk/jPEZXcFKDWxJPhn7RWk8ngS9JfNFR2AaoHUlAKMI9vNBgLDCHdx9JHZhgZkCerUtLfGQ0gPwTpfr0CaxB6y51QIYj1aZ1G1eJgMtzYzjQZgfn9i+ZP+pu6Lg85042CUYsJATFCfsOTDvKC3a/3e1ntvtfkhkZ4nuxSyKtsCby0mbymN2B+cLC5ArJGNSXJVnB+Zcdztgqtrq44DA/jhjecsYON0QnpkylPJcoytFRHHuELhB4HH3MqOf1lcvJk0SD/HbdJHBnMV3iQDOddRgrOVXKDzleNlsLceeqHHOKYX/295UMbhn8WckozrtYdJdnE8UWFwLDOKJMnJ9IEDco29EBizc7rAYQ29EX9LTPq0rEQkhLDVhVmxX7gW05fiGBn3Syvjgt7dMdMoHwY7QJw/9Q8nnWmSXCUselNm2lgjgl5UIRQBIv4cNvxMiYsrFxf8dGKsT3Dssz+ZjnDyMPxuZjgefPMzDhMUkLfa+Od+ZUpzTKZbjF9Eciq3ZA2x0QnoxKCMAbCNxNDvGa59SXAAH0kwFVJu3gbwuLnrJZa29s5rvjBCMiMDOmwCpOJ4MH/iXvGkeY0sg+8R5qs34r/vnispYOr0+bmFqqujR/xUXuJPSo8gD0qWHawxhaO8cDuBAblOyT4rjbRcCJ7XHRAI1ROw2uYQf3I1XXmaeVvhVgoMiM5CCzndotADOyc/sQ48aUrK/s2hsLBZYEZP8ADhkWPu6lmmbHeWfwMHx9A+4nMfwoyeU1tpGcvhtNMfu17tB33p50FtJXy/aphjCsOHxB7SEiKFaThPhvURDfo848uuOdy3r+lLZ51FV1HIrFC9I/opnDn4+PXfBUrfWugMPNDvH69hjCheGJq6C5XxcfYydlzrlCejg+7lP1ypOq0O6yCgi200m9aFOdH2naS9HSCf3itbemnWmqNnEJ4J+45s058AGL0f9s8YqEW4NZKinAPqNQK26+434BSsn4mAj7GdZh5kdoZ83ODRDf8APYjbq5CWPa8tOELCgjsglDy+gFRDd8JTTepojFJugdVMIciOxUTSIhv1b2C6lDRssUAFjYTfFjfJ+EDhyy1ped672tXlX1k05UWl1O5ejiJZtU5VFIcv6qY5CDu240WIiAINR8TzudntFbB5WM0EoqT23qjTts0eHm2W1gBQkw+wdpQIYwDiFNgBcpGjwr58uKXpLXdvcd/pO57qIhwTqv7T/ma58oFHwbQul4MiqHqWYP55+y0izcqEY03W79nIbU7Q11TLRb1a2nlgTXfxWEWDKwTAirmg3Jerhh+doY44q3CZmW9YonMZ5JLFGhc3Bd4NXkCF6j//Y+f/VqGn8x1gAhW8dAlQ25OJf/JPAWynk6W4Sm8trfIkH+n75peyo1nrROP6E0g4bbnTGqDqrKNKszL6bjSLP/GffturO1NZTDEa6cmx/sDU0sxPLDkuRzxz4NUVOs3Ph4QIWmcKfMvtdbt93OKGihBbeg3QbhLE815AeB5UyfGNPTQG8BP8AYkNS876GZ34eF5jnCYHKvWjmXef1IAN65lKyFAQp6WgrmeaRD6OmneIq/6xqH7GlIjPnc3oy1jigZxXgbHUHMixc6TcwNlTfG5ahdr8/hjdLfR94wMEPZZ1UHGDHqe4XWcoSNIXn7JUuPJHtknD/DPVgz2BqvCp/K6lLIbZ0v+Yg4aw5XUc7wRPtl4ZbIXBWFvCRZsvCw7asUjjH4shZcQ+LnfwvHX7Rz35s99V/hrPFuGVA4vLU5mJw7moFSyTGAFoMrKbKt1t1yKY5Y4MeaKZ3pJO5Bz7RDYY6oYb6lvI3+0iZy8ram4x4EHGwqBQOAxs+Qr1zEbCVDcIsnsdoatSsvhi0175m6vlR8+kpPSPyCgJhsKMlOn6KLRotmdqSZYmJMRXPYjC0RZ4OT0QPin8UsM/zNeHko9GqZA8fXJ4MHvYz1vJR1ci6fyTexMYH38nT4Nm7eZu+rC7lAmGk8a6qkNBSCjN8OSJBLJlN9XdKs0tmb11Ngl6IDQR/jI2dS7s5Dy70QSIJFvFdlQkrzrwaDz/91iklEpSKPWLONto2/ZOWNJVX0REsoK23vCCYUDmqE6MtR/zIAaOVD8sUDlQtXDpiliJe1zhGsAh5nQ0/+6YiKiSDG32ZpCuP6y14Sl/Oo8JHCy/IQPUTcdtiY2QaUOATN5emvM92lQotB+pFtLlCS48ZOQ0+J+oyFgBtR9/DJAnsmunGtRsnZja4T2KOKcVDjMiKDN4nCDW3e4TXepf1O4g8wdCBEaBZya/g9e5fe2kfrsjodksAGWvIhMUj7Q2gsF7D76gwOm9AczK+/FAgujt7FxS9SbEB12BiiCOOiYJeF2C1X5jxuolURVwqfq/GV9Il7e03J67FsxWvN0aRyp5FMeyqWMTovPzqEs494/y5GxFbsuUVgTZJQUYfliDTjk5Mn2m7HZ+wjVntfLgpH7AmjdvHqaTa1PyRMYpEEyDjhrMBW0C5zhgkFElnXJwSg0DUJkr6gZUEkW6r9FKkng4JZujCFOjaE5qGC4ZcOu+qesVw+LqH08IWmmdeydXdcSCK7wdXkXygV58RD6amu6LdwDPBf3QI7iMTMn9oB5EvbZAN3YIiwmqUWw83r+b3I+qElkn55niUujTmD3W9J3qjz55l57EnbH/yWc6v569byoKWhQz13JGa2tG+Lnj5Z+eXmDvXpfRz1hk/pShr0LAGnuv6zgjgB0CKsnUgBlrcjkw0sHkddq6cdWM7FJ3gEMG1zyNmfe3xv/DmoLAktdMeLR09PPZY1TqZZ0/IBWhEt0/jdCTpSxhzgr5k4EVa6kifbv7/D7ifXmoBDq2+lYT7UtrZJ1FthyB4eUC8XpZZfQ5f+nIwmsGszB1zckYPSC9NgvjT6hiokwQiy1aThwiGGd7iO/DlBQgVeZw6qsmqcP/Fdo5KW6Qiv4LkMsCMF/mp+TRAsqnA2u4sQys0EVbTGxOkqf33krRXy7PceJnj0OaIy2LAurmZSBbJHUiBzMvm1ZIsEbAyTEtqHjFkRZMsKsKasXiP/8VyfZwXi48ZpbwAhH3i0KKCRk0s6It5KSo1VMRTIO/01hjo/lwmqbgIncyV13u9w6csSHiHmvcXox0dLt4PrqovCUtgBAu6VCsY3Zk3ZN07xYpEOpZfwUBQo3ebPuzN0tYdWsX3mFqC63DL4IWk4EKB9CqFJh3mAkk4j6jpGwp954xtdpxNN3XNK/551i2vSzREi057Xo1y/EP0+j0qt9MvZU/XiZkGTGq0Rw+h9qvdhyGie9qvonb7Em7czExU86W+JHevjRYK2+i7isTFoBdL0/PbsfxUrgdKOeG4vrGAYciFRbXGJPhStBuSsFJDTyBCmuPwWyPTuTDJW4yGCQYPqzko7p10dU3Su2098AmLJNUqi/87+zMFm1z6kGBfWCCj+C+4WUc8rQZPR060QpdLJoNZAMf7gQtXYSr0jnjMa1dQkFZ3UkhADkZb57iwSiu6e/YEA36J5HqUqz6HdcPS7PPxCJtLhCF2rD0jR+1jKmnmLOZtO5c333EFDlHcu+snqMb0ct5xq2Ypt/Kby9V76m8xAgGEvXRbXNNN/EqiYK2a+FEkAMqLC1uTDAu3hYsZbnIuiJ8+LnAeh+aptow2PzwFCapfedW/he3lFTexVgdc9bntEuhkDBrgXi11Pkp7Ok95KFjJCYgHyg1MRtpNdkrVDkHikmXnebwxmZtccRzqtQxVPtphXUnOwZ2Y5/PM4LXJXU2dzAtGhHjbuaaC9I6QZrgu2IxN6ZU/cRBghqxDQAfaAzdLcjX6W3CGb2Jsy7ORG5sMf+0mKGWL4/GfLLNUK6TVlclQ8avBTUoVAIY6iwewwkvLGo6ZnSZa2LSns/BsSgn8zhwLPY+sHYrRGGCRoJegGUiEQNRCcMVxk4Y/DxWeEmjALWUS1Nkr5GFvhP0T7Hf9Frw4zCbeKaG9eZBt2oWX0vWMXV9oy80yFTsg6C/5GKx2ozO6pJB/6N+ZyDf8DlkHJ6FWOkT7TPUyIjCLgtlM6BSgyflzARM/QFH5qPP2r2mA/wuC2L4tDucSqu9EKuPba2NtNjqx7WFNCxReh/Qnv50lmsURUzZPtA/mH6csPxh6MQlI9mxpzO7i+Ne8UJx3SrdAA5MSGV4TnUT5xKho7vlBKsIELRJLpkqSLvtNiVK97nEQdR01FoF3C9RBU30JNLhUfi5ich4RnscZG5+exVGACVuHORmVl2BqfdDj48l47x9rnW1vXCu1sHR48mpqXiiFDasFM/8hr47raTAJuKI31YPdta0cw0yhFcprRouVC45Um47btLkpIUFPXm59XZSjO+ceMmA/43a/cb+yHM8Ybkprg4HPImGzSnwphRKZcqcb5OVlexGK6I50claeRJbe47B+IGM70ZBENYRATuFr3yWufN3NndrJyo97935HQ6KtfoLpz539n9kb3WniVS+S2hIRVji/9aG/D8KlpuzFWqhn7eNLtGul4Z933Tso7bpZaT7ADAExlqjwrBkUsJDONfcTtBhXl3nEC8QEmHbobZjQYH/YGiMPX1qJXukTqXpZW2SWoFxmVjmer3qKxYg3sRApjfSh27r1U6K+8rMWjE7JiSJNLwknUB+s+9USFu0K26tCQ9WQYJr+6Nty3q2giZTXKG1SM4FJAMeacOtXNQ3x4+FfOrTOIBaCx1TSiOI24Ir9o4w0oT51/ub0gcnZHvzm65kw0ZOdByaZQqg/bpp0XbuAQ+tJ+4YwsEIZn+ydm9Gj0eimjmnuLWx5QOSZ835ChHPXRzKqSL7emkrtTHeQL+LM4EP+inoUGFWVAWX66MrfrMcJnGztm8TW94O++sgaBkkY4C9UfldOu8gMrcawM3FCqI+CoLOH4bcrO/K4UqlCvudQ5N5+Rz/nzkmlteD8Y7t9ILBGmYRBLohPvvdvkTFAe+o5rFJnzK64ghJYh7QtLXPayrIX3nXtzpn/jw5eQVoTlsvRhCnCbKlA2DVTIc5wpPmsNKbTOffL3GZna+FgN50/4rwZRP7pAzgn0NAIGuLnRt65h3Zfcfx4yRa+WyyINY7iiBBKfJZS3U3B8niI2+kka+STDkfok5fGnmvWPvipy7utQ1yA5qMnG2Q2rGzboYePwUAR6lVscX0yGvDrrnD2CQPYKsLok/zB6nI+MTeSKQjQuJgcsFPFQ3RKAOZGU0icr8A9RMJpNl/mJDBLoIi157yb3/PejFpVkDPD/a7X0JYbe/vL5OEU+HpqwFM5aJ2WW5GC0QXoImpxUkcSMDkKdzlS+ezcHP2seESk4ChzP/AcQgK7a1d3Awn2Dd6Uta8Mu/lxTbBc+P87Qf3uvZZGjwKMSjeHFNv0n0tM7o1miw8wNPDFQvqUe0URLa3AHtvwzCFRS/WETy8E3NFnDNpOiy5V+zKrVzjd1xis8yVsHPouEjvR1yXcn4DdVYh6jCaa43nLYtCYZ+h3Q689RjjKGsdzfzdA3B/sJ0VufCt/X2JaKEcqkE3Z31iSWzLACn5RQAyGcCaX9K1BR/5uY5ypHzMrNcoh6IA7agcH8sjzpyYx2AeefNpX8kpQ4eVhBOCQ7ASx70jS4gOZnxeqxq2cTI5BCDuJhi6D3OVLlvQ5NgC80ZPbQS95qpI7QYmkIspPjeVzoP95skrPf/DZVWFWvqaFNu81aBi4qXZtOPXXHlNALH04V3liw5go8Y6SZp85Rwo83Qy2hv4eO89Uz9TkCE9+Ft3kcqjRan2yID94D2PXziCm70QWGg+zxHc3ezAOIcycACGLz5gslEG/QjaYjUkRGeCtq8Zk893esShffeXKElW2jHFDvv9UK8kAGeb2FpPqngOMuzh8pMq+9kdtTUino6IAi5JCltjNI+X8f3ZxW4q7L3NCb8R6k7fG2t4yKaFPU7lX25XNvnLc+Eonfqq6y98hT+OP1+Cn89/+aNGPemDps2oLrjGt3VXGUpddfKvWzfZ67FOj1uiyhB3iFtpxeL5k8UhQi1onS2ufWvYUKH9zoGIDkTaHMey8J/jGsHRvyDyhsG2MYbdy0J4abbN0jfQaYhkqvo/GTTDpMwo9hOWkYKQskWPhKGwErOTJjFs4l5EN35mAL60kmu72XyTY17b8c/PerPuRPn+8/fVtZ7CRJhkhZbgnAsFVmRoqKQ2dkL84za/pME250py+9tE4CHFJ0jr9OrSYwpYIeEc4YGAXEbRAiVRuo+ordhHSnqgVOkL2vnPp/BYiJJwuboko654rmhSBvd6HPwQ2+7etc18PMDG3BSBLDAbZhoaHPtwrRTtdXALFjnGGLsQYNamoL29GdsmRRgo+5K66QNttmdObEuqM/3Na8KsbzH8vuLUR14KACnd0nNGSoFe6+YI8Mwxk0MNcY253SxqDC5ri9JWi5lO8p710sNryvmIO6GWLaljLiR4UpnBkmpwfjp7rfAo/1+zt19uF5JhZJgag8loR/Ie+NqED/scA9uzpqpMHXEE/BFvmdRYXNw+kYVLR6Q6vG1j/BYYrEhTAgsc+G8ZA1W6AyF0SSmby6FrHIZAzJ2C7dCMBNKPjJgS90w3GUBTAdwrED87x5TEa9jU+Q2rQCDLNH0+ZdarKUIYVzomYGO7OugYn9t6Odmme+QhzLrTbduLxmyEHUDQS/mhGdRZYM8HGy6Pph/oHB8CfZWzYnpWhsJjCdzKQz+UugHs3Pg6pQgy7dQ8yCFO415ePS4Fx3tQ+L+w/ofD4V4cJNyWm4T9r+o/GYVaptSPifgdglOQOPS8K9vXkPje1bkGCFf9NqvQlqJi5JVm7pwFlCZbodc2yMk36YXeShBSs4rmjjFDaDh7E5w7mmrfKtqEY0fDtt8JtuvsDvHaNWyDdp1tiK1H6vbojO48KrlIHPR/YHjTDtgKmMOdI8qI1O/TlA4SGigyaMnVpVrFnwJxAaGyC+i+idMPWg7fg7bLVMbgXdk4TxvU1g//5P4XLnaNFF2QEL1OSeSe62EIVBqQdWfdzXvlJzKQiul5OVVdji9RVUxCUC5992/eYGgMvgODGGd2pGD1xMF/sSBwmwzYJbmdUni2rScLqdsm1IAz5vBpT2KnXy/J8kJlMv2gxsIRWXH/54BtMf/MRtvaIpi2ucpGTJh5I7DBf/34ZGsIETvXkZehre+PVKEBH+iKkFZm5rsj1ttZq43A6nCtH6FddaHJeMOZEH1ANLJe7Di78xAs0PRFvTlvQP0u6F22nP5Y8iD7Z2WnLwRLHteAkm4OBjPnqU+Bg5InsSUPXNr1hfsOv7FR9F729Ol0rc8z0Iz2l0fyH/3h1ER7LM5jLN1pZNxEYYLhrbTCvZJoPZCYnbPPrZI9xtIVKB8Ck/dkszMk1U2AnjK/WMpH2ioVZfDS/xvYMIX14f85c5wefjPR0WC1WIXw4h4BozcvE2lkL7Pf4opu1eIiH4oQm4SLtgFhDGuqUtkIME9ShnLX2ESX4mf+b2HaT2nUpVfOneYuJPyiacQH1U4vQ9v/kUmJeC4MgcTn6jVEtYSu5zqhhCJ1aZtQfQcweYscMpeLIGcK+uzsa+pUovR6D1RniYW+3vVdV/MKrh7bjeYGQiS+LZVtP2cQOWl75FOwL6rO5TGTyg0BSo2SIJhpqS2fIcOznQzkLwk4tCnEEwLavzdV2mYj+lJ7h2D/cx83X3bhYNqTza5eFfwXLwYMHUjMAcLupDCendWCAa3Em7B423Yr8R0QWJdLv9UkoYfy18OqJJjaS/fs2PPR/+fQPG17cbeHqwRhovO7HSxvHf185z/1pT+YHHG4O4EqJdMdguffqY9nUKH3LYGJY7x1UtV6JMXbcudtGb7IrfDH2Cl84AOSagtVWwBoacQaVVHcIITP1HPp6tIwY0bJ+l5l4DhZjzzJxHMzIAWXdf/QxiyNIS8zjSWiuDQKxG3CpKPDnCF7dGW5vQelbaPENY7ZjEAPyFHw9yo82x1/ah8jXwhHTRn0qSItQOTW234vtNg/6Qs9VatDzFYHB/A+C3aVD4FgcTfnjFF5MInOqSWl9HFiqYMA36fIb1aFAD0IJdVOiPFeT6BSIw52y0BSovauZacD2Y4Lr2lzL6Ba6wpqe+ejpGcqAj8OfLgLPvhSWxFU4Dp2UNwc6qKmd59C65IwXHS5wYb1CGzcbdWiJfN2tXEHL93NmsQwVGZuYnMYCtDeqWRG2aAK8aRMTLB059kviidL47sZYr37yhIC7ueqHqpaM22loICwpRxmjFuxd0RxfDKisYIEPkMxGy2DBe3/dlV1LwkBa9TmtbPHAGm0f/ITQ91QENzZEkE2a62bKRyqSOjO5frlirvPedUxg7YPd7tTtnGpco6qdHvVyz3EOmdH2oW+b0jhLF/z7QqjT76fyJewy3QtY6ODUjn5E2QSEy9vtlH6APwDGYjzvw96jVecQLmKmPOZJvGPYyThqAwBrvAgOeG/Yp/dOdYsGmreaIk99G++lcLABm+IG5IPmwFMMOgjMfGjXKdKVXw037fCSaTWNaUUBnpuJMYZZiUFt0nwsFiSBTxrNdIHG1Rm4FOg2eK/uGKFBozGgeLOqSBZK6ZuoM6JXICQt1l0HFlxxFYhAOcrYgik98oiTCpLhi4AsJv04yAdLBoFtpYc8U9p1o7nBfed6x9wwrfJpzkhUIGV5FNtXf++sjARVZrVTCCgmyRs8cyV7jyYKFdHbbDLpS5xwIPXE2EgIqhlTt7Q0ZlfclyztnaOOfpi0V9RDRHCMtm91U5JbjzsWWEihXtRB26eCkUQuhTGZx1KP4izUnyc+S1WxWBqJtKjmgunEmsTJ2sfRWjhfK99dWC6lTcgsPBE+ZwvD4UgXBXuE9OUwJxmapxaw0eYktEupgvStwm2zq3CJJ7SXQYiWsKSGoKLwbaZIqF0JqnhWqVwjK5VND2qqLsYT6S+lzz3QqUJORPL+evB6RxJzD++rcfHUF8iGt5VSyhpu22xy6LQ0U5nhRwmJ5mOB5fJHBXT79zBt1q6hSf9yBZIBUOtAwiOZLXF8un653Lwi3ZYsKBsJrB7jwqURGEz/8iZvaq4alFqRTH/w">
            <a:extLst>
              <a:ext uri="{FF2B5EF4-FFF2-40B4-BE49-F238E27FC236}">
                <a16:creationId xmlns:a16="http://schemas.microsoft.com/office/drawing/2014/main" id="{A64CF87F-42A5-4015-B4D6-94B5D1634CC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6170856" y="1109949"/>
            <a:ext cx="5854549" cy="5613005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E10554C-087E-4593-B486-A34D2E2E0DB3}"/>
              </a:ext>
            </a:extLst>
          </p:cNvPr>
          <p:cNvSpPr txBox="1"/>
          <p:nvPr/>
        </p:nvSpPr>
        <p:spPr>
          <a:xfrm>
            <a:off x="7680697" y="1509588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Receita por Vendedor por Semestre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CB3BA4CB-7C02-46AA-A085-1710CA381217}"/>
              </a:ext>
            </a:extLst>
          </p:cNvPr>
          <p:cNvSpPr/>
          <p:nvPr/>
        </p:nvSpPr>
        <p:spPr>
          <a:xfrm>
            <a:off x="184089" y="1069679"/>
            <a:ext cx="2777705" cy="5486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98A65853-EA4E-44CB-AADD-A3AFE7CD63C5}"/>
              </a:ext>
            </a:extLst>
          </p:cNvPr>
          <p:cNvCxnSpPr>
            <a:cxnSpLocks/>
          </p:cNvCxnSpPr>
          <p:nvPr/>
        </p:nvCxnSpPr>
        <p:spPr>
          <a:xfrm>
            <a:off x="805191" y="1207697"/>
            <a:ext cx="19898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C2B0E89D-25FE-4EF3-8B7D-BD5AED31A4CD}"/>
              </a:ext>
            </a:extLst>
          </p:cNvPr>
          <p:cNvSpPr txBox="1"/>
          <p:nvPr/>
        </p:nvSpPr>
        <p:spPr>
          <a:xfrm>
            <a:off x="235847" y="1069679"/>
            <a:ext cx="1397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LEAD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58270C8-DAC6-4E25-A196-64B07BD73879}"/>
              </a:ext>
            </a:extLst>
          </p:cNvPr>
          <p:cNvSpPr txBox="1"/>
          <p:nvPr/>
        </p:nvSpPr>
        <p:spPr>
          <a:xfrm>
            <a:off x="276104" y="1558506"/>
            <a:ext cx="251891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Kelly Williams é a vendedora com a melhor performance no período. Apesar de ter registrado queda para 30% do faturamento total no segundo semestre de 2016, um ano depois ela saltou para 43%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hama a atenção a diferença na performance entre Kelly Williams e Anna </a:t>
            </a:r>
            <a:r>
              <a:rPr lang="pt-BR" sz="1200" dirty="0" err="1"/>
              <a:t>Andreadi</a:t>
            </a:r>
            <a:r>
              <a:rPr lang="pt-BR" sz="1200" dirty="0"/>
              <a:t>, que vêm além de ter registrar vendas baixas, elas seguem em queda, chegando a 8% do total no segundo semestre de 2017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É valido investigar o motivo das vendas serem baixas. Talvez pelo tipo de produto que Anna </a:t>
            </a:r>
            <a:r>
              <a:rPr lang="pt-BR" sz="1200" dirty="0" err="1"/>
              <a:t>Andreadi</a:t>
            </a:r>
            <a:r>
              <a:rPr lang="pt-BR" sz="1200" dirty="0"/>
              <a:t> vende.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0885B447-9416-46F6-8BDE-A2FC33714880}"/>
              </a:ext>
            </a:extLst>
          </p:cNvPr>
          <p:cNvSpPr txBox="1"/>
          <p:nvPr/>
        </p:nvSpPr>
        <p:spPr>
          <a:xfrm>
            <a:off x="0" y="6649660"/>
            <a:ext cx="83511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Nota:  dados dos arquivos “vendas_tran.csv” e “vendedor.csv”.</a:t>
            </a:r>
          </a:p>
        </p:txBody>
      </p:sp>
    </p:spTree>
    <p:extLst>
      <p:ext uri="{BB962C8B-B14F-4D97-AF65-F5344CB8AC3E}">
        <p14:creationId xmlns:p14="http://schemas.microsoft.com/office/powerpoint/2010/main" val="13695593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CD3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684421" y="1100888"/>
            <a:ext cx="11582341" cy="502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/>
              <a:t>Volume e Receit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Perfil de Compra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Produto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Análise de Clientes</a:t>
            </a:r>
          </a:p>
          <a:p>
            <a:pPr>
              <a:lnSpc>
                <a:spcPct val="150000"/>
              </a:lnSpc>
            </a:pPr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2400" dirty="0"/>
              <a:t>Conclus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DFDDD11-AA3D-43CE-AC89-5060DC5A53C2}"/>
              </a:ext>
            </a:extLst>
          </p:cNvPr>
          <p:cNvSpPr/>
          <p:nvPr/>
        </p:nvSpPr>
        <p:spPr>
          <a:xfrm>
            <a:off x="333554" y="1138680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9C3E07D-5C65-40E2-981F-15B2D93B32AC}"/>
              </a:ext>
            </a:extLst>
          </p:cNvPr>
          <p:cNvSpPr/>
          <p:nvPr/>
        </p:nvSpPr>
        <p:spPr>
          <a:xfrm>
            <a:off x="333554" y="2230259"/>
            <a:ext cx="115019" cy="720000"/>
          </a:xfrm>
          <a:prstGeom prst="rect">
            <a:avLst/>
          </a:prstGeom>
          <a:solidFill>
            <a:srgbClr val="CD357C"/>
          </a:solidFill>
          <a:ln>
            <a:solidFill>
              <a:srgbClr val="CD3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D448776-6C4B-4F59-8271-A567CC209E6F}"/>
              </a:ext>
            </a:extLst>
          </p:cNvPr>
          <p:cNvSpPr/>
          <p:nvPr/>
        </p:nvSpPr>
        <p:spPr>
          <a:xfrm>
            <a:off x="333554" y="332183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2D83625-CEEF-431F-B34A-C05B8B6C6CCD}"/>
              </a:ext>
            </a:extLst>
          </p:cNvPr>
          <p:cNvSpPr/>
          <p:nvPr/>
        </p:nvSpPr>
        <p:spPr>
          <a:xfrm>
            <a:off x="333553" y="4413418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0CCE689-DE92-4608-B860-3CA2EB4CBCCC}"/>
              </a:ext>
            </a:extLst>
          </p:cNvPr>
          <p:cNvSpPr/>
          <p:nvPr/>
        </p:nvSpPr>
        <p:spPr>
          <a:xfrm>
            <a:off x="333552" y="5504997"/>
            <a:ext cx="115019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874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777777&quot; Intensity=&quot;3&quot; /&gt;&#10;    &lt;Color aRGB=&quot;FFFF0000&quot; Intensity=&quot;3&quot; /&gt;&#10;    &lt;Color aRGB=&quot;FFFF0066&quot; Intensity=&quot;3&quot; /&gt;&#10;    &lt;Color aRGB=&quot;FF336600&quot; Intensity=&quot;3&quot; /&gt;&#10;    &lt;Color aRGB=&quot;FF660066&quot; Intensity=&quot;3&quot; /&gt;&#10;  &lt;/CustomColorsMRU&gt;&#10;  &lt;ColorsPatternsMRU&gt;&#10;    &lt;Button ID=&quot;menuSeriesColor&quot; Color=&quot;45&quot; /&gt;&#10;    &lt;Button ID=&quot;menuSelectedLineSeriesColor&quot; aRGB=&quot;FF777777&quot; Intensity=&quot;3&quot; /&gt;&#10;    &lt;Button ID=&quot;menuSegmentColor&quot; Color=&quot;45&quot; /&gt;&#10;    &lt;Button ID=&quot;menuGrowthLineColor&quot; Color=&quot;45&quot; /&gt;&#10;    &lt;Button ID=&quot;menuAverageLineColor&quot; Color=&quot;45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GTCXK7w6cBjJMhDyn4I8hmQOWfYQdiIiERA/F+XE79sfMfy5kpbv6tyoCLs9QOj9yfjTlC4hJ1auToykviwPOGNQCbH5I9qSs5hYzXjrvDQVMk2177UV2uzPmaV3unqZ0GDqebMZsl3sS05RFvIWCjUz2olEVjywxFRHfvQe7mZxmRHwD4ojfn7XLszHRjFX/8tKgX2IxwffAciGx/OHq6zGj6lO4M+sYQ2EvC3B6mNQsQBSHD7zubp5yB/bs8sJmGsdJe57r4Vkuv+/737l2Pfrnc+hgmjBAtlq8Y/1Yt7gB0B3DSs1DURE4MEYffBEKmZMq086FL7EXN6uNVqvXh8+vpmWsObxzMOOq1az3UEjmF4hEWA4Ej6S079z00R2gWSi7O/d9vYq7h/80SGb3XGaZwR5p2LmZmETpthNOQs9tndXD/+Ll6VBdk2SBbTQBV7ziPN7bLAO5caOgq8sMReknM9afeZmb73N/3gcM7IUasZv5TEpl1pyMhOogAZuo5QBlaeBzZVEvzpn2HczZ1SOVvNjT1rq/+Og/fBJm1Ru4Y4rT7SjSo0Z5+F3zDQetGIW9lXMR5feMLAke+pWXHW+lpzgRSs/nXkNClHuwxGjdbMAILB5dpBULMG+sX8b0BW6uIjDDRCjvu5O54TnLQbRiQdFqoHedI0+WmvRkvP3PCtr5dG+QPio38k7T6bS5og7qEeCmlYVzfAKsK8SSFmsEztk6LGFZyXJ4NaZOihb5mUm0MGc6dIWvKlMeqIE0uPIdWORXgVQOWMDnTcXdfqs14+8F8vtuk4ChmUk/+USHq4UgzJdkutegJ0q+tTLHIo93+F2advaH8bEMYHEt2ytj96fgBh+7mha6GRgVPnPrxXZMbX/TsDxD5JUl8Yjq3jbwsG9wYM2Br9gtUrYX79aISNkFcNSuTQC53G4MrhaDTdbAsBGx30IhU30RngsgMO/oC9SDOlAMa3qA5FnvEng9/5wRLHqRk8KNyt/AIROnChcilAkKxiigaKBU1OxiZYAM0LKlDDPlNmgNDPC6NCAoDXXPYt2XFbgZ7kp1kAGzdoFV9jlpyTkkSwaj9N/KrMJjldDpElUWWb8ELzUP5bNtJWjK67meLqfdbMZ+af4t0ztlh14i/FPR3vJtbKUMJAZlnLPqL6JVjzeBBwQJiYv3Y814QnbnchIKtnl/F1p68Kw9h59Ld9qtA9UZMSP4tYw/smsan26JclW7NLYRnIc9yU9SXeWLg33q+KKghZAAGq2933/8VFJFqGdYJpyXqgjtmxodOVtMttFUx8ryX/Xrn0BUPh8LUBi6W4dQihaMuIMhDmizhDI7YwR45EjrkgDGwvtv6vXtGY/R4DkwOmnCrTBVFnGZSO5Tv1h8hAMV+Pdoyv677odkRDxcr9rHI9r29Sq7T2/Ty1O7sI8l/taqwK/ee92tkhTu1cWj2ixCeVXUyZ7sXnc+spZWHWxNveo+7jTSTOtAGNrKwi0wGLOf1CJARlKhI4DBHrUd5W4tEgw4vYnFG6egrqQEQEtpJn0CtHSYb1tcYbjaiUNeqCbhAhXqThDlC8UOd0Txj3rc3XPfAj9n0dqGpbhwna2sTN2GRuIZE9LMmSWajCAldFk4W8LeVKEcyLPAwwxhIPxN9nVB+CltEOCoq1yw9LdTr+RJJskgzDHlkaiOg6rXtrXTFTCyKpVBXJAlxN8sgfmwASmJ5vnqcwv5rZpQwMqGQivOrekgkdubF7+ZJNap9WL2e55EE2+hRIT86sjY4gPKhZq6xbng5SyWhGWidvtE7jwIEEKmVIOjo/R+RaqKOK3rarXMhg0VdXYlRB2DYeGX0oZ7q/0wOsl7WzQn5uQyCXi2wo5wSUsh0DcIJoG2Ov8pjdyMKoVjspw+MAbd5YsOSJBZ6mKhDl4FIHju0dPSEsZCxoLXfCT+/IHeVQeOzFshLgVl06tMUFOzXrQBZSjM6kgAR6Lzdgto4kM1mUVRJ6ZVozvOlTxOJt2ji2+gL48Ql9W3scd2PvKXDy/62zlrbsOX2KMMlbzX+Q49Mc6g9ImeLX5VNv7x2aPukYL5i2+zzIBlxixtuyaZna3gma/h6CKMFp1nGp0Y+31Wio8RpaaKidQJdLbfPEmX418zwnLk7u3Eyn61PQAM4mCXGVv7X4j+P94PnbsXXCQs826OcxRdWz5lEG+3X/IKDVyHUhfme6FsAodb5vUOJ8aC8sz7eHq4XOjsXEEXfB4IVHE+SYpRAuwLtAbbNOKzcpzQnSUNL9DBV79iMmq0Ikjqv6grASWQJ3wK2idpxbuhPB+gQ/rlhXdbGTxjMiI31OcQqC4y7J77l60GU7cjNoozmqLEAESDCf1ZismtA9O4DWOqNEIkzq8Mh7ed0lwJFmycKk9wkgH27w5Y2J30N/HS/psQ6xOhcWYtrzuos20OvCq/cxYOfZMPupV3sJtqAWN59RWX87bXdxK7b9bZ4NHouQP8XFFG9cKRjn9W4aXbbJhPHVLaJO9uWFXdxjaDbuiJ40Zb4qgEcWi3QdfbitswWQAeybKl4BkgmarFdPYEBkAB400Y/ICi3C+2w9GEbHXOcPjldwuWvXtwS6om3sw4EVwyIN03beAP4ISE7nCqD6Ul14pcLII4ZDeYdLHZMHchATMUyCApRWAAhmGeDwH+p4Rg8Vuv4DbCj5RmA/XfWjOblQPAObA2B7fOxUJ1uAl/9H8A5dnPH54aVEtg7JuRpgNEAIMdKh8oA3wYWSICi/UNrOBzgwo9NrwLJesS7XatYsdp+f4u2EGdYKkcBvJkWwhmA3sJpfdIYE3Om3RgzcruVY8FR6B1Ox8ABz5SW57lnv2CkpEWna+SwaLydA08++E6Zn56/W+7ZO/C6MeMlBmtQyh9EIEvsoD5VuUbg+kVAH8QA/FsdKxaEMa2SPig9BHBGxtN4SG9z2cHuHRWFCDV66B6y3xpLiAGFKgEqVHzF4DGVPtxINicZ6qrZluUYWeED3ovK9AFGVTG+Ui6Xv6JxhYk0dRg3f8EGFMJlmkeWE0/JyY0ztGYKdtyoaPJ1i/gkC7dXdwWSvhCC4NKcijg0q0li+pTc/kCtOiEr7F1ENif8ZHIUb0cdgA2xepMkLOe8Oi+zjGYDvqi8AxkA86K/+nhIl/UIDmsnWYFnWjzlP1YSCf+fMxlTQKqG3ysCxJEI0gXtbeiPeHrkxGXsSxPp18AldW0aHb4PrvZ9uwMksz88uyctpUhSj2eoc2mgFIX4EE01nbTdB91292PVqYdi+GB+Fqct7U4hd0bkuNWTiRO4v81XkRqL073E6Sd+gbof9kQPN83aR20EOqfr6C3miOM8KGpzRJW4RythdArIuOHQnhZx6ycnyTz1Hi0xDC14Ppsx49qYqzzh7CvFyLB438dV/DjbXCH275i4syiodeHgTMsnBhUWJRzlawmida74EagqrIr5sDBXyurszqMu/de1P2Gk7Q4sJd5nOJWp0DT1C8EDda5xm4WHUlC5QiSh2kgl0ou/VdXB1yTdytcfTBwqVF+Wj4WfioxAx43Q2L5M0XSyZKxueAvDmJVEnNSjboyZjAcpFAknrj/LSh4phyyowLmGllUdiaPkv1iYIE4hQsE1ld7YK/P+BDkMgDsrenJGvbwGy7B7CcNQYLvlz3xKeUEjDs2tcd+aTt4XWzOtb1Zpm6o9lbAaEOPPldRyI3FJ/a6mWopN5d/ZrtDu77AXv7MY1cRqz6RN/t2pqa+SClaTJMu7bCweOd9Q1YLzzlbGGmm6/bz4BdjU3MQ21AWW/rAfmZG1kY7oVPD7tE9Og555ZmpMSDEYO5ihBTo2SIdvgk3NLtAZlY+HnN95zfc5nFVGzEsagXiin+olG73M3oy5g9shpeGylc0vtrI2knyFKahPEBIy9nBFgtuuDzPI3szdC+jTexhwXcNU0JndDkjgv6ewJV/1BCJaO+FdVPa36EW18VGw/B04kmlKA1Klprjv8j6LWh0dMN54qniDjWwyWHz/Cz4VN4yJehnTdyHRiIxYvyWheLFmn2DBGIuXllDUthYntZBCzi1djvVaw/68jBtUoH3+ArCjzc2qz3e853uCMV5ai1LUCYMLJIDIMFgg9crbLouZqqLSi9MXr4S63CGvqiFYSo/0W+URgcJbRZ5Jr1KCg5cohrzAPD6J+rol38dP7PjCHWkAK5CSwNjHAAivLTC8aBv7llnthaoFLmAsftSyT4kan7YFfgj3Qx2QlZc5u8g1pu0hvlckdAyHUlV3Ofwr0ZbjsZPAp9eQ63yNoj/fw3wkVlg8wVe2+n0n+IFNEVZIYC1CS4wfGcP5Daz4UhIDStMC3gtNAZIebLBpeUD3o0zBdb/EhfkUDAxv8zSVj9ik7yV1mguQQhM86WjNozfwsZtYoKeMviWRcXiFvNfCszPKXHjcs94yuK+r9xSCvH+YGxfd3a9MRFHgujZwdoEeiaLDJwL4WqwqtuMPYReAJoBUgoPbTWav8ns8UK3SbPGtaN5+rDn7KTNJv+A85E25L1upyaOr89Qqi0fcpfY70a8MRCg0gEjI0F3GpFKTCqo32kVqVxpWkHVsTZkU+2gk1qQXDajLdjsaR8OwnTQjhRKT5/Hu0Rmv6KZKK1QyIYPgF7iJCUzGEPXnMM/v5VENzLCuD/Bl/Jt9i6RHl0z3Ql02m6cicyFvsBK5X08xbi4ILLUmXS6T1GjwvvvcG1PQC7a4by5SDLDq8vXgWR4CJY5KlliGrKk1tGMBGbNJ1aHWawdCTYhTqEKMUuHLAVdFYR1OdyXjUpTuyIOnSNcZDM9E5LviH/rw8v84jIinFzgtPk9v4xIx6AcrPIX+q17Lui2nWsKrgQ01dEBiUeNXIRYWQZDud21q09OiSRY7dHZiKlFP9nYpLFrVFPqQPxONgTkVyXr5c2NGBxiAZgUKcuA6UC49HabxClRFXA+lFYGqm7cXQZkv+903ReFjxFECd8wupF5VIZadOF8UU2EXLIb6wsLtnj7ihQMFYghm7Lf7HTTAiP82cKqSmB5/nMk1unJSLiS4e6tz0xV7YTkfB6UFNQIyGiRWfzvHr5xkgY9GaeRONOw9EWEJMlT7NTU1K8pOcbmeI7Gg40WowMqAAVq6puSalXabuqiffQNmX+/4pqlVn3r2Xwv9nwA3JGaPJhZPdKacqmTMOVx5DfguvmtRVksTE3EXni6EZ68XKw1K356P8z0Itx5Je3T2TO+HypeMvguyXBUQKdQwz2CiPt5gkGK+PZVLMzmbIOuM9OoCqSAUgPiVz22euMPobiONRm0CAhP+d2+YuWwaUD9cnkNABP/AgfLRSw4C4Erjlgz5DGtunebfRgHgZ+v/4ZdeHiTlDOmQe1iCqQDJmnLTh5vfYjkGImf209HKzHP4DYQSkRTxCLNvomWhIDfhrocJvPXv14AWGw5FisevBQG9OaRprrPkk99Tk/o4zVxWaGb03QDrdqOsi3/Ga52df53J5+u5n71rS8woslJMPcEWDVpGMR/thy0YPzn/nolAbXCXhVFrx6VgcHQdFEu32v+ENzEgZrs9lj6y28qvxqrIc1DF6mW+IcUilWqoenLFD3TZcCXJanqCaG4k70o8R2QTEF6RdZulTqPJjALaT1Qs3IcMMs3aP2HsvoO5HKDp4G+4E+NJIRFSeNJbaTWHaAOtf2JSwOZ97EkeoaK80oW0vVNP3v8mIIhrePXhKLpPonTGdiw0m9Q6bABk+PEm8lEu9FDgQhljRr5+jyIZlbpNJ/0lzetEml9/x0nhU7e7kVRQv0I2QHYSMubCvb3CmWCRMCx9zcTfefGsN/8ZVKhMGg7T1HhVQ22z/z6O54787vn9xjBIPX33C8WaWk3dlR+Wov1IYFKE9SiJ+tPbxbT6EqtawsTXl1O3ATp+aGn2Ys/EEQ5dZapF3qkIiKtVOMMyDfSiuWrTepcTOZqXioS6O+oT6+tu59bIVRWFf7xoiAiUviVh/rmaCasidVLyaS2cvzponl4gIwVhaanmagRlpgGVpui4yO9i46qLKP5x1ylp4vQ9XvJQLAoho+QDpylGUW3m3Nf3mLx2lFPftFxRdDwKzlVC0QRFlPNkvjqaB/rAYb203DlIxG3/uyDQkMFYjtfhWQRq6/UtyxKl3vGqBhX4/qbM94ZzLDcc0nyTlk8HCs/rKzRNL00SxWyc/JblBOgPIxOeiwNVYgOFEHdma6PGTvBUucBEympvXNZRzs0Srbkxe9eRqjZRVWM++RE5i3EAvn7nP9sMeFr4rqvOqXcjojAvsBUbBxI5L2SOJOiGOf1mijq2QgWlSEy+O8Hyw0Z25ilKnusSC2c0nOdSVX6SOr95H+uluBMqmK6Pc+20MrcFwSYTJ/PTUuq10F+DhqQIIFYUD+fgaFE/xCYIsVc9q8H18cg3CVwlVMFwNvmfclHTntceM+80av2B3Wn/s3fdGBj03OCCm25Vc2dcfRBS4EpsaXs/XMOEoW+kTtuptMP9hUIin01E4D7MG6iojJllMdSJ9hSF+y7KIZBLR7SJMl5981gzcfamv2L0fzK+skhQH04Gj32RZLuVFsqBqiVc8Gix+/KWzLoIJ6Z2cLhewgb45kx1tHu2Rvhe7ybh0kO55IjoWVcoBtHUtKox4Yg8i2ShjrrLmr3hdd3sNK2bXSd2DXybSvm3xFlp7uVDSR+pU8Dx4kRprFt8W+129Johiu/H19FxVvphA+LDTFksO5gVYT8SBzN77dnTJwaIsvetNCG5O7p6vGoH3sKy+UmNlck5A+CHNNMVIjCEdVXyQnWVYEzMwNWBoCP3P3dv0ZAvzRD6lqXZxDq+CJ4kcAYgNI4iB8dj2RhYSSBblYEhiboXlPAUNgJSP0uU/2v98ICxmN0LpfeajbNxpkALYpnzxSdeeCEW8bcnwKgyL7e+iYdMEqKsNerThflJ1UNNmbktHEpoVBD+QnJ8hB0Rya2kG4nHWAX/bRFSFUc2mHaLfkBInGWBik5fRKFLmDM3ap6npD56U1EPa+K8xAsdvp2K+Yv2CeFGX3J0zitAyaSoOC/W10o+S2GNxgqo7CznKl2QJvnM4VQYuwWm3l2Ul+nkwFWzRfEAVBacryYfUcz4mqqeP6TOp6H5Q/oXXIgUmgyy7sRX7ZioN4C3KgG2FpANxN2v18fGt4ofZH9Gk28oH5SqMWTB6+BAC0yu52X9BmvsEIPkKL6r/pBYuhi9s2mQB86Ua2heTRdzhM5UEKbXMp+9FwnbUFvG7nZ7dOqdR/70VYjUCdNc4wtA4KIDH85nJcTVZjWzjPYvbVtNGOTnJtok2Zf9wNH/P70yExfdjcHjzkvRUy3j/NOuUg5DLlOIgDr0AZt4y4BvbZhIlG69P38Hu957KGchjGXlR0+cJZjzNC6vKzZ3oKTkwEcPIGznKSybe8djns7FwrTKdQdM3nhoehlUDuOdGrNHs6q5cpI00YrykRcvNvDS50k1qHCmo5JkY8fRy8D3zg5Fx7utZtDwK9kl3+FJgzL2IA9diziuwdPQsehJHucx+ALCoHxOVMTUUrPdvVXt3/U1ksRimQiuA7KAGyjGl323/jYxIubpxALWqTgEJkyCef4vrYes4zuSwGHSdO4LFXPNlFNzSOAMQK46EvE/pafH6PcOse1AM1tf3k4nJBOsH8JKGp+/hUK7Wi+H5R4R9hPnoyz76qLzzTn5+xF5lchq4OUE560YW5hikJVcXAJrJXsAI0W4dMWVy2A6WG7QFHN9505oTL4KPHn+E3xMbz5a+KEoHp6TklIyey/hcMgjZZhXlvu7gGBqc2lS8v/TceXAMb0o+M2bBpO1Wqss95A3dy5xN8ZdpDydCPhvrl95lBVEpKHDOuI9ngbvWJAdjBa75RtUmP+wwcyiv8SWKP79YJ8y2FDQZ/JiyMGw1qDyuZyWsULCArkX6+pLSAJ7PKhbO+79IwsUzmY2qOfW/c361jX83xHj7GltL4sWf0EOGf/biEqXB6ssm6l5WuW0fUXrWd2x0UZaDjpKgedEDHqkhZ+q/hxVHYOD6WGlhALZqxp3Qmugo6u1bAJt0haIP6V1DCKGIPcqoAgcTgnnV6B2yxafCRdBUd1ZhSsxCGrS1MwCWgi6CzKd493arGO+KyZKIZoLHF1BcNSky3jBBpjQpaVMFoWLgXuPBeB5mWQTcHraWoEkriIUSxcPnV22Bs3VIjNVPpFU8cKvQDWk+H0ZkdP05HInHX7D12JR70dh7trh8xpN0Gg4NI1Dg0AXa00K2qwlgaCmK/ZWNKgtlPvfq+qYcNiDxKcJqUQg205m6ds58aLnsC9OrPS5yumXnLInMAZ8gGEC3FqfjRfheGNN4MtK3I4QD6BejyQyN5U7mwXzqP7oJi/Bh8j/MobVIzJawiTkgaz5CToHzPmM9qaiWboY1LQSgHaH3BqOSz3zzkR4CSTK+iHKLbQUn4R+0FpH3jl9GHbNiDpYEA+3s2Tnf22a/y9D1zDtgptSVj1Y4wH8HbTjxbb/ESli11ducT4jUDlmwBRBdrFFZYfg06K59STlspWXvMtAUdfd+N42r+BbyTFivdD3359LyH7ZHnWHvXM881XvJulblPgyWkN6VFQOyO2xboaAhWAGCWwrFSdyaZcT/Hpx6cubxtyh22kzL04LXHXqUkESLI07Fo6isZzs5TwDFt4IzTVnQh7xGddNePFTm9NvQB3K4mJ3GdgL+BYafo18ZEGfqhtjpVk2cO38NteQIHvlMie9BPYfphHJ/2/7xJe86oK3SYhhNIZIhZiKBlAByco5RqD15QivNOMZl8DQcbVpZfseE6g+9zwURHTpeLqna77vyHE/sZnMfsSXJvqu8j0N72VDY+i2lKAINZ0CGj62YaPJ/7M370/mWJIL+fAuyPyFPgAOXpb9BhLIfjw73415/23CYWJC7Ac75+aJUEV/Wr6NAY3ZbvCgOymwJANpOzELzjXzGvz6GB2pbT06X8E9844/+rDfK+Jhi8NUTZQ1iNvSM0hY9fTKuEaRH/fSXhI5Mxodj2WevhRotbCddNjXXW/SAcMBJrkazlHX4hN2gZZg9jNM8biOp9UfMbp0ydBaYs/4v9EMuqSzhYqSeAmTNB/DyYxQzpTuZF0ytRzII8yy3IEDSOyaa1RnHw8gs7a/FUG21L8Ea1JqKhP/TLenruSDtF+V9UIMJW6xSVAk86aLzayIwlUk+cJQxbaN8lQWTsaBgDyBy/VATTL6/zCkFi6O4/50PZikgv/u42VfGbui77zuDVRoZ8XHYn/YvuYN/bSArDPbCY+O93dJuwKu/t/0GTTjGt/6pbakhbqqETe76KGbc0i9ZYeGrEP0WOV8wU9jdZycj/eLfos2HaS/FVFeiLn1RG/XltR5KO/aScXMTTdyhkJuwl3924qOv96jqV0R4zHNGOTEQmed7XdRWc06K9lG3RUpQpTt61aR4eZcIloRtixduDGmhoWAa5R0Q8KsfPfjKTpLXjxoanqGeIDejJEDBnxXrcqvxe8X8B5qNPnGLnxeoqdxw9trY3E6rp3KWzWJmRyOAXO1uiJs+WBIfmnOHG/Rw8boC5OFmzSSs+8W/xrICKGdaBBIQ1C8wAYCk2QX4ykqXZc1b/vVp8ymnPk4wr73wniknvSKokmQ82Ads0MdCBwVx4S66dL/iN01kcLxaaCS5FKUT1Ni3l9kHTUMC+zIOMq/vHHEMTlhWySwE820SRD6EQ/hLQRJdcb/ORcqpZXdH+UCUIGwEW/fYZn7MRea6Adm7kim6N3vSrXUQuB+ou6P184R6gJ0wHYDt9A+8jiEbnTIw790Qz2wEZKA1sCvxZzJ6Y/ziZnh46hPJ4HLzs8oTcn6tjR7mrofQkttx6+scfWKpVMtRpqdaRMq9kWWzKqfHeAcQ6X9Q4qEUgbx4+lawzU0xEV05juaFaZqSoqnLyAcTVECSIIXR6+yVO9VstCjBMA+yQkABz9ZzWOaqgwhY5Rsn3hVn6f3HASowzBVe1mXvpul0yZ3ffVM15xR7Eu/2SYzRrSEpik57/Z13u6u6vBih3HSO0iOh/CQbU0BeZVMZ/km7niwClVgI2mRVCQQQ6nyRTosnd3oHWbOpX1FLIJsUOQSrNSUhA62JI32oB4rwXLc1tfv1HZxqyQYCqXKthluyEIoRJIarycGk1B+SW7ZYLbKxj5KXBDdV9BPr+BGdFBP73jOr0tvcdxWDzKSiXK/bPZuovWh/OP282QQlC1ALt3nMVVs/mGiXu3uIRvB4ewq66j+oHyGqzcVGrzZ+uXb8EICs2tLaUthpAwl7CrB5lwJkXUEymA7bWmcnJxWSaRGY87xqvM1SDJGkEpbbyE9zIpA4lDn3mUvTVX3shrDgxqq0IDe+2mm9CBTo8r8I+hkcgQdzfoDaRz5nh6duQhkpYBp8VS9xzPOSRDdvMqzCmlkPCstaEWVqb+b3QFSWtzrpWoB6NcE4mx6l1/+0rNskDbLbkAVti0eNZq8eo92Hd4OQ1byEhEZq5o7ibaPauXLvygA8R9wHNpj9bsDmGexQgt4IhQbJHHT7pSvqMhMDVZezB8E4la9UOfWRU4FcsroN4pPExjTHpcUJX03Uch/BSexxE02Xj+CvjVY8cuocbru5k5p4DzWCSxhsvKCYisMttmsPzgCGafZEgj9FqA7/DjQGvf97X8A3HhCW1pu1ejbZ9eDLVWNnZRl03oa6AMVQvSC+bOK58bHfFAXhE18RqmkX/HLarvs2EQTDreRmi9ZlWGEqZ3ObMIlwk14PBlt/Ng5jNIkoe+Y7DRQvofN0EN9DqMIksr4YGZ3uEbUaEiHTwQr4aR7LEu9fFwienTv/W40ObcIy9/tKkmla+vxP1MYypGcB4aWY472u2zcIR2bNc6ZocFgP8xbRaI5KTaoawSbCPCllGup5sOYPsn3cYxo9j+ntjJj4gMc3jRu8V+evRu/0hRcNDqCgGR2TjyoQk7e1OLn31+PH5+xV5YYlkhVsJ+DVdiYkm21I/kmE0bCOtFq4c5TVhyWW0GR5xRUe2LxC/wD86ZZBTaVrW+bnW0UcIjKrhzLNzvw8ESlSaCXVCUDyTcBZBkMSXeJPIQ7hoVD0w8eoJ7TkrF/4SmN482N4Vxu/IZ/7sEgINy6GzsFn2soRA9+P0z0WWWkFTY4CcAGsPaK+cYd+rrQCzEZYM1ncVDSUZoLPmXnTjBJvJaj8ysfJfwV2K49W5mglT+/Sv93aisRIfQRldD7g2EMnc3oR/kXieYbTQIaI+XYvuUyi1GQu6m9uqHAh5ty+nIuvaEWo8D1EI5cRV49YZPrE7MTIzsZBm2qZEmk23SjZ/vZEYao+Tw8Ae54KFAIlZCbn7rVYmTb1T8tUmn/fHSGbYYqJ2GX91GssYHWBc8ifx98aUsfKgiq9lagUm+uSsOiHSVmzeQaYue5FzgAkrUvWJ3QbNXZfd2EOQPCEWu3qikuWwKYhJ01PSLhk9grv30d1pqbt5Lo2mTimmiNj+9YV1VPr0hocuTUZl5S5+6RiHut/NnVlJSVLN6QiE182N3OMrZg0+xDY8zsUMh4eilCKnRNutR86h3BQ5or7ooOQtzk/iOBw0cv7LcJk0gUWUHRuMEl0cf4a77x8P8Q98ZahznuLoN5qQmSdwOLDyfY1D8P/d3Pw9pG1u9C3ZTpBKlpjdL26TxHVOoC5/f/nOsPypJsDzsjmi3Gbwt3GxcEnPPCtfgLpTEivGileQTaDp6BTXuTyBha3hl3YxWXkWzY3ZYetqD5o0R+/x3IOVvdhA78UDS+DEZ4GahN5+Yx2GVFq7+0uL85ikLexBdvkNmFpqkCMelns1zibm8nXrFvJ44n9KTeabzItPAsce5bbMO3Ss+AL+9R67IRD1KsPlpBLN/NiFhQjRgFOJgtbuH+K6LvczDIo67SFb7x6FuITfXuMDPyzat9jENizlRUV3/wNBLfAOiFVQMkJXJwCS8/mQ/xMloP0P1kJa05U/fhkYfJToMkzmn4yo/LE46LU6rETuot52reanIdFhJujxinyPTTSVg/gPRWtedEcI1fcaHfeAuxm5B/wzESEsROdBMdTOe8UGuja5M9LO2gCWRha4sC41apdE2WpyiWK2W5TWvzHJFTI8+mOs5R55FuimlazFBNBPp+vMCHw2iNJ2ldq8bT5K1LA1RMo6qR+cqRZehY3GDEwYp6OcpWjPEBz3ex/q9B5pMDnDzPPE6UyA0mTjieMdpMIuhYyUO2xQ4oEqP+xQVzrv31/Stx5CfL3w3oV1G4qd1gJkr7Fc/y2W9M25JrgfbSdgbBRfSbp+T3QvN9IbGJn/8QhhQNHBdUZBg/0sbqKzc97E9MhN6ksouUQPQssGAQc2zWtQF5V2SeRyk2NoFeGoxeGTYJnhsNnY/CcyCUzDDnxwZ+5svFLZgP3VYGZYbC90BIKiAdHt0go4GL1D4CKN8AqtChUpY8QoyM15yiYaLi6YRuJmnmM+fQaTj4TDPZIPfg9m0M2sUebUeitcWKBJtdI4M6Ql9UBRyOob4JA/V/jDE8/7U1VSqZjC3QKeXqCsNRWC6GRv9JT3XqMT876nFAvcU18F+gpH0s6ATnemBzKa6nNCiAKNOjWJ2WWdvSxPbPhAp5wgr6b7MJ18wCD56O8I5I/b7pK5RZYDuBdXY6ac7otjjL0PnqPLRPKDoUOQHQrYOJ14dHNT3I4Me8l9YHrdwUSXC84jk1qcnQDTX71NIfCTGH7J9JnEN1wUzWE+tOBkdflvgAvWpT0raSMS5sAeCXjc70gHZK4EznwTkmtwIavFQFlj29fPGsybZvBvJfCIUFaUgKzddZphsN57DaNv25PZeBDK2VvPaDYkpfUJgu1AISxVww6YVNTQMUBzG1g7rxdN0p0a6eEUwPt8tzY4MzswIMGysvcOASaBZDU9RihrHb1vegkOJkCMwXxEqvRxm9wnO62RsFGysoPClgLPTDpaz74hyEywNp/K6EjJcKeT7DQJCKbOfbM4x4C6Vd80CYSy5z0sWT/pk037nmLf9rcFWLwO1WQWA7w+32kGod1rfkqjOrg3KGP1KeytQTn6/U1/A41EV7xFHATF8DzoNp3E417PilcH0BO9tx1KRh8Jckqo+CozV/ah6xHQBThRQjhLO7Oyk1j9st9O/chbeyq3UrGbyBZDZ6DRWiJj/wNtogEZSjcR4oZTQep0dMjSTH9Q6IMj0QQXbGpMvUQN8iaPuoUt7RgGnV3/As8Lhq9Hduvr5rgy5eF0fhwLeGKAdJTyWz71jpaDnoXjaCMm1cBvFfiDRy/MKwGwa2njIIyywaT1XZvC6mD0SpiOdLNYgq2lzbYqEWEiQ5gaVAKmQ8t6iLRjS0BT3jf83vDgEh3Dd19z6nGGA7on7djLROyHEYiqXzSpxeQioeKwBSXc1R8EnsPNtU7cE8qmcBIZoEVuJ0urY92tyfLazCNJHCEgQ/TalCHSarKxiWdXRC7HP+tJ7bWjW30udmvNnfrGAL2sgOaBEcouQaC+Rgtz+gfQWjfR6Dfng4NFFVEzvIOTi0lFKRsjFn7p9i19xS8bffqIkky3NdFTiKrRjxRuKMFTCHQS+wC2EXjAOfRanfL3uxhsn0+yCTwA0jbElt3S05LMxGln/P8A6VAeHzO+pxbm5oyHfUo7gVvqf507d9yySIhEClwEiGJgFcD0Xfb1UdR54M81G1J0q36tDebNunpD1TS2PKySbNWWVUWgf+6d3JlBIXAM9FLCRae3Kx9h6/tbRdXTD6ixH330Fue8AhUf9lSBF/ccE/aXpyllRPZUZtE0+Hnw50etdGghvvQCM2JAm+gvBYwQslhhrTyloXpSmTvUvNBO46x8MEz0Ct1COcXusE2r1uBUKz5fb5kkyYCCQa7JOMNqkWryrSnM4VDul60W41d2PINI0UxYT4ZI6xRcHrEP5s9uKe8ocwFRqVKxIDKApM3hQU5YKTwRefdF9Vqzv2fKjqe5iYdoeq0M0/Qm9yRhnrLVB2PBe8f1iBvGUpnAEEcXvFzvw34WpY6bmJVoaOR4H8DY/GEAJMg5dd0PkEeg5QfyIbrkgEcIDiC+L7xb+ueoG81DYHOr7RmGIpdm84TTGLuqeA/ltNOJSiWeDPlv3WRJAUExG5cRXjdw75qiJEokHrikzfIl7SaIdJgOwYzbdwzlOq/dT/MFnT4qiXkEwVihWFTbwIGCXMlZwjTTxDZTqrOPwZBxqjwCUMZa70I3j+6c/2QS7ipvjk/SFsnI+k1Vkp4T5+A7elqLTlOe71voq96qYJyAHElU7ChJEjqlnABczKZmbe/1tf91lRj9DBaRfjODyx0gpQ5+Z/tx1e/ySIHIO02o2228LNJqIpcfo1jj7/rRMHqOOZDUsXDKQJIC8zuey9z1wF3Pd6MYYrPOfqVi0dmgJ08lmiwnWJtJXd5Li45e7bMNZDAKI2QqpV7UHX0zJcqwu1eSqTDnvLjsLlS/HKxEokovT9jyu/Nq2wWy0lVE0DLnFn/imbxjTJ2LOTNCKXFFeWCJ3iaEl9NuPd3SqWH4GijBRHKIBQZHQwhU69mQEDGfIApHULLlvYAxGiRAg2LDWMNyEMs85RJKBRK3xy1oOr865E1tb+LSOYeim27WEVZZz6PYNuS60h8fdUXTq6uoE+IMECPYT/3ql/CU2D7SRDqmoEB6p1DrSzm0oUtbzg2xwqLhnFFFrZorIgQBhrMRF/EulfHPuOIeukVMmlN5BZ3SdjX26+QOwLmROMz/XzQ45bbgJ/j0UGaiF/bmKct1bTmOvREr4i3zzgNla7f75RMHEo7jCA9gUgD7RoL+jyyUmiGNsHXLnk2feaX9ftzHM7z3iE4QtqoKtudczoIl6f4DYuZPTXDMFHA3F/x5w2rOVbJIJZTswi4CckeXOKaHkf+hyMqDUS/eHaEltH9/+M+v/ytZxrN9HoSQLP97MWGEZNE5L8CyOCI5i/R7/t9fNp1XBTlWO2ma57EnLSM420WZ7rDc0iE/Iz6QWhOYNt5eHlIihYxnOf+aY0bGS224I1y6jjDRC2BmIDFSGRcGngF6OJF2hYdYQc1gEnoB3mrxuEPvHnnwHczhQqkfdUwWcKy3IaIOsnSjusLJ+J/Khu6sfgEQTgsKKaeF4m/tJOICZbRdRfk3+VLUl57IcJkRlKJJS3Dmk7IB+PJUrX0OEZJIraQ44E2UgUp+JTYjx2aJordIlmvbu+lciO5EXBsAX2Ls6kzpD3wDIO+IjT9j76bgJC3pNeYsGu7OPJ9viX3BMA1dScb7Zdc13+g2GvEonnbH0exxrmXkWiFKA8iPkSGu0c6vHwrBHfLePZY9GwFdrztuA+1J14BXloOwjefeQomYV8ADeznzUm6vqTbNFmdt0mUnW43Az34owz/6zN18bydyZyDCXakAV5ZgUecBvuFxS5zfc/EEsz05ODliU4X+CNfAl/qJnD+xmt+TYWl+0Mxi6USGMrWh7Yv+n0FImsddHJt3p/k/HAGeOWfIgosPyubNNeMzMFMVh59JRkVmx8QoCznc89zBlAzG+07pJhcC2A8G8xpuumGTFC9itAoNh3BEpMfKyAVMS9cYnXnayOUUUUmjsXMaMD1bvVPgpreGPpUHZ5vFIs99kkq0K3+8k9B72JYNH9ulMDTzZqLDMq3NRZZmAOGEz8ZzfnQj9JklPDG61WxCRtZx7X5U3voiwLtVmqlHOtaHKnuxnLkNFd+hUTkoPE5+6fUmRhsjBmedpu3CpeQQFhG8EHBccWdEq0YySAjlBEOOGSXnEZYuX0ml6ZHE3SOsiGll8TWNSYgfihOAuKCBRua6CXLWeIYtNj5XWIdMpQSVtiLg6WVs4EUT6DekZGpAqpcM0XPtHqsYL90O5YOBN2dAhQRrZ2qW02DbIV6f2F39KJEzs9jutcdAHEfQwdSNTlEFemmNnxaXMKsrW4jE99rdGjNDGZNP5ZIMM0OmY4WhdL+t+Nok+gVMnfBegh68r0MC94n7Wu05uSULvZ3S4+rXR2BOAEAWumPViMElDJnZoD2kqz7okGODXlrsWfwYqskyIVJK0Tx9WOSCXPGnjmVeIu147UAAqBlJLP0aefJCJo1tSA9NpxVvjE8l9wRAPh9LjIr+ntHfANVnNZMjj79kn0Y7A7XuojsC+jvsMD2XSoKKS2REauCWRm8eZXf8NLpxGST2J+ih+iv9JjNTHi5xN1DbUqJhY8URIk0C3j3t7atzBOZ/YH4OyB8zESEAxF3HTl0zFcZHUDPjwac8diFIpFkoNqhisW8FoV0LeOZKYaVWDSxx/vecy382ojJdJIYoxL5lZSbALADwGOiuIi4Q3iqHAHI9eSedVbrPqgKn2o2SphBitArkqQ7Y9rD01GgCzQHVZJ8orqZx/KN3Bkq1CgWyioj/yZM8ueQylgVxPMaqbHmEFhfQLc0IoN11Nvsxe2y5M4E89eP/BpNQgQjX5dVp1UEc1uXlA7KtQA+xay/O4hQy5HU7IcYtbkvsQMf8oI56rMrkd0xHgcJUjzXuJ7vU4nq+Nm3rR/ELWn8BTLBiasURfNluSqiXIL9RIb3uPXn1uzttOOwIwilPNJksvMyjbDbItdYPHXrfx+wEOmEjUpzbmPVKskWqUK0GI44vKTE4bIG8fF3ohABaCIxTxK8Hzk3B9YiL6lh/UNLrUHtjl5KrkitY44EvsEuLAqRvwdMEwNghWJn7AIXLrl0GBwTHRBhJhCL7nAUERLtLsgDzYIVh6mH8U0um3+qCdxEP/9PgnLtH+P1nKceREmsK2lHT5H6wWVfxp7LVWPrT/kryLYayAU9WJrouE6i4QaLWp7qPt7pxcnL8yNGkZe0JDocW3AKlgT2/npG06cVbXuCBdhvzjuZJCUsA1BNUQ70XIKd90agO12SGWnVLihmH/UxubV2LNruaFBkXqC/kbcrWumQ/Jno79zwFgPGzsAcG4ybvzsJVKMfJxZPbyKVrgqshMWtig1yVHs0j/XQ8QL7/88AsdpVeozQHV1sXapV6RbrRVjsHL4EioxPT9igR69mNOLwr8rq6IPAeSC4b37a7zjKR5fsRQ5cLOaywMYnZ8U9NHZdFUo32cuKZUavqV2fT8+ARovosZgneq9hycvG9lU89L4SbIYcMtlxmisPxJibIUBf7Ov4aftIMytWOJskhNLHHbneFTQPVv9nIOjRUYzgUM0ApC1zr+KWzq1h6wYbcGQEzBlvenXEqM2QySYWeVJJTBAv9iPJe86jrHehxGH1rjAXaiL1xeK3fuw+Bf0ZBOhxJ5YpZ0FR7IooBRQhyOYz/cj9kwi1y7m0aJwIrRc7QzogRQc7EXZhFyAo+wlcjIoH8KW8LCpoib+nbeQUyVkMbXT8MX0dCpDfWsYfVb8DbCt7aTvVTYG9Qmethxs3HQgLrbc+iX5lWX+XuobZImV55QvArrWkFKS3y9U3p0E0EDUoe9o+vkOUjuqZd98lhEwfj4biWcSZwCAnoMiSh7Ul0PdVosx99+JENAs3njaEOEec5VLvTdkeV7RbMWb8KFOzbR3pyLx0rusnu7IdhRhayM7Ie4mcRKn0/J/Ju+M3DYEx0vh8qsDtIjGJlfhIO5w+rWAtahAkCEV6PGpCVun2HEVOIas9SEPQKrvPxrMP11jsDMPBLC0CSbvBYTjxMuYCz9hqJ8lR1EeTORqsGoPQxmfVBxv0sN9EBi0ebBdX0eUi7AfAPTy7Z4YNmRxHm4VJruGh2gftjpaCtO4F11uhiVQlUI9Q/bXcKDNgmZlddbfNsJZAqUkqDb9M8j9Fq46Wjj+70yfBo96Bk6C3anUMtGbIdmWN9W6hj8Mnn/LbMDUCTMtsvs02gO8YbY0IfGJo1shZpnz/aH05cfLoItWJil5ntvjLLkvS6CouFTyhF43nBjcRZ6sgFZvCAP6bI0qD3oFHfrB8CITw2fAfmWREyKPWwV0nqBLUGHICjUsEbh2wbsF5ZmEP19rSbm7PATPF81J4qMROS1uWW+J+gWMR2W4zn+ok1S2/Br4dVD4uhPAmmwtRZv9adkb2MBWE4sHk2gTS9740o+QMdEUxnCXUabMxay+flRa+CV6AN2o9hkm4lEq6i3K5BuVvpUOD0zMmI18G4nTV7/SWz/hKoSUjy/+Y4hg18bwnjzrJMHQLCr73IVf2BPh9pGs8hsjd0Eg5/UjmPJ2nZJSLuyEDWeY1n2XOz07pPnwaAnOQO2hTlP7nJQIfQQtfoFtFegxsAGZMDFleQ9BN5pE+xHAHWXydLdDv0h5qfkhg1S0OhV4UNY0fYpfBFaWx4v+ViZlKXCzmmSzSgZd8Nezx41W2QWY8nmTHlL8+wjv+wwviq9PgLWgHfMEuKwMnnuhT6V86zrrv2akWTfwMkNzEgiCrPcsevkn50jzD4qbEyewGwoTnaMsqAgtgF1OVO94pdEfj7amYAWUIosy9h799uFex7L/42krIlHk3AtrfNyoN1QFSqBT762HK2/wQznMTfKUR7GqbeLBfb1JQ13TCJdmAX1lTMaqB+hhR4qvgAhWcZPBXRU0i/FS2hykcprSJoqRVttHyNTew9KyS0QvkJATGigRH2tCB2wEeKc5gmb4z1bMn6yztyCpbrKEPdaCGFa8QHMNS6SngGdS8ByLitPtk+aS72Uh1moLvpFjoxADRA22Ry05QClZlLkEK3G+ieF5/G6K9YraLRtIEwgLZEJnNdiI30tBAiofZbMR1oAxZdWK7HN7RH0YMQ9pmtzQEPXQFjQE0Ep7mPnJrZlKu6cSyrrwxGVr3TpHuYPjch41gsyYwOl8mHoEJZL1pWBXZnrh9IEOiIlNVm1CKZ1ZFbZzi5ofGJAIYbeamWniwie1QI9txW9birKFUAJlqeckVDuVH3NYYw4C0uY6fXS1oKDqyvctj3oF15A5F7h6HKljfIDzVNGNBOBoFq+i6X7CHwEB5niD88oIAyzLwvCHCMGbfy//jWtFmQhIuqPInohOIkAL6Fmo0D8mjgSmq9WURLntd1z/uBchnAWef3QQZ4A8yY79uttvsV07JnpvwLWlnEHxPDiQOymh0DjrBvIqVEsBWmHjah2+1FperRpKb6gtN7Xw2zvLlvtAg5fn+vbGMn/hl09hAr2VPYNkrewwTGeYRHZ5ZQGPCWVtjFaxpuOeJkp4FyZnUurL3ncyNKBukDj+2Mi5SSo9P8Egs9vvn5AcbR0jlLujwv4DtoDckxOF7rvYQZSAZBZm3rkUhcSBKMJ2Jabl4v4uG8/qmGTQ7PM7wrgrJcTAJLDcTiXZ6mbQf/Y/W6RCp5gHb9wSiDaemXUfQB9kRjNlwwoC8Ev6RzKCTRiUSuUVvTBRhFvFi6bOKUZVpdSsbfL4nvCEqkb/pE9TO+q6mQ/PbaL26bo81zb5a5ZVQXrNQatAD3123w8hQhRQA6T/91oF21RgTbkkkUztNm2lS7LPAOvgjiF1QcXTBlEN+XBktKL3ATlQGhINlnVMhshNYAWYcxgycd3myId6dZM2icEJL5G71bsnU3UBWtStqrL2qwauqYG6RhThGPMhWPtQgnzp5tF12hFX3bHvZDh8MB1HzMSxQAbSmOQaBMvSQcvkMRfsRwxZzepNBPc8P9x5CdeyqXpdAmZH8SKjMWS563TK3SLbtqTRnNrfaphX1pCAH/hUqBhVu+KZ/a22mvwMSRwqndqwQ9hIQagH9NV0AHcAYdA2V9J7hXmHrID48Gb0WBgqx+iFOMIyoYIGQkXudZjiAnNSXX+udyz7sBmBoX+gRqIpZuGcBeOJgPkzCEPqBOxMHs6J006E2H29KNmu2z/yNo9Q0tLauOcmL2mfb3YKwB1ltmiHMcrdU0eoisGAvkAfgiy1Bv3YKLMWHQDuOH8+IxE0YHq3Hc9aoPc4vJjiejdWxH0msA0ItASUnhhlTiGVH0u55hf+5+Lq6f1VT2XgZHCEuQ3Ful93fg4oWNavRwkKpP2wpv8TzvjSExdg+S3+lL5tB/NQSv00LQMd4JT+6YPjfw4mbIxR+c9AkVvFsOSZVO958QNDgYvmkG/VdefSJ/Rg9RQFZUQ4w0ThXs4PFpR0bCXjq9hIAL3LJN74KgG0VHbfP/iL0n0H/5pR89iGXFr6X43o9Fh8IYJRe0uo9Av9FMdFifFMWPbiej/l3830ryGshdA6484kHyqj4kQEp5U+rP68Ag2OXmZnedxh/bpYQchw3VCwlZCVRMKQPT4pB55VdPW6Y3Hd9qaNZUTZoSxdCSw83RNBLRYrJVueC5F3vjsTHY53MFaxiGEDmCNON26pm3mMXqkraDSadhW/pYC1q/SuukqO+z4R9Rp5xoQC4ME7oFa95Ef9BTMzx6pR4yl1ptFokT3LMpiPPXTwh8j8T56icFKoOkDqqABniXqSr0zClBWTEf+sWNaQtCRIxYG15TeXZo0hThOYvH8u7YjI/fiLBxTnCmzR7aHfQQZ6rAehR2Ocmx3vFbANEFRfe6QdpV08qjphtG/uiQB+IlUuQ6fdckvgxWHzJrUbFp4/qI/NTAHAU2jiAXBo441OjthGN9NxHvxEKfShMJmGl27MRC2dOrrsx4StSG4tM3xmSqDILdmhwQIDEkCWIRvB9kEo155JuKIPdAdxJ+yPsquz2C04+xWF+zoWL0WvnqdJiQHnPk3Hihdg+6XtndRN8FM1AnOMJ6iEzS1Ny1stbnF0sKLHn8+lhvUeb0mAXRlKlJCiZMd9CppQy5K1hOeJrIEXvS6hVvO94H25TBk7WcsdOyNgZvrokrunbeHMxqRRe3f0mxj3oExQV+EFa/ujLM7EOw+vWiC6AUMvQtBSsirqWokvjKjBJuoa4DaAuVWDUdGBkXwuxUvGh8dX3SKGUdLPKDLHhMHLifwevqZeklROtTzj4EccWGceZZ0Y64n+VNp/3qvoyXsWdeiyj77JVqCRND7H8jbuaD898munG4SE1NtEE6Hn+zPwVTyqBLGkRp4/dsjTZCT9Nb/HyvSjqmVp9e8/ww6FWWSaUkXwN04qqAQLS4iJkcq8RFyx9KgAj16j/tgDyTIh54i0AX4sTiN4ijc0XZsRXSj4GWHb3y9pv3cuFTzpJXRfVD+qn0i+29JPkUfQ/SnCkX4WQ3Zf5sHIRm79omx3iLfl3vWk08iULowI5pgAHWYHKDkl68b4Hit2GOFSIWlduhU8+sNvJ3+la17UeKAAjhhXN/+er0JNyadR+35j7Vw5QN6NWq0H9w9ocrEolnG3d9VFiI1n4qdB9TKKInf4lbIbTfKzD6VUbb4+wNLdwlsyLtinznn7hfaawsOszVMlpRRx7e4NS0GFpqrspWTnDUBSsoVFWSxHPwQYe0s3Q1myBok1h3P3yHXFRA+eAOV7p6Z09JIfVBMFUqYm3wV4IV6+fHeICprw/KtOHyPMic2OqelTA94a8FlpnAWzYZaMr5ro5q2iaY4Cd2VabaPOnM24YpC5Q1xz1Z4DbUyQIrlmq0BddKreXFr0+MSoTcY8GV2W7OTZKjNy/keIuF1TVY2tb68VhnJO1ByizYYzgZwoiaf+oKPPEwhDJYx61D7FaV/Yvt9rXKN73iScbiRr6Rvi6FTzXmRfAwqaxmp5f5paXps7CTR9EGIfmuKTumaPzIWBE/P3eWE8vf0YuzTXEdZLSdXPCYv+upL3ReRcoClSM//hS4FkiMbQbgOkZkSuuFJjfvNIsw5TT3LTeVn0OvhRBMP0aHj0SDysPmbwc9t7+lhdCrouGuUjqA+60UyAcoGVkMhIligsh5oc1Ypas3imxHzouFJOIG+wq/n9vzF9Bj0ZMWgd7QdlOW/zJhw621E9Mm4Rd9BX9S1d1uNGszFbwjLOgyayuhsX+dB8WQCrLEAI0csAqAIVlQm4240/185yFX06uQQ9PiwBMfZn3SwTRgaZiZ+Z07F3J0uarGlYT1dbF3ubdEwiRqkJUCuRdYVfW6RmWjCP7J4TmcmdDBHhknabahkY7p+PUX8CsBgkl0V1tS1Dj9FjQjEwe/bNBW1aty4fEFjKN9pNyU4yuoRjCJZ1/XGdl6trFFeh2foXkzyHO+eYl12yxle+N2u154upN9ToqeWE4toJCQ8XqGRlbjysc3cl7MQtLbydlHPWwsS+Gady7XylS1hPnD3fQimQ2W3fbXPrUqGQgoVeZeJwVGja/S3mOZPEbjzAWlxp9yFUcsz6Ze3Hv0NOMbJkcoU+c1XnnqaDnaHITE0SSdT1OW4XnVZVz2i1n/ORE5Db4EopX9wiu9W6ZNCY91/39mPDADASQrwPLLuxds96uoSR0R5W7CzsjV6ZiAdQyBJtPNAfE2KBRbb7JQjiSmBSXL8uGSpO8ziNJqZ9axtEiA6WwcSRcJoJVUIUOOUt5BHRspzI5GzvCP3fC8CPOD8QsHzh3KiHaSQ2SMgK6sSF1fNa6Woz5SUOePh7BWXvktFq6hxXehlviPZfYRRrldWpV1idrEtcjD1Wyvj3pTPTksk0+LAwDKbO4kZ2Kf9oWo0G7UJT9jyZImqJv6HAAJZmIQHsmCAL5bkJYw8F3QoUg99Q3TEbfCJQ+eDTLo56huL0dzoWQbBFNhZ18GfvekYYgj33XSBcZJQBflkfRYHWyEED/TiVNdrcaDROnruE40rhS8RaF+ZsIBrK0sMKl5Tdz5aYZlemJNERTlZQCYawhApmFuNgCxkylOkorgj40rhnvOfOWlgkUuN1OBsKuXcigVN+XBAEAAzrbbTsnE6jby18vS4yMYcEo4ZvLImAKe1rG3OKWOyrA/RY/NcvKkYUB6j9KLJ87xhX6+kKFeMfHcjGONTevWz7XViEIl8+0NYChswlfoCHhpQbIrHRb0LbV090nbr8qG/ObCbolpIiVD0q0jSLgCfFeqrkvsvyZwGEW3HgsiqjCdFS/CDCxZZrt4oWAjqFh3SJpK1FKOi/ytWeXIc4CNuULSobhhWfudU1ShNegrdH08zJmlgrRNyK/IjSxLskJO6pkN/nUQHNtB8OfTkM19ESc8gaWCpbzO3SKqbulJ8cTiqUryPLsnHP0ES4pn79fFdzTvOw3rHEZTJ7fu2TBXX60/B3Xl1CUT7bfeWzex7BGKJ4MmNBKhe/PsBnEQS9OFMBduwjQZCJBBAnGpzYX7UvBgLZcfBavxEbzG6rYYA/ESf9/eCK4b5cjN4r+faGh/vMiDIc7YrjfeDzlPNfoINBVLOSeqS05CTSYwMmZrtKZhdAe7PHG8hWmhMMJpttYADAlaFFkqOGwJpdFHzHxXNiEW4ncl7cW1nWPcsvHH/1oSvtygdkfHCiUuavXRECoc3UtROnU/y6G/HcoYS2dvK58VMO1x3AytTEqPSRAkVRMYL51kbPNMT8bS1PhGjCXbQlbgVj1O60ytxDSSnH/BUM/Je+TDULfO9V2Ea8NjheKEALKpt7R/eDfOuw6CGMnL++PmW060ykRpGH5FIrGvMCovcfD4R73U8U7Ahu34fEYfXLMHA7WVbQHjGw0ebsyrfjnABS3BlLYaryKZT4KCqd2kI25J426fuD7VyGGHNVh7euKlqa+dn2YBX7M4sDQz3L3mKBLRwsqY0QOs4hIaZ6ZtUAIGzDcsoGbg/rC5KTPKPpEYVM/vrw3dbtaq/oPFTyeMghgUvmEQqSCXYMO+NFVxntJdVTXOgNlTOi5jJxi8vIK3B9tRnkfqMV+0d+WH/BMhKFjXItV7QaQNcCKrROlNgKq//E5SDpNPQTy+ZwptJ8zlX6+eWNFoR6rHSOPBR4z4bAQGEQS+rAOKe0geNVuCFlhEl6vNjqdCcHfIaQr20I2TERCtHObDEQfH6iNcHHl49Tp2bLRHHXIqpqKF+5hnnVXzhqB+8LVW7kFfUAf2qeEjW+w13O3uitjxH2llRk+G1DPwBfVPOV+FYTMcJ9bMT5NoJpAHIzweLjvWQuuzvkhWNlONzOhzBve04H9Z0UslEwHxmANX6Y3SvImmFXCkr3zUwxuH8RvKYfuKTFMs8wGGIf+L4QC+k+u3GsfaENuZERWoHzF+Q2t89JxyIrKLRCOZu11rhG8o9oRky0y4U0Bqt2l6dogX3EsPn3TuXkeqgYqmOp6GIseKsUaE5gHZ4GR3KOTQratCib1JKUkx+em2G0XIIs/IaOm2HfemiweqH3JYo15OrVqtmJVq2if1sBOHCI9jh1gtY+j/8B3WuLwB+0oOPGtSolNSxls/+qG6LcFoiMA9BiG2syTd489GWT/ROlA74dTzuc1tjDYvs8kur1fTnirbLB+7BZqgKC5aOyxp5K8QqueQS7LLM1plShtKJ9rC2RrmvNpDT9P88+ToosSejQC3RWtzn5AR1O8eokZZqD+io7LEV7ssPF9gXz56n+r282xnXjA0G9uUxGj5ZDf1dIDcmzTwJtRPvBc27KWzpJ2JE+EQa8OaUiZfHxcaWuaYJOR4fRj9WL3NDG8tzLKxPG8YZg3425K4Xiun+32N5cQvDsCWnKZHX2UthQAHPcKOD6t5pFzRekeT1hu2mf2UxV39BkXTtSuTBMVbbTe/n68fZgc9i5kDwHMUzf5rrAUYNnyxF5q+T6iw7aDbwMUmcE1nrmsDWA8JWYeJ4+Gu8E50XAALePlkGlxiNAUY/79rMq/G63qsooExA50IoOVQV7wnnspkp6XF8gaizxcR1GvIJ1JWxh6YSqZ+zst0/+6VmfTFH1SgBnwJrGD6H4cUHeYdYfjH+GB7A4e7nEBBkw4BI1MCjxchCNDbQvtujPiiV/ZUd6og7Y1aMO/cqb5mxK1ThZAfKypQbVfneTJk5DCVqv82HihZ+jyfoA7ziocbv70TqxAeLfxxe0IRMp/HOSgx8/sBbvThWsgBjO/G5PgJeD87PZhbAjM1UyH+Lw42d3k16TKno4/1Id3RNeI+0ZvIl1TuYGJlRtJyYzGLO+Qrv6nKf8yj6rS6l7feeT4YpsT4MhVrA4FxZBf6MNoM+RpIFv/dwjMZHY3H10DXZX8otz3C+y80eDAo9daVEJ4GxSB0z29whOCk7KrlVXz0WcBJW7PscEZQlKmlefrtAr6ARHUgWMTgfTFvLd2TRiZgPUD3jcT1Vorh7arddQ/33xEvOK8UFPv9PxGpPwp5Yg0VeTDN/g9q8eBWN5RWQCHW57JdXQoVDkPoUsJEh9jQIQgmuY9ovp+iKOQ2lXnP+5AdjM+qVbOs+/rVKFGYta7ZaQsjGb/kcifWooleGbdrW8BoNFGyvfGaORtaTokaQY8ltc1WTM/TEeTcK6mMTuiuTh+F4O9SAapz7yCVVycbs3omCcpn0MjxSuCEvtJBtNdXXgj06A8WXkqQUN7MxYg3OxZGGCVCP7fNU4dYiPek/znelvUmATNZDj4gs6Gd3KDVpe1Sq7PLqjFkvpXfB9KkHtRAnehk+4Za5n34Fq2VLPDU1zatXk16c0hBGPxxn02nNISujdK+asCjSDrPnXxLVxdUik0B3O5Qfy704Ypl9c7vTjza78V1TK3dGwUTbBdCI45hthXSzzSY98BDhv8x8f8Puwdmz+EXn2wb/CWjmjmF/NSEF78VXdiTpxuQkCY8hyA6zC0X/2w77U9jrc0v0E9+2M+YgzOEqL3lzhMwzJTvZntBUh6dDlRDAeeFKek240X6WGPL0B0tpt1cJmJJANVBFjLHmLErJUSetHSqgvN/jE0IPFMJ9LP6Pa0aK1wqd0BgfseCa2L9mZLQXnrNGQWy74yH2NqtSQe5H7KUk6xdJX1waPcLrI2o8ZGVKbEYhoIhoQVlps4mqgiQ4PN+PYXIeyPgaxXJp+SEtCu5Ur7vKJypC89qCcto6rZ32VJbREVr5RWHRmhEBixESDpl2raiz5evpbkkadufGsxDXj0oZ44KRxkMi7e1BiZXIn7MOWkXtRB4zx8sDbqIB6jDuNESxocUFaTZL/C8eiH53xnEPw8Pu/631SPEVNVmsJ5y3lLmXdORe8DlkWsygLcHvl4dC6e5yDe1IeSdcKmgaWJm9+JHcH0eXalrMSG0s0VagVdlBGjc+GYDAAiaZkrVgOfzxk8MvP5tAApuKqFBEGJy7G6ImPvgo0F+D1dWqzKjjIxclcF6q//yxea9ViPl7EhTDnlvT65vt4ViS8Gp/sMpSDWqt1ONEWClmzpFh8mdD+9CTc11yVZkjPYiBWToEQZZbpnrlyF0ZK0T+FIUx2eF1p+qbLK/w94TUGVVTMAyGLykE2syxlyK67bdss/ztymTzT3JCVnggbDuWMHu0JCFKEiB/RRGwTCdChXc1u2QC99FAXm+MLFvl0F/COMErvcD6i7DzGo4rxgts2hPxpPwix8dXhRIgGXExYk4fWl7phlPQjRiroWfItSvScXoe94NF12+jxvSnt1csWOElxEwop3lEh9nO9mBk28+YjB62rXisO4EksR6YVNBkBjoE65FxIDGYKBNjrnPDruuWArTzljXw5m1fPs0f2ut+LnsRpGunQNsfdGPb2S+t9dAkPYtSNM9Ned6Q1o3WqyVgwdV8fFVjStHKahqZrt4puTXXksNzEFqD+IBa5r8X1uGPZ7RJdO+9fhrO3CFoRGyHy8pfN1Gas9KtSdwloMQKECaIApXQ1o3k40gNmaHN81Z/Jx2hweXH6S2UJVP486LdzIAuYVt6SYQogEyltU9SnkY5BpTqEKcJfG8VwUuyHP4AlVRb+EXWyZb5vpYhGiqLDM4nhbPnNFdutdO9JOnNJAE6N+NrfWaN0M0V51cKEGpeS94NdQ5tAqbHTbL8gFGlkXJYu9yW+/CfIB5BFvsrr/gZSIb/KWstoZWWpJ6crEZlZBeQSLHTTUXqoAEjO0Vp3TszyR2kE/9QWon/Ac9wiBZ+Zavn+VnS8emWcficNNCMVLeRocIaxLwYZncOlHvy+LMqW4dh85ne88+IY4sGF1GxvU1ve4jp9HJH04G68A+bJyfW1cY3mvbSTpDjKzX8Ed5mHQYi1wTFi4V0h6v0eWOs4PUGIZ87XgjTwVhe3LVRTDnHuFvk8hteix5WJ1ZOnxF79hsUiZ9fkfFD6kW4MvE0nGi0D05LYGCokCzvFbYAX0QoV2KfZF0b1ITVgzaYuoSUPB/AJD+IEkPRZ3zpU/1x1dhHd9XeUKUJDeeIowCLcKVYx/Lw3+qXVWesLfmB97gY+SyOoArQ3lYfBHX7/l8Nt6Dh6vcZIYFVafMjlJE0/B1Cflrf030V7t7pw7DgnMrgJpsM4G3OWqpPUYXFmEGXOaH0NOYlB7r48qNKXm0GarIT88rX2TmH3z4qf+Hne9LLVjcNxWlpf7WKsllrosdoaPB6DrYpHN9d56HZm/J8+GRYD719Fxqx8U6PJgZl1y875GD//qlZXfMRK4cRItl2SWqXBBJ/qsBOtprhoicC0DiIz9Rx+CSzV/zleTMKGuWdMo52jHyKgSlmS/1eEKDTOEX46h++BoWUUT1W/ld70Cp1TL+OASAlrKhxs7rd1SfZJilajT/Mf/fhd+rvYJwJQXRI2NhavPbRszDtWjhetS/h0J4RlzyrgUgdMvt4TCIC9DldfxlLKim0PQ7uysQa/6IooS85nhCjrDYKWUnugBsBCXlwRVJjAUWB1gHaqszz/lTQ/OfEuvsaeevf2GCpsolmnHP/E5hbrz4jteZ2wBHDQqIaP0fSjCXY39dvfrP92AuIbfbSKgsxYu9WlGsHdn0PzbR2SuuL/bkSGdoWQ1Q5mwtpGHdoep3Cv9cLtVVckQ40VrvNYt63sIdQ6t+foaZi8nupgJ/f4gq7d6g7C5F1lBaeTPRoxqSSeUhOUGTdX7XHcH1Fo+AMC45vMeFJbb6owsxnIOgN2dCH4sDczuQTV29iILoaCRz0q8Qx6iWI4EQMqcueTXLVW4CZxMoLfMnUks79h19NWJ5mCyTadNlOzo/a+0+8a0cpkTKydt+lnUrFZ6b9sbUw2ELZy5t12u+31a40LpnVnd2M+HbbNqhWwp27NFU/HEwEZ3Jgo2rjVtAWJK06quhWwxyICs0j4HIx8hJNrVSSy2RDyM2/sxrhG3HoK2p2QZnFx/1fX8ZbS/tGWX8qVVfIBN10kS/yUGR6wOn2qRbhmt3y1qGGr3UnYHd6i0AlC4I45hENOzdzvlL9dIC47hxvnRg8t4md6YGCGch8EBlT1fXj7heL/R3RGse4ID5UREsfw2cWcfpp+MZj3BSHOnf7pWVgpR2WD+XkWbzE1Gw8uklNB1r6QqV4nhfWXiyma5cj+n0dj9nEetM4oG81Yw/B2zreliaKeAwCyq+2kNk3C9GD9yaCEgEHJVn0RmseIhZne9PU5jXcr/ECYZZ+utjlAxMcN+IXwfyRc9ONj4LZVhqCumAbMaAtNhRU2jc4IA271T47YsfTsANxaoo5Dhb92HYwfnbdPtijnZwK6bXYXnBWyDpRrzDGCZ2Zp9pcEKtcRqhaoDBe3cCar1IuqcR0AgCL9N19bTvisT1Ap+fcRhEBE02sZ0aQ+gMoqHvZiVgTEcm/k5VRjqnZZ71J6soV7beLNKJi0MWvhLRkr7pdzUXpkJ6JV5TV2gwK5P9xGov9E53K4FtQiwsjsiR65JQqxVpG6q2bdyiRERR0srNvyJSyzHAewAxK8ab3v1jo90kkHjRakyeKeSU3HwiitzdGXerorT8aTyUDoP0Bn0boZ8isP8k9667rKHUEBhLyCzXTMlZW9TYMClCTlRS1awrYn9RN3AoDvBu6sc9K/ioNzYSMK8e7vevy9u8qIEZAfH6CbIljvI+WNNSvWnPvgMZfdy0ttC1aaXlb7rG1oJX9U+f7PRQMfuy/6/o0Vg67dvmBndoUkSz3MExMXKWyUj0hHSc0OyVP8VzaQ+doQ1onwtfDamPYnGkDY14VK6axBr9zGD0twa/hIzjqW/kBlOrsL97IjVQpnljXx0vK3JQvpjZpPwGtr3Hnc7zQ02ZIVriLQRiFUntWbxJOWZRrTrJuhNR+cwTsebvCnvbNyjFscXZo5urT+cMwS/MX0C88uWsHzvzP0fSgYuW9sQeRoE4sWitrANZvzYFE/g/RpzGnr/2vNE+3CaCiE+yy/C/s8BcH0BIFzUfi48kop9VTPdAP9bywnlsvDGDMhC8xIm9c8JnINxB5P3JZ6M9CiL3sJ4eCiuXLbTpSS2QYp4nfzoCGDGzOX99jarxvezAXR0OjazOYtx4lChMsnM7Hn+UjxjgtALSGS1MLnFSAIwskEXGict6ohRZRDx2/dNg4p25mC0kK3Dx8ugdZhWcxWI+5XYAaX+KDj9F0Yvuw32JiEq835NO2EmO9b9n60OEQKtbA/rN9oLye8gZap0UEds2PBkerNJkBgLZ+3rDB8SZoLfftqMP9nWroRt0VQnCENqnX9grd1EQ6PXuOOid/fWfDCxiPmNCuqKZlVaoOr/CgpqCMGg4Bq1BTrSiG9ZzBmQA/u7nhci7Rctw7IZzOE6pw1RIVZQqRbdQmjL8eLBDs4yqqxsoWr+v8QgyYEg/Gu3Lx7ikmSJFA/9m28BXoJVCW3bw+U370F8f+gp26+Rm+MZSa2Dnoj9Ge56ugjAFrPtYbM4WccIgn+kOC8pE5uWuE0ltTkyyKOm17IcWQmwAqcA1wMLwYuviA4lpUv3eJAuMgOQCHyI22ROFNR2k6He90KbcWSypHWXFmQ3m1p//mFMdaPN0LTu3JN5T+vYy6l4xiix8LL8EeaKQkUKNfsrp2g3KZIhpcZQk+tk8oA4LKMl3Kjlz/Y70Jkzlm/go1WPJqQj3qsU3kqD+CRasp8idYBljrVnjDrr82SIlkXEKo4bbslDuvaRHuiD6v6MCGAHd60FxzIWxOo5Ydz55ZUidxxru23eCbNsjY2Bo8uNnwN/GMGh6JEFAB+VOUpqTj7wMS6/mihTSdp48487ZOyAbwQ6LMMyAJn/bE1YuLQXdc/UDABIf2VXLBT6Uy80uAo/tqlAMyVxEI+cWUKvqq8QPN6Qgiw20VurT22zyPHtF0hKY+nJRsZGaA93H6UXrTwQsA3IMZRVlTEyX5+snjcBgBBmIo2RRn7AEWiZdGhw1zR2R0SN46G1y6daidjYuuqVi3dljO6wiNT06F+NithHgdu44sPqDtTUjvpPCio6tZAJcmYg3+V62lo1spcKeiW0V5cxXFjN4Vb+FDtj0lfu5Ok1Wt61tme8KoC+lsUXlw6EjHINdemQlE3n5XWYvMx6rzxGyn+B++PMD5dl87JRwK/m54e763aJNbn+1oLoLheXvilzGF7wu/kUKs2JGOEIkoR8NQXesaK+RoH49tjt9VAJxVIGyAb6ucpXeFBALa3suIZo67geUudHD13Q2j2bFgED+jcHfd4Tthupx+d6r38Yqm887gSKVqGuz9gyqzpLSsQMtwF3KRqkVzZYZY4MiZmKkJ9UyqsQncV/s+BwTo9foxHi8ueIBNPh0bJVo7g2oZr19klOP39RI106fbQLDoI6ifCBGmUNM9BW8qiLEFPS2cD6dB9OF+3ZsKskk9ri07HbtwtwXA1PR03W882C/DTrtVPieBDTZaVXwc35jpczuDSBh15+wJ5vHWC1/m1QTkrgT2CizSQhFQYh4tIJByL63gpdCU1XUIdyJY60IPR83PSl8JzeG3Q+8J3oNX7iU9ejOHfttld4hjCvqnYcD3SbYmwYL/enL9NQd1dq1nemZs0MJoOKLgWnKDRHMT67hXhhdwqu09eXEIeL1FQ1LoYHOp/xUvIOYt1YdcexQZhA+XzCdq4e4NKGeQP0/FQbMzuIXs9Whrj3cH4kJVzLGPhoEibsZPhw2IiskNzlxHWV2ZMnK9+AsN5e32M/Hb+4zr5BA15lPourA+SIpesVmrLu77IsBgayFQTXOj4ZJ88tAm5CG5jbL8kGVaHe9CeEc7XT1mhLJmiIB6ezkD08WMItsKKuUDgUtxcgc5jBc9yKt1BxJfpOQHT1mdLQlT0g+VMFg5mSAWgNI9Md4Xx9+Tl0o4i6Ba1vsoIW3k7KKipofTt37bRU1JABJ7qykUidLBszN4v3Y9GNV8I5PHBuEJ9NTJ65bej28N+z/Tfsc5rsBZu1W2Czs1o5x1oKW5MIcKugJ1iGg6xofG1yWjk7woRAHw0LQ0ZQoIzdFOkuynmd2MCjzfeZl7CabfnBGULQN8gop5UOcQWYnTX1U14hpUIrcDm5IEjaP8A+TW0T9N9VPphBuvoBcm1AxTnRnH1Vt6vDnUygEOSdvIhH/tlvwAA31jZzioGL1v2r6y4iANxfGwNZR2Qlehrb7vzDohE9O2rZQBaT2PS1VowkhI5rKWYZqtA7f52LAWJFlMmigOyYOnj9BR6wUkVc4QwfEwuzT9mbM0H8yeY9rOcyXnuoyVmDlHQx2JaKP8DoWhMmFe7FBuv6+pQIJxtDq5b+b3JHjLWAlh6ftKq8pp/VV/SETlZdyi3tGKAMvPkOylnch1BtHn7QZOaBjyKTwn1e6xVDbbWJWDUZSzaO4qZVbN687nFNCMS6ryOW12MwN9viCaeFGfPBbOY3+P0TvbWwkSQGhPO5uz/n4g8oiaXMuuawi/fbM0quQmqNvnnnTcDVNNOwM0HVCcMtVmvcpCz2N20opKpp2eLV8yfG6mK8slhRq+WPUNkRv7dY8ap//lI7/bzL5Cv1zZ7uj8dWw1mLzj3Kp0ZY/ANA9GaMqEgCRocf8Rhm2h9G8He0kAH0tXBubSPz1LDr/kw79mqo8dblHT+KSlpmd909rDyy8+wUVN9isScxnP2YDlPSwoxHLCPCfChkVe7WupuPP474ATCNA7YwKaOMFyFYfjxAY5nDoIVVTn/ZwwIWSom6lY8RUK46M84+2qtTeoaYHD7J/5H8xtZ3wngnpgxY1SMGxX+u2E2v2wBLDRQKzBoReU9hcHobGAvjrEyj2Rygjx13XgtK7t135S2xDebpzDJm6O32RKpIfpPlB+uRm5YW6RwLDVG9Ng0I3a65HtPS4cFbalnNPY84Ntdy826JVsG7GfJyVgpoLBkZC2W9YHnB7lmxHbFY7jJpqFffUypErRCvPnwYryZnEmfp1Kwocj8L5lHULf0Z+CvMYsOKfZD2XpQLFYAOrSEL64pZkiNMn+fwl3aAnnptX9vzUUi95cH83tcJW8ABFNByv0OH131fZkOXadvsqetzNK1kfKfONbIFF1IX+7wAC6voYbXq34NJIgwMAknc0+PlGXJnfh4JcxOkagVUF6ynd+gLJihabijawufGWkfHLtilIxo3l4aEsee3jgLU4lHtx1Ih/wELxVpb7WmjH4kXoYxRYq5S2snIIzrabSukK/bdydqivdMWFB+ZGxFC7FLznirpv4eCYsw6YOdxlE5pK6CbIUOpolqEsMzAfQrNh0dYH4qdin/TGfDPT6u07p4Oe0Vk6O6lB6rM/fZSiydBEigFQGf/Z+rkRyJRe7/0Mq0cGSqIv5ILk1VCra1tc1ay0ZFnnG3YdLKkmSy7PInsWvtySlXXV8jMl11EiPMih6Si16sphTW5PJAz5y9c79PX77bpoTNeMozBbZm9mF1gWVojPp/7/a6B1d6++kvqjGolBeJLyBCAbq84E12eIW6n6YpCr00Z9eDu8btGXzx5buqkoqlvWe1JhsTVff8hy7L2rlYFjhbs6JgYOH9nangTKZbbn27hcN9/sYX6b6q1fAZB9B9zvqDBQkbtzBOJJboaRvcQN4XkPPc7rUmVufJy4ydNJ7u0zJwGqtioas8Dy5+RzxR6lAy4yd/4hanmfTLkOXLo2kuKLwJ+eIp15TtDx+LgnnRD+v4qmyVeLbOAVLbZO2tRnL0lbrxJ3v9BR9AhI8nEjgKT0tiFOrfHqG13zd+YkF2g3R4uI4hkJJzpLJAg2vMNfv3Xj/ZxsYMgfCG4Y/yRoJW7Q1TTuCc8bpotUebdJ6bVTt1x9nZD55Qp/JycwI7YhIQeK2/yeofWsCQ1GalVz4J0/QGh+PG67gz8g2X1pRTLiqD0Br57tNjrNes3+ASGeX3Mnr6ooURk1c3cHl1Je8W1eAYz649ICeagdnRlvDxykLS8bDsPFieVvo/C+oeOopoFqW3AMjA8bjlLh4p2kuvEfipSwv/7wEUHcqYgMUkdMKem/MwbUObvzOPGf6oy4A+KSGpT5+bYIVcDsu0GGWTH7/dsu5z34Zsm5csTbPiMyJZzEvjv60O1FYmL0L0rIYi/wShw0nfwMEe7d4nmeUEQSZQ/x8M7khWEXz0Vf69H7b1ax81m+sl+e9puUL+VjTtQ1BCaSurkUBAFokgeilKknpb83VjtByAmAAvTOL8ioz47QszjysnxIdmqMBzmrxXJIpSiV3yq3qNERGmO3cbgr2KbsILro5wMeO0c+CRQsaML/xrEdtyEOJS5b96Z//aoDOiWm/N9L/pkW9PGW5BQ256ATDGy43BIk7Yt0K7kF0ZZk9c6KczP6nkaRTCcV1IDlBpuMhwi1bRo2xoVWGWIEsfWz3LYZ3eC+PulBcBT8Ke4pxCp11GrlEu8oWk/G1IRdY3d3brT3dwonaNQHIJyf6QT6ZDQycVTm8b1m4yXaHlJm5bUY5p14tKHme2fQxBYrOU8RSE3dAHx3LMHWWgOaHSVmPJeSFcnSd4M9sgOMV7ap9S9SmnVSDALQPDPeXCuDSbYk/QqCtiJGardeP2lbwCNzOWVAZwPc0GRfRgnYmvwNN6DNvp9HRoBetZOsaX7tBaJbkMiQoPfra5J/QUmk7aYy+z4s9LK2weWfsB6M37goDgkdhSxq3/qtDrtLvVRGjxbOnrM30Lb/Z0ZUeXEPZwVBOOBueZpiHIa0euf/WzCFmkNNw8fIZRmHN9MQNLcLDHQNvhN3+Ym4sIH+Q0C7qm3dVHuy5GwFY1tPRVRjk/4yIEQ7gRcdm31TJZyNh8nWgx3Gktb/AzgmO14LSm7TJQELmD+8c+1qk31zclTLiwwASaOt3AywVSP5OlcVtew/Gebl2XSu5Iq2S1uL7XW+NBGVAQSEaAj9iIQJvE2h7rbQnedS35y1k+THBv/ZSSw3EdKO4z+v3lt9pDBayjvyRJNlHuZfMPwTEmXcWgv8DqukCbaoC4SaGdwk7pwNMTvMw7HuGsqbBSLANIkRZaoBCbJAAJ9QST8eog/XTsHYJxIj7iYfsxTnIokNZu6/0+bOtVzJaXxWq7YJeJgr3hR/ArmtT+4H2b0EFLzEqpjoaE14OqXv++VusMGDhVmg2dnknT5q0sbm9EyWdQraMO1gt7y/vPL10NxfWg7I0DDdM0Zm8L+broFMeRgf+xC+NwLebhHkzJqu1G21GB8CKxFUFTNbsGNSMebYTLfhfM4kYxs+Uvn1nN3D1x3xGKfVNOLCHfVbITTjvVDn7ReFO6GczPCkv1tcO0oMe9pStTI40PQH3lyng24bWMJVnqMc0gnqFfSBFNEL0fjstyFAGdIZtgmKYXWQIMwUNtcoLQ5QphsG1LbqkZ5yu/HBgvXN3ucUosSZUYW/Hfwu8yDqTdYj9W77O6LDuvdHtbMlGbqIckh7qiZ/FOmTA4qpSno6C69rhrgmnRkUalYwIiZUvWABcUxDDl3ov9aq7YIrHXCnyRJ42dfnF/P4fU6+4cN4wc8BrvQqpbme0TojgtqVvPihKEqtKUUESno+BYQVj/NP6kTHCI+O2O69H8L0D7G4Ux5SOXpd+9QU3Z3KAVcU5qvMfQwiGuRA590XB5eSw984Rzy6pCFlAjVhaAOXHojkSgjT1TRRxPlfoWB6xh3XV+WskLqI33sYMCHSswesTfMrwqJ+h5z4qbshRjunXf2d6idzphZLh807JY1qhhMi9DHax/KrpsqKWcVXe9btnd4uDzLIb8Crpjzox2QwKaeb9car+qepGeieWWh98gqezPafqutNW3PcJK557HkGoKV2EdsKA3WcWcurPOM38Rc8zOfX2uvq9SLrInw+Grq7tXb2mR27FcSzV5xVWKQpaXl/YKrJY44f3s/NL1VJuUd50h2hPpIuyv3H1f2HWW/HFcge5C8SkeSzE0Na2tEJnBs+p9KRAgCXX5tuKRImcxMRCV2vxTOF2LX/7a2OiGiPPs4glnSg3BXarcOssKi/UhwzUiwrwGbBmmuF9DpSUqE+Uqmfc6AlI4gcZ1nKrzL76neX0ej7tWeE7lrT+/wveu1iZ6rbJCf0AfqLaoUfwFPmYcByhrWhV8bRikU2frgsZNq9r/9Hlw7BHKYuK8Lhi7pmxhq5Kg/HWl4G6Z7RKplf1YETmDYxzr6D00n7yYqT9zKOsZuDG66hXTLIlqJdoCNqt9oAqiI7GHoBboaU74+wOine9yZt53Gi9tDYUXEkvXlAiENCIOwcXtZzGNcZbhnqiHcU02spR22cS+GjMEotSeppukTbtgDMl1HRtObNFIp1Bt52fNGc/JjkC32QCZrGF3XbcmqOYseBUweqH0oqd9hEVm3/sFbzfJcUzH1WY1Ixzkn98B//4EtMBaSGOyobRg6OPWOsluuLjgZKi55LBfRgGyMvwCbbl9jSKdhB5tA8xMTv2HIePjkfjI/X+YbhLjd7ZI1j7BOvXGwwBbgoFe/vW0yfgM3UtPiLxFsDskP+03U/H9zV7oX5mX2AtfuCH1PuRH/GZT8OxXqyK8hWqyjN4Clo+keHFzqc27OO8NoMOUy9uoIW/Cf3xSkkhW/0RgIa4Xst6clm0chyEpO+CyiKp1NJ9KVOt2Mw5PI9q6J1FomJaBuu6AhbZ3+Z6KvQtaKIdIlLHui7zp7SAXX8rioYZUlvf1TKbBjI+Tg1kWKIDYVdacgRKdkdSmIcrfIzT80Ut5lIlgLD341Cra7YiCD4BhoL7RzbCXm2sQdC5V3T30OCHdDyh0eDtpG/Q0TubX+w5zkFqx+OFoMSjOJDuF5LRcyAV8tUzV83PO+3KR30SM0779TvCaasuFOFHULiOmMgDHjZK0JHXgXPyOpo4SEHcdM/yP9EtQhtATZdxKGOyNA1u6vy0E73IXxGpiy8pr0MaVK1dREYS+NlZfLokYDZhsSYXkgb1zfcrt4Q2Aw54cN49JXrjRPSTHRQLg0i88NAUhWn0i0zQOUJ1DVB/Ht3eHJggc8XbOc+wLbIdR2vzGzESG+CJ6IPTk4oNBw3PxsAprTiNIpDpvpqzguouhvxvGBuvnlfwvCWgvUDZ//Q3LTLaZsYcUy5qr6vZPJ7RIkZdsN/nXZRZyuZLKMH/RJAWzV77K9JNJTqDWkhcx+hoRQDZwAz+HiplqH2G3ppolhYvMuA8RVK5+npf+io7Hlux/IUwEopy0+RjLh0qX7Kg03hNlttRT1MHPu1+QL5xOSIqS/b8LjFkITwC5BG7wl0zUUZdpPyga8wPJYquV4h5sSQnq0SRuWlzQ0jn46EZZ4Z0CgaHj1QfrIjfQEjTTo5gJRjaE0pPcpcOGNzrz/44mENnjFbfr4PHcx+7ri7/BGDxb2HkQSxjlqCGFqNhnOt2muG+q6nflSR2ThbbzUxOaEk2niMETfsIUT2NFSkDL4Abp1XWjqs9G/do0Faf5//FpC3+qUtSedODo2msSmC7Zl9i8LI1Hq20PtJ6DmNQF3gznWMYJj4O/gGQR9/scqy2azw8pMcIuBXRm5wiuVMua8CuD7dWWDe8t/83InWXlt+kV6QdJAcv/G2aHUH4dscYR2lk5UXffa8Cy8R0IEARw5q/7Ng7aLBhN4SsVtpyMhKJSsZ+2QupztN+wFfHAf7YRPVsZHNaw8fi/DT3+7OCITUOFF/rmgoEX5LTnrvehDMUarQ6Ixk1jLTODKI5/K+7aBj2tSyVxBOpApQasyFPtGn8BThAFVLUDWKkPM4W/wHpMX9aPWQvPN1S2ohuhKNtE/rtkKTKPIaWHGdiRg6rDqPajXh+0+CjMdF02MvmcDazYlvmkOPETfcqfNlQg3vuXIn1YaOcjXLF8wZnfqHfD7IARXQZaR3xwCte4g5wBrrUAeF6dfx+jbvSpYlBspRialGqlh3ggkES1pTzdOPEl3Hgu0SNypf9CT+ApESA78cz1ELSCxqLKL4JqvOKBOz68yAjrl4oRkC8GmTQA0hxMcp/VNh6M37B6PJ/gM+WSG307666l6IWi9W0bdz23niYm36qkZwaPfJKufCuQli80AD66tsgFcVt+v9QXjZh6uXzEggzAXQnVMfKPXMww5kPN7T659Q4uAzerzKyvdPA6cwoEPQyf/rWWc+7ob9AMPI3dXKyl3aeexk2OINNmZ6MEm3TVtYmBzAJkKmfsKLX65lO1J7YYd44ls22Z7vZtgfDS6K5Fcu/XtARR5Dc/gb8JiBZSE2IkVWi272++dpT7zkIVqEnnSn4/6RSt8Xg15THiEjo9YNKW+Ucx4JvntcwS1Wl5DlWJOh7MMynzB8dE8u39a4KXj5BTloedJ8r72Av+1U5QFXIx21Jqpb3M0Ek8APOIWCCSvcRlBFrEHTK9R9gM8lB+eG2o53Ped6F0CH4SIEeKdRf/5VlWf45pxmlXhsbKdMeikuFIjhzrRcI/5SW//VD1r7VPTkkt5bJAAmt6Yv5R9yscQ1CINe23UNnLmp7Q4x2etBIWSR3Q5jNb+m98hYSfNxslwDyyVMXpPC9H49VO6kByaJY2Hc0Tk+iBacSmm0hfUVnZLuTf0ZZlnSHh3dfhc1OJaetJinciIGrruY+/ZSkgtrL+mBDs3vFrAJjRC65f3P+UJw6BMWKFqHA5Y+49BSojdKS6PmSO+Sa0oLVswNYaoybxq3r4ZqT648Okl27JQe7RE7ECg2UFkexf+0gflD6NmOFIQ/aFctVZ4KN/RZaaqvfNlr8Geebnd1/n3UDq8mbzB8Eu0ByKvfBVfy7xzAWnXRbp3Kg+NuzbuLl0d2rtIqK8QoQKVMI7g5uCVydneCg0zg3m+kIPqGnshanYrfYRfdFypKfFeiu/ElH1ambW3doxI+XhRdRIkexYt0Xqo/p/dSS1XYcxLP4bFWMI3/+ll8BUFglGmczC2Nsicxi4vR/AKp5bCARRg8B1rkZsO/4d9Ad/DQRsQDWLDnCpV3v/CbVw/p/96ATbeWpaqyvEp3GJKSUgLz2FonOKqXeCn2KN7lC8gWZYe66Tdg2p+tFoahDkCy/OUxde13lNL+k4jRopwPxVTie+OG04MuiyADVOHkgOALZjs9lSg7UYgFCRm8BecyHX1XUB5AjsVhg3RacxvrEfWNr5bxgfC24l3QrX6XS36B93cX1bhw06TAHXbSrEwOYazOv71Bnks15/SHjQOgGA1XoUbSZaczBl5vTZwv2mgcwyVzwmkl9gCpJMarl6FNZ/thNY7tEupJK9+fQSazl5gyw0kY9rDO2/45cahlXMGSUOlQqjKcD7InFeEVNbrD8ASB04TGRqQTPp2Y7TI2r7sxE/GOowNuRTjBAdzzaKBlHt73IfH98PJ1QUuzx0GeL6CVJbs38z8uHEa9QhkZv9hDqf29dzwuyV7xWTkJqD2Kn29pAhGoVxvvxftZ3pq6AZn91xPS2nuuUrNHkGs9LIC5OgCB7NXQJswjXIaul4Prlkp0PnG+g3Ev73hwXiDuhzoApTVbnG/j+tvpf73SS/ecSw/+lSkYzW3lhkj11fiYrJpYiUZXNAG0Fn/x1+2Y3jC0+75uB0gtgcofzgycouMIKjqwb3CmhDUNQ5gsxzQZ/tWIupDb7AxCGQQW29KH9dj3t62XXeObbaTx+ywQRd5z8NJ5TBxiyBwOyUK7IG7rxfwZnRSCuv25GcrxQGe7qsC6CIdR4jAVxavxLldc6EPQ/ZtEKtEx+n9BZkV4jPfKS98QZgUqPZD0uZXfGNOza87H6MJMjibofZzbbr4erew3WlCLOKhlS0x5yeX/OpKhxzuhiY/R6iVUkwocqvrzvwcjT+FUxU0VbSE6R7MQJ/ugYLjzLh00IcRkmKP4VLV9QfKR8Lj29M6xPHY7UWExqsAfracsygOdLbCFj9Cs2EaEgEe/gIgQ8rs85HVlWdYotXG9/zyw5LICtX5Ij3z6btyNoqrW9t9ddab+Zw/cz8rC9d0gNTkxrN/s8SMGNXja/VttKVZSgmtT5D3EwIJmJXjsVCOCtKax5jjvfx3i4EGSdbZMhPKPg1fgCeymb6KU6g3M+7xoOYKCpFrANrDnaZxF1f+LdXVs4FlsJBg/wiYRqJTCO0vMNDA22OL7rXwNRYYKQzqjqr5QuNEGmxoDaONkiab8ls39nYb7/iGLDL3Oq4BqvBMssBzlDLF2E/PSP3/nt7cttoNiin4QlahAP6U8YReQa92eQlklKUdgeL4+q9QZVICVYoc10ajjp8w7LXhZ9D4/uzpI7LqfMktgn/1Apon9XZZu+tisf1+NUuyzXL1vsjby+iDFY7lTZWAqP9nl8rddXasRrT9bKngJFlZu3cH5EwJoXZ93q1q789+2USHiTWlLhvEOGozDtOoIwXIqJDCdjfgNm6Ad9CnTHygWxlYCFhU4m81+j01JDP5GrCHrZYXg0FUpY9qXgxT2n5V0BVyeM+kiTRw4yRnp6JtvBbn9ipUV/qzolzpRCrGqJhZYz/6s0KNNjh6GdP8ixqxgtEuV8NHrggYKmthS76vSTvru86XauQbrv4MqSUeVcXNoP22Ap8xDpogDx0/urJUBOe3pyIc74HJYowdhncQTpg5HVmibqcjN3NQi9NvI2i2RtXJ005CBRw9yIMkJsHMegk7wEkwEl5xTfpIxV+nuFHMZPxka6PmdljZ9+sdUVSaq754FjPs0+0wHDAxBxZUzy2BZ+0K7hvO/w4vUe3tXMUBrsHV8TL/rP9E9y/IGS3UoqYQhfETHkPF9YB6xz4n2gDzHPxZuxQp15sXbBAGJXZ6rkZiT0hllzl7aSWVesScEZWhKwNkrlTV40X3QEf+gHTOu9P6bkCBtM5I4R3w39+tlART5B9azdOdZUqGD5D5iZQn4cMbwZSkgxhG0IzAjmjauIRHeUF31hlzMbixvN8T2lJpPrs92RBAj9xqGixbEDvEB/Oz6M4cuKJskCoEwT2fBgYGvU1mjkZHW22T4Pn32Opz7OsYpyeLQqONtg74igSAYPIL+rPHGuQwLIfgawFxjePE1Aq+/AcGYiDcuU8FVfV7S/RxgNb96osiGcScOlibaRUjhnT/k1N+jKAMIG29lNg7iJWg0HNek4FWIhQd2dtPg/ntQ3ax8Sl9PuwG4w7lLgMk+gnFLC0wSj27WUn4KMNZNmRYYT9cXYCiJy9vgySnhwI3ma5YrTUcoxlTEn8kpoP/uPdoQ1PFEa+sTsmMkgDFZkIGnG23wW7bD9dzsz1nNuPNIQ0+c/08Vi2uRLYK5novc8ypp8QGX9l1790sLW7jCAG+OBt3jKpBuPpPP0Ys2GfWhIkT1ERMcLIU1pn+k9ml9SCKUXNU69NnwKCDwPItuc8NzEr5JtDcPWSbnF6aDLZiGu25m1OWgXIaCexdiV0u6mgPcvTfISk8mNHg9wcpsCpjbxufmG3zfb4WtcISY00bf2FBm1qLdlCzh2yAuc90vo7yZyc9DGsIZqFDS//HB/ng1W+1qg08qr7zh2Um86QSduHDG99A5ww/vLP4rdu7Ua54Z2w10PCvl8RdgWVCiFeCxOPO/HpqNC8RtIFadUD0N051N8tKr9rbEk0M99CfqHvy6T6vTgmFEuiDmMXq8JoakFCGlfo0u7VB7RxZh0QQ5/KixUy4nmqrBZdJfyBytVza9rQRNSgTTwO71IJTzY1LpQCnbhqV0/voumnkvWUpMQhdOeJOlQ1B8y7KuFQczgoJffdrtv2g20Wv4H/Mwdd6WBTGxD7Nv9NIdgARVN0xHDRBo1fVvzuPZLKy68pzwriRCsrP5YaRys94PoChbwAJwc5M4E27ck0EvqRdCF37BJ8NcDH56emmEkW+TnHiVBkcgmFrX3XZx5h7PWd9Wxi2NDFteZZS8p6xGKGhj/oBB/w6bdCmR+CeRLf5dxemG9fsY0jBwX/9svUA4OFI3BFdJxsHTrTWf/jpT8EXySAdQc1JqOPb/7YXH/laqOdLxx4x6uIjRQPgpx5TFmS/TevWVTs8QikZzwVknra9YcSFLU3yRPp/bE7Or1S0pM0pmQJwJ44m6Is95frIEdCIXwSurjGPajlK+lpbWyW2uJraN2X/XGq6Tox2mGUAnlUHSBmAczn3M5iiI5NFlbtLCUhvhsRXzQGDl1GSDD8YqpcB/ZgMoNoVaXxjmo6zYlok4sfCsu8Pc/dYu91wXANasbaUGWIRWHMQAdy5d34XOX+QQxehSsO24Hs6AYzvMZ17o3S93Dd51xzlOS8s7QtqoA4U8LgOzw9KuEOkyZWDOoi/xHdB8Wj+Lu/G4NJr/XwLb7D0bfwTmnkx8r882qPUAk+sGlznh+QiofNPnczkg0i4epAQSL4dTFBY8l58b+EBhD74Ny7++ghkwOJ2q4O+eW6El2IcMre83cZQAX9ds+KyxGqOTq2Qm6OoX6xKe2IUjDnsvrH9Cs28eryXFvmIp7/lehQ5eDeg2ht03V2HNVmtwEXl5q7lQTauLoyQ55MIiuWlkUlHy0EeLLv3MNjcCWsPUQxyD2Z77iCF0rC3fjJtW92vicslfEz4Ztax2Rr1eebThe1WBDEAkDtQIFFM3LAZcQmcenia5FMNiitQYLE3/2yMoMOYkIccSs11byvQEhEP+qu9UeXR/N1+6RZNtZk2xfWVXPD0pQOIvB3nRs8KvPTb1rxpx4tAaBCkxN9UMcdhWmev/Qn7BjIvcvbXVKts7WuQHsA9Hm7m6alw9QV1PLa6FSJZs5s+3U6zarYsomMzhxQoHDOwZGwBeiGpwtzWN1FuG6dfACjJ02jca+MESEO84+WModE2aPVuX5GWUW2vz2dctULos8kOvnW9Hffzphjvljrq/Vd2XCnGAuKUhknObiqUrzhjuvlK62oQLAgw7aCuJfXkbTCGO7EKQ0TcmNijCZ33R9MyhZvB4FNrBQtw/nn6P7HYZuEDsBcTZjyTNmc7NRdMyeqFbpo+zjVFBpNBOPlY9dTANiYxmuq2V62WKiaDkhDBOpH9apYsjogis9+afmAa5b011nuonlu2i0yyK+TMCo4YGmrobb+XQoxUD1ivBQU/J/lIiyyOAC3TgxvYsd6JuHQRYjOiUdITACHel/FX56UPhryd2CzdQ7YSdysXYZtUTs3GgtxwuyNINah5A+kilMCuVkqPktggvM+wLufDytvTWqpKbhW5w5s+KNTo7Bj/rDCetwRB42pWVttp6j1BZ38kKq547pCkh90sJ0il3mpXnf8EiVHKaqDR7eruu0JNxmxiKQHK7o/O00+0Bgx/Y68IweoNgATy/VGqKS2U1csGZeRgeGuekBXb3Q2IbmBQOa4TddxCwCQFIY6ZYSTzvp8X32I0xEexFJVNQmTI0rflDpNlnIA0VIjfbzPStsW/8R6Eq8ZhwbmAUrmvj83CQGcDF6lPtI65uPf9ru4UoGaOOOEvWgAT4hvz8tiBzLCwqlZi0CnDSXcbcAO1wkDHur6xJxwURLMtrCVgoMGBfkv+LqZ58lgCgIq/LC7x5kf1Z1St8w+dCwIz61FNKXycGGMCY7UFm7lENQ7OCY6++myUrnjij+xy5W6I3o91JR7RGCDm5M4WFchjem6YjIFEU9QGU6VZtwhaseSXYjekTcI9dqp5spFYNcETcA0HCsFtooysA/r2m7/NPMyD4iPFFQKW2IE+GlOvCF3TUua0AYHr9gHXf1j2vOctIg8k2TGXi0TUcRpLW3XrubadTKCnJHdVTFs28Ln5qJ6H5iGs4uF7sUSaiqGz/yH9y6bScpeYJ2cvxA7TPOU7nnsF6qJyvaufLj/sUHNekWmSDGNv2xmAyI4jBfqRD+OZUbS5aBU9Rzy5n65I5oVOPCadGt6i/2rD+z6NIgdr3oSllqwqJr7bHjYL3JltvDqPAxaaN1uL5XUNSge1idA69dF+7tH1j3UQm4EH1lODv8YGKZ01PVLqbgOQVg52eVbyV9yq/7V4mPsz3CfOTTqVpS8LNXuVTBQGGP9NQysKQbdr1Qpz1/WmqZPRLMqYr+sGjKlemNoFU3JVK7mD8noryxup9FUd+p6NNuI3vGftP316yLZsPcWTUY5k++8PylbyMjr2Owqb+KLzs9PXvEUqwD685zto+HXZKqzP4QN/Lnd2Us0S05h+D7ZHm8X86rsNoNPBqLXQeOuU5Tzn8BgMCAPdP4dS9V2KAUgsxyXw+hY8VSQZ0ufcGPKx0CAJdxqa8z3cUr5Rc67mhwlulQ0UsQP5c8O6uMxBCzNIX3slVj2IpnglwnQGqEgm3AOsYgYIe+WO09jYWOn84qFTtq4FqMzmztY96IVMFkLpDYZxpH3WCeuWrbHB28xk795mj9a+Eyt9IjbcYrUEDKg2eehl6Qszj+gUBqvI1vf+ok3URZkHIVk+BL/BNcF2m1Wm3fnfd3S11TFxfHiDjDUFkYhuSe7RiygVkwLHoLTxpbeadFpAq9tjCnCTLQgf0PO63lCRLs8a3jRTrPSdXQCvukHcyZtKMNW4Pcs77FENSFVFRXyTTrjXeXkY2VXYkk3TlprapoV4XWI3XPOXphVfIPO+X23FriTr09G6xIwLtcQsUVeZbxk4cyGafgzD8nPOy49LLmJpE9PqucYHaRP2OG4Ne0jDOGWSfE3iizYCv4+M0to045wHcGZsvKyyutLng5iui5MMCpMMFdZNavIJSERmbkjbUrT8+BjYQZLplDA3SrpGJMuZQEL5q19GM3GFpHmJLtRIrBF387vQObtJXi0SNCQkgP8ediOH3ga/7q3BU1Jii/gr4NcQeBVBMPPvPYA5MLULwWx/Ls2pDycG6L6GzZC2L4Z+SgNlICsFYnNZDP0AXOl/rvHZsfBp3rNKZWz6zyCimQu836RxUjCKEDxeQw7J7g5HSrGPIAACFGfeZNV3SEp5Wl5KpZQ07KKMHrPL793htyuWQJIf9nTpTiAt2P9E61wImWB4uEByKcHdhdcwxNbQ4WcAOElLTama7mKj7y4pCENpEbZ7lE1zs0m5+tz3pH2RCy2MWcu+clvMu8I7iW9d6h+YTm/NoARQl85I2rgnGK1tR7ro1GXy+RP1pvKRn/S2tj85TsZuKJ71x5saOEIkZByK+JUu4IXGHUh1ZfW4gttl++bCO8md9+tpm5+EwFonaMymDhOhkaM34GL6afx1WnXmG1gVv2uW8XFR7fAovsQdZcP3s16D5ToPPQ5Kt4VyrZarYePZlIBIYRy3gvUKDMU+D2m9h8R2iOroODHH7OH4E3IBvmUbBh5N+wcVeinFJEmnj70Y8abxSDSW8j51cWOySteL2Q92Qi5EvKqeDHu3mZAakqucbBlpJQzxHsAgYvhQSqPjX595OJ3jszPt7+HqtkZr8Ak+/T0GSEnNm0es6ZpAl9wz8C3adeMrvnJVssgXr+15NByIUFfQqoJKFga+iiLocUIVanSejx3POIFJ8FpH8AhpfCFcqwkOQn+gEJpdemvLfTVRY7eQlDVBjVTv5BI0JN2xf7/ZHbTpf9sXv8cFsodtR/jX76LDX5S9nQqYhXspCJ8cSbflQF7Z4CDV0W6OlAJoKqpZ8oX36L8RorYhdMMZEQUeDQJI+0o8mTEk7arEpBh30lUyxCPKNRwZOcyv4s7VxqfKRJA4zYwY1/+WIrdgMDCgf2tWobYoQjvNYIgmlShKoY2AGFe9n9nXPdjmkyP29NiwTdmkkOBWcCBFoO24Gg9Dhk4WTb46Xe37cJF0C5vv3HexA+OD7Mc/6U5DTacrxik3I0w3jpUvOKLuISoCx9hkES0UyVZ+z6eYmGbmWvkL/HGRkZGpYDeYRw1VECymXKf8x4XcyzaJvtuYcankWDhwyM2Us00cXsUa9pGvCtrDxre4Y0cua9hFCJen91Vi8b7Tq2kpJfncGjOhaOD4SqPuFV9Xs16DeYZ0tgfJISCaGRAB5MgredfkBpA7r0XzYEI3NjhdonrV5Y4YbuT/d8btcbfhBFFhV0p5001RW3ky+w2G8193DxEeue2SfsnUJXRmmiTxCs9GCkAE3QCDa/mudyI1dJARYc0L/UXvQD68hT0kT08mjeMOek1zalhEgzMp0aRSyvfBsEQC9cvDIyOv9L2w1a6uLf50nIflY006HsoZflZzU/iIBSgYqueFGMrON7tBGX1S5sqm7GThTaNFXsjZxxrceMoUtAu+GNxUQb1iU/rLkwNp/LYcypWF/bl96aUh3HFoQcq37doUp3Qht7wQyzkhSzjFEu6Z+giGyt8LBmGJx4GzeNtwFKRvjHKfOheDQjS45S+x6p27DPyQ9UDvJHPI/sfu/pv9h2EIGnR3CmaL+YmcFVCph/O6RmM/mGXHtUm80xTH3m+Pwt09qzfQh0V2mbsitRPXeUXjLoG+jv/VYt4M+EkhB+5IpAo1h+EtT+Ovkqhq7jZCmq6hVOiRS7orc/SRZDGsKO9rcRP76zkuAv3x5z/7iAMpB249ckMlPB22DNUQ2BoV4xKx9EXhceoD/L2jt9k2vn93xlNbdAn6I8Vm8ab6UH8MSmrt3BUObbEGuH0ERDq8T/ltkB1ywHXHBT8CK0sLHFa9Gatt0TldIAUnABESahjkhq9eD1Qzc7MrRVfhjRyBjkvfHdrbRZxWBVHQmDXDYp3D/2x2UhWL59+0z4jxqYenUoDk1FX8Z/zoIKU86HRC7MtFzoHDyrGvXNeRkrofjFCbIFIsJMk+GgaFtHAWgwMa7b056QrsjU61pQbyQJncPnXhkGj/U84TKiUS7H6WiMYC58xtg8qAs0x9Rk6tXq6ao4hDtSKUniqSQT3fkYLTU0jQjUtYhrrk+zpcTK1Nm9WR1329x8s00NKQ5kUgJWoteR6kZdNRzvdM4IqV7aV/QHJ7Wl4CA6bTzQzViaXbVYJQEnt34cnF1WSdJrh7TiUlXtKwiiS9aMP6LiZ+KEsS34x2NfTEL1M5EypGR4LiSB5+f/2jymQm4uY/Bh5TFttWQqqcs68cPj1mvNvsRzgkH8mLzent+4c8xeqbcl7e0tdxBrdqt0pWZ5Xog8cPTjiH0js9adcKjbLEuTMssmcrhJwYaRvaezWA9EanbVg6PFwoRK0obkwK6izM/x6F53u+8ZQBS9mhOfkZjDGaTGNZLhLllkrS1f3bQqMGVIw5O+9xGN7FOOe/Aacd2rcyK2+3RBvvq7gi70G5UnKlFrsWSRLzLLXzl2395pEDYqcgU9UTUe+fsX7ii7JW+Qpg02BhjdeORDqNhYu3o2cxgsCu0MzN6a+XQ9mtJ3VRf3mOcZHup7a/NOdvTbHHw54vu+YHlQ4wyaSllSJvCt5YVWC19dt43UKelA7jE1Lyr2tk1knrEyfnqmWRcaStjzQXMAEBA2pOx038LgpWEItNF4R3uzjhAh2RLrGPMDTVhDPREJjMmWF10kz+4eVvAYWvPOOlX2SsKIgp4ti651F4ErjYEln+NCxritmpTL64DyPkRIXY6Ksp3EYYUJY8GKk/BZvYYOLfM2e5irF+aS65jdHr0AVN8zRQtJGrV/yjETaTutkOFel4DZ7DyMh5eAvMhHEsUglKy0RFczcLZBss27cdcTZ1SBKPuRVZWwgjt/pnxt7uSnzuEla2m9EYH/asQ2A9x0EOZgU0VRfhoH3WqOFyqT3IqQtGiUKFi7R9sS+diwg6pM2MgI1e+FDTfBzhqP6xA7/NNxQCfVtgQh4T0oS/UnM+WQ0ANm/V3ykAxfxU7VwOYsexOlFf0Y8WPL3aGWNw3edJiN7HwsDJ+Zo8hOvC8s+IDjShzgvjSDtIjMHzCYEy+/pvLqFKuQ1S8ufoKSn/p/b77LpfzPk7f+gXbtr6hQoQlRXUT2/MBKf0ImCHyfsI+tJDnwCF84x0lvEAaI4Kabd5isIUbtSTn/oF8b9ZvvQsqWUyOmMx469qCTEUu+nYT9nhI56YXCAXoI/uVF0j6uC9B3sjuOu5GXqOG2TcR+EsdU99DizpvYK+bSPXPunrXbT5U9KPy4f0qZ4HwlRx71jbe8pZF2uh6ZeDqRZ3HkryOTV1rZ0tiJTE6zzmhjvQDrGFaVXeH10H9khmWAwE/6k4HhoxXFSNK4/eQW3xUbrY2VMsWHGsR6ARbqROhUKL9RhPEqVxZ80i8QBzh2NmEuop3gGA12pz+L/C1SL2rI6lARZe/CI/PWCOs7GKtxXaV4nifPQvAsdm1UzImXl2IEEYJBi12XzkUgMoWs4GhvkYoI0qYs3CHsvBwsQ0OWs9OmnHXD+RsXnnfJ382ncexjxZfsnp2Tfx5cN0kXmgNBDcrxZxcehdPpz58aDhq9/xpeg4TTZeOtwqc7xhxT1hLK2lLbDFTiYRM4xcwKNWrcadzhCV+cp5V9Y6nro7R5zmoPUwtjlCnFADhNYnplb8d3nFNgmmm/Qm7LuHd2ea8E7sWzfmffgW6y4jarMLpwLi9dBBNmnM5p7ubceCPATuWeHq3ZW1fL2GUiB0OwOKtZN+GKOXdugHe1XIDnFjxaAhNqEuQ4fFFL3q/SxFverLAuY7i4cAq4oNFHKim6RoyxmjAFJEkmUrnYy68HT3EpbcVf3X71EOGpwtVaVhaFULbJNeWt/0NsgEs8+iLGRL3mOMXLw4ULu3Km2bgCCPZPHZiM43RYNSkgSfjX8sxfgbwRY8OBhNJC/DFr/8EAuJQaKE9j0tUQPNsvfFVpKzUigEdtfXRo03bdAR2jy1k2fMpTldRrg2OqN4ZxhKu7WklkzOGv7GolKvDR9K44QjDpaBfQ7kzljB3VSCHlcr+vnmd2AcV5lt+6KERxyKjqH9S3U8y++zxuTaetkuhzcXto6ecf0yRcML30NgIb0rlCsZbOJbEagc9YRfAGViabBhv6BjL+DPv5mvF21uWSPEA1wLn6MVJ3URvuzeZ9EjQBLUFEvwD+XOpIxvcMx6RYakVKguNXhSSYfhjTcXagdsE5Ef2tiI3fwsquMe514hXuU12C6ktROtb2sFsoJxzgUOkiTxovycDB4JWi+DjU6qbO11zDHBwrnWCYHvERa20P+lFSWzaDBjlDUmWWJS4IbxO9Y89aVoTuah0VdNSOn6NzocpGeBigzUJcPOYUMVYddHXKo4xgqHOSzNcwYkxRD4QH1jmga9mQo2YiFJ6gKSzYj3M03reeO4EwQIjrbfRyeXWQCvZGm3odZ05YcqydpGdoWw/DJdCGnMx5wVuv9kRP8QhVFFatD879HW7rrMW0frW/HvZLfMLb+WZLoobEDYd9DCsU3jsPQEsOvI2+WJrlFoWJP2J3tIuFgPGNAIPPDWK1goGsRu4HnxKhD7l084UVHV1bEes0t5DC4kg3UwxwxokyXK98wfOUHG+QQBQKP4eINMerUJbnaUaT0KlR+6Z6eRbHCZnr56pRS6asdFHdI6QfKsAG7g4gmRdgYtRrcnub8gCZFJBDoK+1BcOlTK5DM7/o30b4eBh1UBzvlmBVxDlz337r54nXlEdkmxcU1Xe38+Da9nmHSKpVajdoC7gMLB4cB007M0gObemuHezkeDYaP7GdgAbzlnraVrQdrNLjYQVCS4eWe2u/ld2TWjauqmZTK7xu8MTDfJYa4bSLORKXj8l8G5tiX/+rzdO+k+PQfEm7HUbxm8GExcP/0/qeV2QqnOCU2NZzpImoajsRsO3E8QaGz6b9xLXFGEMD16Ne8LxrLs/uL+6KDkRmn7RbpNslAMGjkvMsme2N37BZFe6/GXvCGdEgr5AIPkZVrAz1RYCcl5JLTlVHLhZQgJ0jAcqeYB7r2OvGKJwVkBMypkHVq5AcSx7IBo7dMJ7m6yBJ08oV4vyiAZhXLtVbq6nQ1UYF3jDHBsvmILe8xXverRR3PnxIp4asWuPtNZ67T3nfxFBQHNVKzUAq6zoXbUEkLD8p7w1ZSs+UrO6M0/UkBikxCwunSToHN5HirpecNoikE7+DiErZbBMhoOXrPSak34p4vqkYAD/vnlU9UkF4n1OVoG3CEtZvBBh57FhRJ2tUPstynqlJtmRn05dTiNs4bc/DjeWUEHpKLF9GO0NLG8Z7bIOJZEwo3nuR3yB8Vn/AmCG/18e4hlflbfM2vIlQ3HgGHUE3M0JTsHBMm3gkoP1m4hCwWSWSjGVeNM59NFqjza8WlhHsU6RS4+Z5azGA62OIMA9WecFbP3sHS3Tl0q4gcYA4r+ob81O3N1t2P8tk8vav3t8ueJw81Y1/DvhjosKvxY49Z7tpNuv0UTqV0RIVBclFQkbJV5lz2YWfxUkJckdt7jKZJ4NeXiDKyg+0g6TgrmAHxz6JzZ0WgY+/+InojDV/LDKLrtQjqClIGy0F0a4IoPzkvdzGQ7/TEiObw8AioHk4zgP0zGK02IRIT4jsViAr+m3Zqx08R2OJWv4AuN9H2TVI02e8y1uH8Cf0kYnspFDQcqLQyUF7or5Zh/R7+S3BOPUrceb+qFd+LrshmMyvdCDqqkDD/BAKR4JaqzVgKzUfZ5vRfQTAocYp3ft6OFEG7HQvndivRBlXRmzbLnnu3doiOgnZ44FS4e2/Y6ERsKir/lc0e7k1FQ17zamT0LHaBe5p1BHObnnf7yjyOJ7FsmmVTTEmkt0tEHx9R/d2Ex/QZOSXps2YGfJ+utgF8gRww7035aOMHJnaN/F5W395GOxP9v5QwWSVkKYssyT5TgHk+lx1BIZ1AnaZrRFJvO1rD+KgUD3fkqV5cXhxa/vqicCLYPxliwzNkWnrSrKCoYPbYh5/pbS7MP5TMs7wvMmFA062P6XB9Z7zmecQng6SyFxXzXZSm5UmmIVnc1cR1q6fdFSklL9MZULciYw0+fb96MFJ0QjOGoy/03i9GIMHe83KsCeff9lpATPXzKuL6WCn6mmm4bMFJaMxxVpJnZqFfmMXvYoPK/5KMN/okCd60wtFZ0btAOlljK916EDHeu9XI0trWl48H1UQuyxttl97zcyhMUdM4nWLMcN/uoZC7o/lHeVkSP2ExkrgkHq48CN5QQNrnIVIxU6OvYzC/ZqwmJGVTrRQ2NgQeXeOsRYfg6c988zqgeA5Rfu77B7NOdGo57RuxJVDj2GH+HD18aQB3k0iwE4rMmgggElPNK+siQfSxDkmG18KV6C+cxoUFSV1mO7HDbnZ4CgRDY6dI8QTPFSv18TVmNiAAwODhB/pTRiZMJxKxr1CQS9hDbdKHiPLH72bOIeSXZBJUfjaWg3Vogy6S8UuKRXEEDbM/V5EEXPa6hb3ibnXheToDHGt19uh8RbeO8gt42OMyR847oub3D19Yil9mHg2RUT5a7viT0Ai5h6ubMVURYwzH977xUvWmErs572cXuJfLyeADLMwZV2FoGws1UCBrJMHUSxeY8xo7zi/RBz8BsiyGbOsY2ZvLuedoBzlxbfgkV/jczwo+2AY6NKX0n5pb8lNDUDbnt91pF0CbMWFBU007ELwpocM0HCgNFvHhEWx9mrd7LqMGEY/LDuP1t8/VDiWrEsoEmfsH2c8hOoYPkogLpifyb9fBa0AoS+akePAN1+DFcLtjfFvn/o5q7di0aUdhQV3sPbucy+wohlXLHSZE3m9NePwnVOOTKC1KopOKsy00FY52Q8GDwU0JIPUUgq4tQGlaJu0Dh+alhieOfG9jJCT3JuCRd3l3WZjomhwsjFyrMKyM0FzUnm81EwCb3aYvYVclX/xZrpwaBpgBma6GxBTwE9BRHb2wgGazvP3m/GfedOz0bEwCJVuP/NjX+rN2/+MU5YJvsgBzQOJ9LbnpTsE8D/dxkpMmsfZW49pIRQaq1IQbYFtZR1SMIX65kNIdv60Zgypk4RmQ5Sz9aPH3XhwmvDpzAnsEZZXfpY9e1A2bFcdawMXYBY6XtZo2JA5S+OhQaiHqpcqRMAVVmUBEYaV961f60ZoZAWz5p2vr2xeeFVOTOP2PHpeg+nfDvjccmsoK7YjQAih4inUGYex0TOp0LHbQjPMVyF8L6gt6WIkYDPmvbxpVr7A9XFVun6LX2/N1wLN5a/IunqvqXJpEICG2QplxUeY99Fn5mC2nkk0pt1E2Du9Pj/lWb1vjFNuiWgKjvh/h8+EHl/d35G5Jg/ALlLeSy7Vtws3ImfxVDlcN+nUEuTh4T221cJvKa8OBqe724FStQQXc1hdFm6EmxEkuZDBE3NSDx6g7X0hRk3R391XQaFggVXnhfQfUAbOyVhNiPZuPJweh/XwCIyQTwZIJLODoPGJi6BdNjo0q7FqmgYGUudSeCXgtsa8jzzzLKsjvZTYvefimOTclQWcCmKVgmwhGfdAVEZejedh0jFJrnQEjjwBj8nv1O+zu5Vjo1G6tg1bwTfwIxVSvojiSgqJGCSbc/rDt0panqHjXDqv3bO155TjdWMScTz96nJBsyeZcH8Zcv87kRSc2NiVsTB/dosMvykAC2U4XWNMIHp/DrD4nTg71psZWttrkqCQ3Xkgcak/bS5RETQ3fnNUhAFcM3bA0Nyyzb7iyfs3HEzL2m4nc+ixPhkFxZyc3UsYSuzqTeJg7Pfpc0UYurl0tak4vl2odXoFndSYsQ7AswQUaToEUyQati2X659NjNg+Ksa9loy5Apqmz/ee9xSyX6cf4a+dr7utYtOSNWGJrE800BxClWRemRzPrFc90KLELwLKe55J1hHbYS3Spfy7frtkKox8iO3mrobuSNnvWU1a9q/DoWyoHBsIHdT+xnY3LQJMR/J2N00qqe3nbW6y16WkxQ/CqgNt6ednRvUrKw6LolvBpaXa08mZfYu2v3NW5TsCcTP2kGi3ZnrXHK5qF9qh0ekq6rgiD0FlwRLhfvTcKqLqpJJB362086JL2jRLUnonNnno7Ki+yU7LdODSkcHmvv56FNEW3z4RC9qESqLK1eaFM385H0ogxxB5GnU+0G7OnzI5JtNE6oyPLtm0GnT6kteEsRDiIr8/J5ubQdKn9g6+LrZ/I3sw1kT8Mb0lWPiFO6cTBtLAAYNjh9gCBLdncqyH6Z8vZ8Syw1w/E80qDXb+9b5VZhntu/rW65i1e20qLwFGfej/ZXpOLFMmY/E3z2KF3waa+PNLJEtgrt1Vvh2C2WPAoh5wgCZMCpL0NCE4nh8gKstS12gxJSP1vdc2jG793TDJYW8OmX9T+H7LKHzaGRed45yRrgTI6aUb4s35sJSw4konWRj/UPfTyurxPjdQQcpYEuDZduP44v2YGjLskekx8+tw3q3+IxMCJKviQXKpSXj7JDzChydsNZD6ujVapT3vGiT74p6GBG+X9ay1l0fQ1bwKb7XpSq+T0H6/2n6PvbU3JXDb6hLS3PFIVBCUV0Ri0pf1fgo8zp2qiYRRcqZanEojiHhCHrE3Cfy0pfeRXmYe44gdVFfSwxiuuc2FwbV38+cKvlk6EXRbtoGAmifwxQkyI7tYeA06J2JTvq+Oi7YPtfeIsN8koAquG/TQncnJOAVMFTTyzjBlUhZQi8JzIfyovBdskF79S47S0qW2BDgrrCM1Of++40+EFLgLYMm+ZogoVixFcxEVSX/HVB3Wc2I0BOmV2wDKVJioJZNj//WntgLkcWv8qRVsVu9BmUPjboBRbmUboSZgfinnTkNGX+ECCzVJSNowY+YGiRZYR42olpomL7bjg4e8QBenQXNilvTcZdso/hbVJdMKQ31cEfi1VrLDzLrAS950z6f/w0Gak68pVAcZaS58CH+w3PAG7/SZ1+UBwx1h9wYhSC03Los3+c1A70UPwWnCwKv77wgggEXnKWX0nLgltlJ2ggs5khwvhHs+x4aCLMuaXy90VxFYAtLYvYHsmnhFnmQeR5PLYEKK9LMjUl/hIQdtyOmMxU/e1HGV0wgn04jgKltZdoGrgjJsoweZQzzhNXoOe+MrUiklGldsRXd57LnBQWN1vsEQRHVyT7eyfpUJfQQCwd4FN3zYQ4kFD39O7v0e2EvMOtAPooyyAZaKDSDsYlEiDCjZeQ5jrC/D0iAVlIDeCUi5DJ4EkEkwcUIq0AILebAZE2M5MTs91w8O0f+OitW7rkxRlroRVZi1J3hYymbIHwaF5HHdZEBr5zbaAQMGNsuReU54LaPTOuMYTM4iUFMXY+bXqx7ymPhdhQwhdh2MXHD9dycGU5NulOnkkiZUv43c/dnbSJntay9MwL2PJzoiXCpyumXaslkYUpKfa196tvJWimoQ0Y2w7Mc9qoRJyc/4QNKd0ILEWDo4m2wazSnXiuCU9/HXCL2ohYzuH5/idU4v2fvJ2U9zgPENExyCqYYMrqYPPSD93itGqLehCBiXJZ+UNqxLX54G9/8KZp87mVnuf+01uOTP57OW0p46QJk3IqXV+aSsrrdh7hGOzRVNX5kBIulrkL9fD6EWfb/4PmJ/D1i5lwD9uIXczNotSvpndqwNV0+i+WIkI60OfGovdKOjfbZgqSPia3Cq/WDP1elxpT43e2I3wIjBSC8LeciRpd5y+Li30elSDErE0Rc6HjK15DpsGIkYWD4ehvOz17U8Uj+wAglpEWYCmH/oUSSJD8FzResGmhMhaeZ/cfoTn7+L1eOwzNmxj289/5bOR7g58ebe48mldmljUoNv6krCRqnKOsxRZTfCNPJlU1bEEIfvCmiVguCmYpqayiAQbr6YrLYW4e3q2pgxJgheUNf6ZCuMbgR/vRBPpJglM1X5B4zkQcKVk4SA42GgU29xm88s3sIx+POC+dMSFzfm9AjDG01mAJily4ZXcTRzdo5ze0cUGqArhMRrnXSXElZFk4yTI1bH0WA2nAqolHOrZ9jy8bNRTFYSgdSr0QyiJkfEmGGxkv/nTLkS9fvhwYhNMkRmuI+wfd51MSZR4W7qS2apNtayNnU6xoEH/KzMO4+CB+wfe+nBwtoSRNkzxZR/794JPllDqTGOxeNk8Nh10ebML/5gf3rEbG2bC0NSBNo9URZ+Ru9V3ln+SsyZJWjwsuv3u9VeCDsT+rzJ+PZC7uzdpjfd/vre9hKB5vlYKSlB197HBT975QaVvUdGGWJsUTorV01JMhGz6752/QqAzwAJ47q5l3axl0DnwO03CK8LV9cIgtqEHN0LpXtAueQC8jcZjonmgCVbiKUceBbSeuzLGMICjHPgtu3Nm+VTRhpsnyagCNwfkFNz1H7hVeVHyemA3AmvgmsF0uMWhNVgSD+ieTJj4Mzhfg3vuXIPWZVx1v2CV1qLhYY67wTURBSJYFRyOXmiG3wY7ntxpDcrVfKmGseY1pbc/kboqlU9QmbPVg0On8nNlVwne5l0OQwlzReBD+27i5hzhgyD/QOM+dJFKMNuqmzWi7H+f28GKHNhdkW/4Uyk6HfGbt5wGeyflrLWOG3XxgDuktryu1MrJcNPvcwSodPD1XseSDVZbEAre3hu3i2yzh0o4YST/5aFXjG7H8oN7YfHNINLtYAw2VxGNNS0KfuyW41hIv7R5++Y/TpKIMKgvVo9xExyp6ZdJUsBk0M3X6e+i9T6gC+4YR1ETU3bZ4N1YYQKDMr/IPRepemkP31WGnJCT6GiS997HjQibIU8tEX/GKDuphRQ1xJEKng7pb/fyO7RiYyiXmrJcTOFOkpQNjj4BK5R0mNUgc30Lh9Rw0UfJn+vYKsorcScUQNcf1EMgrml6jqpMvYa7j0p+qP2P+6jxm3xpp3MseANtbu0z3VBSsfYfWr9UH2hOVEV3AGmJ0oHTfke1dxDC7UTa9XxJmZQ3AAZRzFoitoWPsu1V8Pab6iT/Z8vRwWbaTaq2Wnx7ajATEz0n3+e0BVxavHB4n6pV4YWoyyB2EKNozRydVJl1wGYVEYrM2vC3Gq+dcYojFviUYcdcwg20AbrrXhn+NclH1WIiXGxdNrVWztSIAEHZ0Qh4N2JQBRkxWg8tD0jVRLvZIy3TKxvUwiWNWBG0aVw8PCtUT56ulnC+cGDmF/Cg50pKLFJBa8BdoXDEM83vHRkF41slJ8LveI69/qfCqlNZWrU/KUqBEzSiCjhEXGGohEstfD3dlWVNQeI4KGwTsMIlqvKnwH/JZ4OLtyFBPdHlPOweUHqr3lY9nHs75AgW5T17N63tH2mkU+FXQr/4jUYNyMYWPkYCuU57I+K5xIo/lMxXs12x/0aXCcgzxpDm5dsrp3L9liPTC5kFi87rgFvAON2YlmlmlrzR+wk6JiU6DFvJZTMKfrT2mE4cDcuiqs/EsubDJ0DURluM3Zu+2G9cslVdcVXNfijoCSst28b1FNZwF56HaYzmw0Cx/GTw1QYj2rBU2BAblIJh/E/imYFN/uuV9liVkttQ6K4DPl9Z0vPg73sK7I5XE9I0PSupjtF6TqqDddYIu7dSs/UzJRqSRVVKKAdGqeeR8I9jtk4GmZiosNdSHQlunP+OmzCFiO80SwW+h99luItpQUwAe5WzdoVfxirkfIBWGkY1Fgn29Zjj/leK30DrF6+X3QC3j+2k2H+8IQmp+RPv7NZFSMcVqEcEffYK8lcRL8A7skcKxzB2HPPyj+eOCSQMeTaR4QZtKxicCV+bX8UXPuj5CcG4d+HI1w3j+QYrbzY/NMXNqiAzeet/Iih7yqzTaLn6uBeJD9Q8DEPeELjmy5AHfKVw4A+Jtn1yVxizE/bTtSV0i1EOORU18Su2w5PxLxqJqmEFistvL9/RXUPAMXU18La3YXcjg+LCNPyp4WaA93pnN8aVXaqEfxOnvHMZWYN60yfsxwCfy6R0FvR5z+fCh2TsICFvUSohAgtfS2O3l0Ik8I1V8WsVQ/xPcCIsN6/oVSgKfMBsCa8P1I31m2leZ3lOiHnuZ2+gA/X8ibWGoMesSVznBHTDGxWmKmwt2VUhCWXgW9Q3n8yauHWTELBojbvojC4PHcyDoluteWYS3naymfKU13dXt8YmT3lUnVzukD1QabMBxylkWqd26Yesv8dKO20KXdvT2GU5ZlRB4IED7elOEEk7GzebLxBLhXJXGsKBKs2uCNYo49rE5D2qBOnWhWmUokEwhK2oU1CVPxHK9ic+n03awWlAUCQs5FeI3M7ZeNVHQlGqsvzg+q70KOsYUXBGqd43MGuCLhbtVo1kxXYKUvzwv8Ba1GwiW346t2uvnjIpipuvb+plOf71z9pMz2Sc9LiDTtFe+7PMbDlzWwnehjssGI7osJ/0nz9g+kiimc1fjOHpqfKwxRLpj6qk3D2Ax4h6QVzy8/NuKKz58v3yEzbfMJOPXvRB0iVN0Re8nL4lKpB4vzLHTAXCPExgrf6hoqlRwPtjE6dzwIgeNtlfTDr9rxLtLE+5T/IhNJLboZ1dmAEVNOlBwYNWmzlS9UYzNfhJ28cIdn9ij4MnLlXg32oAcZDwzJqFNE1Qrd6u1aFFdZNWcyUjdkHqXnreNjv7cbA4neUjnxIUdXla3U4OPOoO3cKF+RgHi+7E5PPXw0A4F2rWUuMpKyob8KctPF6BtQ72jzqzYj9U9GCOx40adz/VFG5WHhy+6okTWs2ujO+6i+82b2FUrhvp6/S/NtuoSt/XvwBZ8UHADoQciti0IdX2uvoh5DgcysdgYdrWGGeUAHXL7T8YuOlQZHJk/TXoJOLJxFsVpAVo08Hdc9P7+ZXwScVGi+rV5DTMGAx2nIZfYHFnKOh28LOY5AqLnQFhsWFm5M2kXLS+WtSBW04bLipU9u8X1AWSEfVlgRMmOrflYIWU9FxTZIhY5PdMEgd4DsX4wjnwGIoJtZ93NZIEJOZLF7gTL8H4dHsRRhSMVLWiT0T+p7bWGzFaMzM4tJN2We7C9zbMQHrC8VjenJhjzBkq1H2EIt4TrDvUhVOXJzXZLIzcCZaQjY1Ah2XnsHanjPsUJ+eZlqoSOV6IIKRc7m/yY+jA4dnMWWFWrB992J337nXUDIzvGEmYXUVUoR0Bi3vOL3Dml4uie0u8/0g1LlMl14Q0tDNl6icbRFNh9m+TeaTNUvJ9HjD1QKopAgHW+qUUDt7kiHYUANhjzyZKYojy6aHPG2ww7kINMJ0f8BcZfcfAO/yazM0fW+ifgG2csOEDLkzLNjASRXUrlMEY12HPp0YcvcLBh9PKY3TiAjiGvJwKIaQtTUaKIEH1LkWmFbInyP1195sShwcjfltRFmAe4ttCtJcC5S8s4AhPqNhdNUX28HQCZ1+iX5ExOC/tt11nPhE1OkRJsu22WyQcbEQq0I5OGtxIx49JFOqoxmX0778ATF/5f10et8APWT4zTgQ69pSngabZi/zKnMBUiiVhfWxEacUUnnvmlmjs73LJOdWvu4OIp30EJJkUeO3JixML9nzB2HZpso9CNS9lyD/5EgFal9BoNSTJZEKmxMnqTGEEXKwFHCpKMcQZTrZrNWE0YvfaG5K6VaixVUP5fyqXiOpEpuc4mpSfEBWIX63WLLnUOic2kp+yasJwXS4iFiSWis3AAX0poXPJK3kZbKk7XY4zdluZi8fIJCIVEONz4vojUrmkCKFqSLRbTltq30nfyuGPT9OSIV4dCm/9wNPjaCrWPpTtC3Xew+S1YU4BIALdq94TYjGdtneRSq1bfBFk4dGiBEwtGbzE+TNIOsbDr7DCU6APfd3VjLioGbV8qfMkvvXQUW0fSCaJDR/JPNiNNd2PWzEAsTXTFBn/GQKAPl2gi0mM3yS4sDiEZkknOnATOHrzyH1gamn16PZ9+mzIAs3kn60DodBeftAUqCDKdY0xItkiyE6glHMA4SuXKG8LaSK8K4mqLKSMgSJJ8AiATPaspvLTLag4V/jwx5tv5qt1jahhNOeSym88ymUDKUk7QokWKJQzcekNtqsY7Vaa7O3O51vP2fypvMMDRNKequjz6Iy305NPW4DqmNd43z2SAoiDCLVF37ufuB8pWNPjpHKHAWL9z1K1Lk5DjKfE9KFvxpZF2o5P5ruugtFSWPctSWchXbYwYJMEg8BCUf3tMgEC1exDFzBjIM1iQjflE2Y5un7uqj6Fo7acur7XGaoVfIYC/xJXVeBLV7EgZOJxiMXyTTQvFlm0kgJZZ/ScGkBOyandlbXNbA3TeXWN08Qi9IsnYReHSsWEABJAkWCN6e5rtwOXvEqf4x+ImfIENqX6j3+Mh/g1IVU/RdZmoQqczrahpdZBRTvcBIlx/ILoK+/KBz0Wz+QnG4V4w8KDNyTFrFxPXH9bG5CCzdcAlwr1h5Oh6lsR+Y8el6Itu8KDrkbenmbKkjwIIaxO0S2SzgJem8pMB+t4MQvMiMiHOFoo4opKphD/Pj06JXHZHova2gMfM6WhgxvWiFO9xpFEW/tFg3SXvUpaA2R5Ro+0V4sTdTFCkH1csIvcWZeHFNu7ekFYs75xD7NU/8UJnAKWmh7xJWwwQTGayd/M3a6AJLtxoHaU/LSz+bH18awN3YQ5PjvdgI/Jn2k8/iwpoq39iK+H1/mrT2+vUjLk7t2owO4FJq/6mtiReaE3aDQy4vhRsdaPMXTwNlHyQi+jadJqh/Bt1ETQB2Oc0lBUVu1xRAQcQD4ibBjy8+tHWIAjM04GxOLTPGi5Ck4ytK3FXfS1JFKnovDycvkcOgb1PsT//Gw6d4BF9zo8tqEU0GbV9gUsdWKDshEd6HDQR/124QUzn6QTQlQwKhyfXmuolcl5RfbJBpZGWWIGpORS5vmxxzkbq0z9l7GbXxqrkiqvvBhRPsNG28GiP46L2pUSiBq+fsL88QCtAg8ag54CktqnMmRmHCfYW2uQQdAxRLg+F2+Crl0lGhAQPSoU2+AEK0w8ubjll21odcZLIDMJFWbDG5+p2EqtZ0kuMYXcJew5Xs9O5S2oIrb+mcPuVYazqMDMS48UFhB1K3EPr9QdOidsBHZJ2/00f611zBlCQ5w0nhfKEAXHZNbb9f8Sud6zWQEnFUSspdL8oJwYRn33s26WGJxSWTMfzHOKxFdd05ZA5jdSFsTN1y3vm+k3ar0sQchUcTZY+t9sZPooNTV8RgL9TGg59er9B1tjX6G+1YlzD49EGSEQ6prmB2tF+aMiA7wqr/2ETlSDGezzpg+Vjuw2GIjyiJXCaZdX7nh+tpFsf9pUoJ073JNIRjT0E/2EeswcZJeyx7tDDRb6ifPWsx4nRkt6NRrEqSG3SvtvGHD3QJVHyWntr5VCGDhpZuC9gsiDcDkTLQyfj75lTjWrpPT86xo4qZ48cF911UbKugiHOWerX4g5frEFRLo/sfNMSG1xx/UbKoOdO8YUymgtrXO1qA5kNLSU8V7rmApjYvwP+MR9L5nx52FCS9pShku6qKmd1bpUeWfKsg3diOywWyXXYDA+UF5RLjB4f3pefrU+J6Ngygx7yhoetHweeFynrYmrIy/9tfm6d0xcb+3X/lNDyNTTpEBUxjxUXVE086IkvpN61aIwSj7NLrr5pKBYDr6q/yImtQyZys7/XdjUtafj+wl8t2hz2LD1pRwEeMfuuCfQMzkj4O3K5oc3+PVLj+M+nQ0vtbxexdrsHi1VKxPJyB0uf4EwBBPwvHBItbbcrod/qbEOY10+6MGq2qT1LgG4ELwXwCO9xjy2WxlKDTpW5PTiPGCFAtB2bKhizknqUhHi/2gCkt0dPkaRHEazNC5NJXHMAjXGFdwS3tBH8aFCw1Btrnae34mQF73hdcpexI/LpLYdfP/IZsFRBu2NfGSHez/moejzwOkqjHws/n28jdE1cfNVHmChh7SR6I4yga/JsDDw7T3FKauz3fzvTUB6gjUzhiNhmDP1ki/QvmVEdCqoRrm3hE08wTdjUv2R4oKbJxXUHccsZ/lo8w7lbK6VSW+BUMv+tyIcY55P5bS26xxekszh+fZhyM2ZO58INFEDZIXcCafzHkHZYDWxF4tke6foQycKaxD9AGfl22i8mUp1+BAb8pNcraUVTaI2xzUSsQNVgQ7ypQrrnVFb//9Wy8rcgK9Ot2qAE0JWyVGKW60tYcE/DuDpieM58E3iLe4u3jmzqYyWBRFJk30sXl1qGmRP6o2oegg8Q2CMtXPBTAoG/DsWyLvE4I+arXfU/uR5BCp6nzEqZduB0o1ZJ615TO6sfNj6YsdjxLebSaSi7N3tf6C38fM4EOqKVlUGCC3AL+MD+dH0AF1d7vBqYrqFKB2eCABVWCxGZosEaLpkzxcSuMn0hWXNHgJGeQ2u3iOw48l80Nkp4XZQ+vB1UOm9LKIi/nNfvsRkekhT7/MUoarqL/Nv16Wtct/bNRolhwEg4A714pVd9D40xvvZw9xtoz/aEGJUDP0z+Je5H7f48V/O4ZF4CvzDFOu1fangniEAM50TQsW4dePiiWYj6jDDaJuY3MHEYU5c33oqhjWh69bwaFr+mBOQAv0aHw01H/6+nx3xrAx/2m6Ap5JzFZBKSc5p5tAAG53VXFc1y8GKR40RNMpvoaL2ZCyPYMS29t2WBosJdokNV3aEGMWrIyXlqo9gn/aNQ5/fU09aE/BWTCnBF3u4Wx7zTEZXtjJOdtjAv20nZwOBB4Yjm2au5btItDreK2B+6cRBuXjhAYJBqZyRy4bmbfLfV4LDdjerfUKK/ZxoswX8KYPI5ep+xZYpqBiySfa9jtYbJs0HoOuQizqRlMIUmkz1g5HaVP2fwFOF1TKcOwfuMrnSEjaojWcqhavx1BBHrM3F3+X7mFSS2MrAQ9bZ6ec4Sl6+fhZ+vvGsnlq69Y/NXOz2jOxlRSJ9NW06kpUIBiZvb9PPqxhT5eCM/wn3NoSBkAK4sDSUVnVe3WWCGQ1hdmw+bT1rqGpHgXAOhfxYd+sNBIBsJvdK0jLysMwb2dbskmYq8s1ENaQdXS595p2C2mXDMHhfqs098TxOpJybXne0La3hAM3BOxy/gUOrUhFo73Wh/avpg1oBU74jPIkWBSsFg/OWh3v3Ql2RcPwZuVsN0cb4kYSveFiM791JI/RbwiNKWmkPib92dBkIQr8ktyWo48VZo2xoWbGAgh8SvIMdJ3WzBx2FV4nMNyk+crQuZF9sBNYWdG9b3kqI0HfC1i6ex6or4X1XUdNmnvxMq9NwvwgLnvT8lQhQqbXy6in03tsQG7sQViVD13MD+vOu3mqBNzXnv0rKaGoS3YWkcIChvYu75ChvZnEJjlAX6jn1vtXVvvBeXfYTZOgpp4yfjPtIukhcUMH/fpFgYb2yQ7NRKGign0xquz+rPAPZa5Il39WvRFD58K0YeGyKAbczE9CQrcySIHS5YGB2W+wGGm+9qzH298AxM7dwpTVcQ7t6qYmzO5lIWI7fJPWnKSPYsB/wrx9RS3Zb5PprSwqI76Txzocg5KxDA0tZmHxP8pwv5qzZll9qu2IwV5dxgcprSjuiLX9SnJTIhfe52ChTbVjyp07WK8yMb5OgIks3PsoqkpWrCcodw/mWx1pcyUAslKunnbuIOHSO7fAH4oasT4S3abVvLiePQdEUkM/mp/lHOtOhqGkO10FwT3TsZ9iUuI0beesIXqU6JRPuN/mGkNVoz7+LGkxnRU9OUKX6RkQ5iE7/xLOYBTWcGZFfznn6XA85rsCI9LzTiZhguyqYph7pPvapRiPcBhY6VnjFQfFSGUsIbTC8kRV8DP5aNhUHN8pF/B4pPjpBD7U0Ds5IRN8qDiUnabbmZPze46QkkCgnx+G6WK4AULUAYyIbWJ2VCc1WT65SKF7VbH7mmMkTLFuD0JENpbCHrVs+AIM9hP3KZnFRDHVzVLb4tszOUzuuJUg9aVUCRkRdTgffeZxNRY31TxvSOajDDCBe2i9z92nt+9b/TeeJE+YvqzWmX1wva+bqmkA8UIwEqYqkLpJIgkxSBWZjRm7B1sOl3PexFi+xIvdGzLVXMewY4qot5Ua61PYOysR+iRDzHAd1YSbH4uYS2AIS+1NYablthRJGFwGK6HGntDreg4N/MpVMTNAGvxoEhwugIpPgrsMsUu8f9Qug9j0qeNsyGs4CXlm4MAt0R94TjIyeElr6jhvjESBd0kIW9gBsMKTL7U6rC4epa0tnTXGN5Os053ByQP23/2SKbHnW5szlhSjw774rJ72shPiBpm9lRrah1BmgE0gimFAZt9WNfm1/A352C8cXpm74XZSZoznfVyfhhzUQM69+eC44BsSgXfQwan1bad9yx4mOq/4g9j+P9SDQQ1uhQZrNigj5ctxkb0o0NWxSmtXAFxn5VH/oWGtuDdvZ8xE1az4+mH5juMjbuR6cAw3YliBOdndWG4zFGiTZJhsDUfwQ5txctJMDxMkhqCjbbsigISPDiaFuuRL4he8x0ARiAWUXqbuCcEDmywErS2sQyi/YK5edywvX+mF6yF39nWhUd1xpTsmQED2JYGFrMO1BsLfDtQARCyD6l7G/w9DcL3mf3iw9LsUBSopC0fVNuHoJdSbQWc+f+6qw49DaIJh5ElW3sVa5NW6+U6euP4JgTq4fSLYtJjQvIRGaJ1iog2aAswMHedy0NvoMpIYCOZA6L2t0Bdo5nIAqzRIeFDktPOU0qKNvZdr5SGs90kSaoUeMiyemo5lFKZWPRRpnOeqj8lSazjDEMZt7e8aHW5vCPDXxX0RWtYmURzWlA/Nj73kwQ3dOD2/k40hGAWywNfMF24mj2yJlcWK4mZjQnNieOAfk9gUaaAyyTHgFH49KwmIuV8846Q2ogInhKLQ3NsGojcC8k/KJ2T/rkgeRlPi8NGHpzNYarjR3vwEWMxzDgSdvNcWb+DJ2opE6XWzTCRIqepv7qxlYCi+g+O7IB0dR+FYjjFbUU5W1UyLmn3Sp5GcstoxPVtSiMXRJzWy88O2nPuhlsq8lxk+Elgr3Lxc5qByVrkbm7T/Bwv58ItJPR9aUDm+y7eaQ2IgF7sXJvvOCkDHeMsJxEKy4oLDT7QMtwmObg+kIA+Y2w+QFDPl5xVJW/B4W/GaRCVRh/lNjfoCuBRwXup06NquwNmIglgYB3F0d0PaqH9qnMFt7fKoqZYjaLmL5mzWCuxk/EutsNZOgzJZ3Caf4Cu2V6t71E5o0e56/DGIEmfYnAzOht67rwf/1AT22hVU9dHDmcsvVn57iaTpS2s54dV4kheEj2O/KyN7YhxjEbJA4C/+PAPX7493HTiL0Xzv/2DL9W1CNesYJOgtHZHJgMJS0f4jte4XzA7AgkIV8oLjDAnhN2BEJxsMh5R5lCOftdBSA2ASV/skZrvMrGmHaZg+8pUR3m12bog2GxauTOW1OtcwB3KY4WNAjfVJI30fLbl7tO18n7zDQSzFGv6UC/U1UGi3kNYJ16STm+Hz9261CivFt2ppb2++gwy2OmHsNW1rEQAv89ylcqJr7KpBwXHz/q8/GO/QNBMTur1+gWVQ3+I+34E3crS0jH2YKgcJtVwU5TshLhyfyj/C/3cF/+b2XA6aA9Fvo6N62joKb9/lh7X/P462wH8LFeVUjUNDLQMYkXJKPXb7Dx98hTPl+tEdnPCERiY+HmXS00Sg4id+WmGHJ1b9YAX7c43rSeRnXMAiIKvwPua+1Vzu/2W36qh8VfsiFbbvNPXZBwMeW4beEMpb/EPrkeXOC2IGNAylug7l6BBoJk/k65zz3AxhFXyIHqpZwjrKj/lhn5MxopqCGaBfUGovjWSZheeL8Rm7Y+OZ6TkgRZhRjIArkFn2j+jYVaJm2XldzkP1RR36BViTOnutZ4qe0IX/I2G12QasiVBrH2o9BtIpn5ShYmDd5pQH3CnCsSakMPQXN0oyu/GHzj4tgkQX1NzVGd9K2IZp7xKtzsNvvgpDfwpFVRkFmV5mCOcolrHhoKS3lU0EV+lM96HlxsdX6OYQCysO6s1mptFrzBLM04LCvqS7hqh9QSZX26weEj+5cS0NphaYdAjLOiyG62DdXy5/QA2IVDfuYZZIbSoZXqgxVjikb3pKBVKWJPPaA+k4NGsCC1gyeHst2OXpzJU20nafBlrodkcaYH9X1h/m6Mhjh68mpzDqppxugXJEn51uKy94TUUJzqPEc+rXa/9U4BiCi3R+ORCWIQTcYOBJIjv5PQTyIohCJOxGfN5361lVV8rFHAvrrCgPLwvC6SKDu8Ja816tQ8Q5zrc8uqXaYgvA22qXTPGd+3XMKiWWGG0Ov0jmbK+GFRrEuX4xZHpMi/WPr0Gy3WfAKSRt7YWS6KSETAe5tFAgPDGYff80Gnnk8XpmBN91/CqFM5okTNibPsa9TzIX5x/a6lZHiblIaKcFUrb0L93K2I8S9FPpXEgo4tJeByYboA8Cg=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lSxMh/9da8SJc9b6yqhyrQeg1C4IoUJbPq09iQ+/nKoJQWh1zfB7Z5DOR1bDpemz/rQd8e/ywweMqshl3BniUTbkeCZhXKwsuxEY3WexUyCv1+IZL+uBdhKxpwqJShn1y2WVZkxoBbCXUDNe0PTjSFUVBPqy+PogWng4ytSzCE8Sk5TZ78DKKL+pE3iXNawKkzOPx/xuKYViA/vuo8N/rkd2/VkCA+wt25nehqKvdHsXh5KCIGUFaYxR5LCsWDhR1rzEfLZjGSh+qWMH9lqstAlLi33iEkD5n2qBO66Q9E11Ndw+1RfIB7nEcjWzbIPeMpXmtEMKj/An6lxquunat9KSOPtIHPm4KBgmgvLHigit9pT+GqxNJQysimxCiKxtjcKPuMAVH0kViv1W8/ChpWUtPow62++YMjtIubhNCwv9hG+PjxrgKqtSv0KzJNte74np9w0RpWbQzCMD7ucmITa0B9CDygzoxxRE80pwegD1ksyZHeflGvlft8iqHkHt8M+v4HAHWxoilDIxo5SDXf6SIcWTWrv/u2XzZUAP+fvT63gsmkbpaCuGjrAOwiz0kwMjSxlHR42KCx4FM5xbUSA8IiONskWizRNYIh09DuMl4+aBMj7cp8DxJiF/zyr0jwr0EmeqZV5N/cxE6Fx0Dy9Z1I01v1zpmnKG35cKzTYrIAtdCAZqxRbNLgK6a6PrQ9DazGjWS3hC5jiLlyBGvnWSwqMEc90jA+ufjs746JjHOC7npVX/6LiE9Gk7J4qBALheW3G294Dky0sZ5NNECj5SkaTF7Gg8BlTQSg8fek6j0EsEnmBGTZ7AuUhY4v/yXOrXua3KzPi5S/Iac86vHVEc0A6Y7QZgkW9swS5osdZYkJu2x59SjjVGSGBfmC1HM22QsWbeUCVly6w1YxnqpSeSYsxwU6wXkiB2AJ4ppbbd5digu7hJFAHPlMYvBcUL0+M9QEe8/EpjkM7vNgIMv6ORZSyYuTtF2AiA7TS0JHtCkiYyafk76qhsn/hc/ywbCzY0XLYbCCcLDJW2JlICA5UEQnDf9UAWkLPtEk4ARtSc9+iI/n/O/D8g625mWzKB1TW1sEh7lIr8+vllTp42/LbUZ24ZpckL3g4bJ5WBJK2H6MD3ZDntNBPZpy2rnKhdh36F1lQJVYilQL9elovdbRidPs8zlnUaGEToCuy54esOgrID+LICSbF93EC6UrqJZnK4foIMCwEwBt2ZEu6ko3K3uS3e57Fr+HqrF8C/9nASmqLr0u6nga1zU4rl2kmW+ZPYYhbgH4banQi1eBZyRmne3/XXsH0z5JfHrtIWONSBDCRu4Q7ow6NrpnWxssQTSUO9P5lBNTpzRHuUmU3lOtW26RyoXlaXBL9gO2h1GEAfaTOoxjh1DsaObDqMGbp50rHJaSoFQa1ezD/Ic4sJQVR9dL5CuCxC/maJAgA2dGOVvzEhC7/0gMI0YjtdZ50bseq1aixe3c1hqUwuiaizKwe/rcTgSy5XVsCgwf12COsmtdhgxZiGazJ9CTpw8GSVQyzDjDWPSke4Q8P0BBvBEgbM5NRgsTnX+5n8hOfYGWeNDQWa8k++pEoK5gNCIiAx6UfJkAEE55V+jqN78+q0bmWRy+d+1X3pmBuECUUTTaKX/Dp0mJRXIhxAkADc5ggXxrADdtIQD+AfDmZ6sD8IO6eXJRJZBghesl46yCQFQIBpy3Btfgk3pkhXUDcnXQAF/ottnrYEuXCGZdCvZ9gzO+nDchOAsD6lNTfDdLoIrDEREWSBWkrfGyE+JarmbRDE48rW0Az8POlujMSwpbSb4dnOxJpoL46xODBUPRfac+Vorvdmq7uS8c3WIMfL4ydjOfrUkaE29pNQMPcwI+/AcBWmKBdUKy9dgh9jLglJvUcYY8Pn0Xxs57U7GS/fbfqsOTldkgzxkVKpdVgzCAnluxMEPIM01ZVyb4um/L0dMXdd6MQeobN7N5mKosPyTlFdhdDTiFv2gcXy4bWoj6Hb32nYyAVAsdzEJ28vKoL1UzuNdkNujUp5gJ5hPwShNL1ffC0R31PZx/sYKgnQplv55hbvUTUywi5vJGtwk9JM/uF2tDgYBeOEp8bqM6TH1xCzQsyeHfknPKj278aOYcY+eqN/nCvpJOrf9UlIimvvOwJQwI0GZDfYJEaU2B2wQ8vUmoZjzL32gA3P17Xw1iZF6yiamewgc35l1fYjgQ+de8pX+exhGLgsXrHu9/exgnBaSBOFK/+8UPkIiom5QUxfdTPxf5yqYcrdDaQX+GJfpiinsyXobWPaeG+1N0R9pW9OQxC/HVkiqv7MWSQ0rIR1yhJHuTmht6Gl3NL6UjOI1wRAVhHwr+hjjNTdnaD+jPJF6HlrMCl0w7ME9+z8oTrY5Wflglo/SOYxsCBjeuLCeUSrXNCbYiHuNyf9WIXXSgA6KuOX077fq/Jepaz3cF7Fidnxp5PD5QvTU7SHoEw8j9vynRj5pmw6KpiOMGGYiIgfPaC7H1BO0cs77Itjfjc2GhWzy5FZM6PkPZ8Ezza3tPASQNN+zj720mKJH3HUbG2pVplduHHcp3Y3oUKVKVpVifvXWJZiPHNEvIKJBfCqnYZNmFCnTRVuFzD2R0UKWVbKeI5PSgpg0aqeLTFcMzIG9TnbCFUsGrQeQhwLjDZimEsbM94w4Fs/d18Y5YLHFcNBgSwcyDXl7CKLqmZnJKNBOyks3IgcoJ+quJ7UIviDYr0EEj39vwDHeu7fyxvIHyzIIcS0jJQmgH6F7EKR6LqyAgUrQy4XCfSUBTSSYSwA6v6HGCpWDIObntmg/OEiChTPQDD6qKcBooVqrzoR1QkxWfLnftktCLSX6cQHb7Moc/LOzOWHE28bJNjlFYBqEKJctXzW9n/5AG0JpnjUJYop5c/QXGuz5SEqRsMscPUjNAGByY8LvU/RdvQAZzTSIVjhoeZ9/rxmEURnsc9JPYv07q9gO3Ut4bSCdzdFm1qESvS5o/Y9zQ7b8t3URldCtY4yan7JF/uMgMZX4oD58ySDR5kQmlY7m4x49U68xwIAjWCWNEiOXfy7EHNnjrWRDwaVKUHiR6BA9vKkhdnan7PMAL8JnfVgf/PxyIX3v4bRByQIU3XbPpQDQIPMxU7CtFjEl7AzZ8w6t3VGoraGMVZCstU8AChcoYooaU4sS6RreX3lcO0Cojhykmp8dzFSp08fI4f09dlzOb9c8UoceX3S54sP6T3nRNlwmx64BgLfHEP3C5pdAX2xkpf9KGpkWJc0ey/INqsWX1o9eQo+dgB//R/jK4fQmRM3bULQoNtVBu4X5NtxB95w1GqOHsYoNXFd4TS+1fe8gXQlGL2zYWbXsnbsvyADbL796VBBVRex6QZW3jcYkYtiq8O5AO58qDyJQRp8YNh5FSRc9xtfGUQd/Kt+oN2AvpXYsJd55gKnA/2HwkXhnf0rM64f1No5aJyc+/RlILMp/4nlz/uHz22NFT5PdldHObkqC+jkctnJRn5c76Mx7Z98MkB2SygaFmuQJS7Dh861DOo5An7J+I4UgCQv5xdOvsjG5LiLE+IsVn7rQHFZ05aG6qvjz+6BPdmEwDJE5Wpdz3n0AJ/GTDiZxYRJZ6mOFCXtlG/8xmjS3CVE/uNICtczCJlLOTtike0XPsrv5zo6nm8+Eqd8IRMuFVuxU8vV6h8rubtRiYIgtZDtexhpbvV3J32dHabKUcfjc7S+rovxpIpFwwkwhcTNSQMTiHzjV3+Hgtv7IXRje3OFUG66t9wCjRfWWy39P/uh3fRP0x0ogUUjV2JRfT2lzyNjBnCB+a2GowTeNx62mjqc3hRbRkDLqcgkrmDMwtkINRXIEH1b8vmJqknyHcen7DHwRR/uCj/yMGsif+owEoYrPaYoGU6RROkcHrxC4H0GBnqTsCxT3b+r0aGZ+bEH+V4xt5D68yCxjYahbN7+ou89S38W9+ydy9GuHC2k74bg/SD39g0F9sIqwrTLo/4Xl/iTVJrqzqjgSEW5pmqElUMjTubdfLy57sHLh72ieIrIUt0JrypQkEaY3yTghb6YaCT69zc7YuUP4gLSvJuDPJ3401yl9M7XKDH9cCH9lDy/obUKzyNHtUxlPRnvBA06dZwyVN1yfsOu/dHj4Znc1XHLrpAxvszWQafKTBcVWO1gW1EUJrIuVOY0epbxp2ZbjZjKdHEbeCud+btWJJFZNoonNzIyjAynh6udz0fsdc6tSvJiCTQx5wY9brmfQ7EI/lc4VkDMuvY7qaOI1NPUQTDAuP2pQtzoenJ8zs7288FTx4HHgmOkvkEymUOzIR7x0qqqAfMqWUxH32pppa8mdvFnOo5HUAhDgpqPWkjSmDKC5ijU5yrtQwsMwo04nGzkVTZsguGir2MakwybsvLHf5v0MuI7e0DvKRjvvY5+o9LMsDX1yas1iTZ9RPYXwGm/5fdUtTGV64mSYHEUTE1F3U0U7KWJx73MpfS2/yK7o5m4drCd/XHUqJG9z6tdk/EfviUuFyacHKrIIfm7BdKyAOSOt0mBJJ14qrAn0kjcXcKQ06G517CzVDScKgKZLY9+8nZekfJAnyZvbHiOPSNB1IevDWbPhOe3RW4pkR8lWsf12e46OlWuEBBtVL1XybTpfwO1H/iXtl2W/l94NTTeuoMzRxyoyiNGeTaAsKGwgUEpqigwQ8dETGkIywCZAbDZnrdjgPXJryZ3qlsdHEjMEH0fz0fh3K7Ch653gYGmZF/geAgLlP5MRTkK7mhuWbhDrsJf7io35HxvZjAiNUxDmTVDjff+xKPxWzndVeMzj+o/eL10FQM3vs25ZXPH1bAQ1wfpWdPva1SUpSUp4OyEVekNOSAgd2nPei3Jkfbbppp1crO55i0ChdJCQ/NgX0yHCqXmCLdGsOwJoBFXhC0q9Mwg82gIW/g8Id+v+3oP8ESsZLKH+389EwNpkn/NDkPW89nfYYbegjuniiczh0EYR+pB+hEfjjBPe+uI8Bf9EOMH2TOnJAB59WsPopBg8JVg1nWprsjRT43gjsgoTU9XggF0tFW6lZVCS1pPO/JJinwI0PfPSDP9gxKPDlYlouQI3xA0qfelB9/yK41a6KX2QvOhW4ocvY3x56urwChEJU22ZyPh13oq+y1i49zEB8wIpDhibR/Qw9HvZoAI1s00YzBwwdc4on0Hl9yAN/ziRPK1oSTN0GWGeyaz7Wmj+bDow4LcshyLms/pc4XgNCcjtJN0tF2miWfec969yLA1Y/S7WFXExRp2l+63Vr/yP/lPg+m77QDNEgvVHZIrLpAbanhJmzvze7ISiaX6gtckYrGB+1scbv0j5hCCb0YttYN6VthtmaGoef0Zy9S2H6h8jCllRgMNpc4qjxiAPLhmMEHMecIZM2IYPmnSNscwK+N7LayIuCSYoe0As//V4UtZVcLyMDk72ukfiLLN6aTpYi68mDzJsmrTv963Xn73SbZdlRxsyx48b+hXh0T8zqgj5Qa9Wi+ZzyifP0+39h0V2vt7u1DVVF//fdocInAnzh2tL75LRbc8LdtFdUHTdrH/wmafd6fzsNgL3j7d8jUyfkD+KdzCuEj1CN1zLUOXTIRHZ1/2DxSOkFsSstNI3brBDg1+XoY7sLpmHLmtBA+myadsSOeRzlf+yNFzfAHoAYe6Jdqzdoa/ZDlx1rVocFHcTejk6bPtXx56oc7arb+5T6efSxkF3pFsNJMQaV9LhZKmBGpfAOx7pJEUVR2nMPg+LC+BeXlvI6qMWFhK1CxtZhOUE/Wn60lU58qq9XsGYDAlvQKzmpGuqk749HRGUR/2ppCv9bUFDLkvDVJjcpS7Y5+8rnrm6iGBTfNxpKmCYeaFV6rh/ODHDaJesDKz0ttEHQQFcWM42OJfqXxXtGE8y3ClGRuX9uuaAdu6ST+XE1V5lGZO3hLEHuQJNPQbdmupO7JFo/y41NaZwtNrc0CWd89FBk8U9llj1pH7lbFyD43QLkpe9lTnqAF5lbi7YrfyG3ngIkWPASJAxDwJQkdJF4bOuo0Zpc62+seEhQ5ijHMLQjjqL6CG4DhzpmYcFyydI1Fw21uwDiHktSYHd0xaHuY4S+ZujdZq9bNyt1xzM2DGZJL+jWl90hs8HXNaP8FxNVZKo3uivTNFLKJ8aT88L2nmjjx+wKP4rCyP/AdvevopOauiX+iPVOe/71STiM2zlrIES7gVue6XuaAKO8G+OgqxGbstODeQmkL9b1pyp2qE775vJQFp7uhlKPZ0KhJyQ/q2AwUV2xZtFZhkCjjy9DfyxpBa3sksuhlsE6bjejZPAoFsbC93zJ7rqnzPHQwgBOZPDnrXj6UCvo8QdXlNI2hFOUP44WA+p4vQotBNZQIYQNHBPj9O8yOx5TW8CFjK7XdE+UyU28hLJ0wctGGF7+ASwX2uVpgRj24W2HgdoHc6FjXnNSn7zPk9EQMgZhCC9IptpfLkI9nOwBk//hzMLXuCRw2viBpI0C0q50n3DkMxPwZCcn88AT+2kn5s0rUk+MzPSodgdaKcEgv2c2YWND6AbXD5kIKwFpITpDT8Nbomyby9w2dpPAWAnF4ubAi1kPZ0Aaq6xFaNYiCBRjdu3F8uwwS3s+DkECADG3E3Q36QEjHtKZBhq9OXRvZh3RkRzQOOYeJQSiw7tTBmJNsRjWzBgX1rKUrKfIpAs/9aFYEqW/kFuUQfvw9crCq9b792aWKiQM8MEEQngRcTzhBu4UwaLTOXTGuqURuSvAqXMDIFj0Dzei36/7CUNwAcAKucW6XpdqPywPphOm1+Ks3UR5eYjKK2XU9QuUHG21350KW10KMKaMf0Y+YbPDd342iiX20zWehkz2azyyAz6IiEdI715lxd5gkwd47otEiGOvP7v68Rplhx9okqeMuqK+TdC/AIE7e60EmOEvDWaROInx/dVryI5W5tcEEce4duCePUFZC7YA9bB8mNP7OQAzUUMnITzPQfqnAajPoSHM/GA7nH7BzwzLziNuXvIno1cxCjMUfUcZPG7f9g06VrjUYHjOeTIgoTGvKwI65Qa6A75P5ClHMsoCfk+3HeOyZ5lEaZ4S3e3PDXaCQeePlGMOn11gaZL/gSrz1eHwLw3RiyDaz6nE6p2sh1l7iTFmfQya1/YKO0qSvAdED3H59EebH5R77O83qkPrtH/b27fm62wj7BwPKcul2ItFvoOhMp7GVixY1M2J9AGTKu/cmPdVkcsjbMKs6i72fA9Puu03AG8l60oEVdiTCHEGYvAyVnBUau6Tmcc6tU1bChdlH4rigKoy2+tdrKA9oQ9+Q1eymLxyMlfBkE3OeOVUVHjFMF0eSU3Uc9nAtXyAB4ECspRe+5sKsmD92xXZ6BQoa4nMrqRDylXt5tVHHtXyVZ6rq8U4xdHs5ERXtDL5v4F0EcAcJu0mHheCqDOu1JIvxoYkTD2XDW0rqXC0QCyXbu3PlXqi52jUYLj+8qVOJXFiz0ZPDRJYnlJySlwIAnHcYmQo3YjqOxvcnS9gYv3D/HOIAXKie3zrqKJYRZLZf0hkwmxUdQJT3li77BHd18wYUn99u0PMcWVfeayWQlYfeH70ueyTCLhQqbIMkHh7flas+y0xkBjHVcCmSPgeAocbTNOlq7hiN0FYI3CND9x86tdiV+SoX31CfDEcpqroocXViRmQcQjSIwUiBuNjTETmW/I+XMZyMSC8sKyvb+oML8yYkafOOs+HsWEFaO85RnUZSu+WzB2SsUtWxBuwLM20ZBmUOtuXvw7zEiNbrDcPAhTwgNvJaBwAG77bKVoIBSVIKaMC+VEcIw0LCLhdKkmzORk2+/Y+cePQzfTkWLxQIBkIfsrBabsv7KNF/lDpYQ2h2Fu9BkTYUC2Z0cybbOj6Q9DjDjj/5IWyISm5JNieQibpKwY/W7KPkooZm5jvMZNzAYhciQAZiXGJmfBDn0s20c3wpa5APoNIkJXv6Ochd8nvZucTn1iCUsaWexJDnQbz6M8pWV65w3KSR/IAERwjDeTWsUXjl+HcoYks8pDN45vHGs6ctS/zA32wr5wChXbwAxMomwFK1jJGYo5e4ZlAde3xsfrv2Z7DSPTqW0jxGDkkzvWu4ug1YJ3jxIPC3ENztHz5Q5A1EWW6Klp7tCW3lZHiKDT3+XVyJ2IKwbQ4Ms88dagfBOMbzGlIHklnJnxdVV4qmYde0SUYKwHYxWDbk88rkSrwFCVhDrXb3CUZ2OPc7k5pOJh3T/OolhoMEo+VYDHeZhYFtTPT3ABQ3MmWgI3OOhZGaYgBDG4JgZRqAV0SbEv0epPCtMKKwxYNLv1I9F4hbYNx7L0FHnTNnP6+N2h1P+N6/Hqmi21rRS5AVfaSsKT84Wz3huNMQOApOPQ2kxT95Ih5gTHGXdYmGdQMzwd0REUWw8h1Wx9g3FX/bAs9XvDxwq4ZfwcJPbu8r29mYzySRSKnDYPl5fomfpjkBewcHcMHZWMh/ZZkkVJiLHH34ND4IK8mSeHpUdpoXELcEyGV4TlP+Y7/g2NSUraKL8ShZZtHxrJbQSduASt40LSSrBuKDF6F6xltDW4im5zjgwl9ZQZKxCca7tTYM/FU5PbwItFAWnoTOv8B3FXwfD2/+2SC0w9iOZ5LcwdElcwlF+uAoPimK5iF6QiwJNQvWYfmdu75bs+QlfTA2hBxMiYgCzorrNhjzyWAeiT5VWnCuPobmZjhRd5183hLAb1es2RXW751SHxCsHal1h8VeuEeP4xgVgWd1lQ0YWDdrLYG1oazBCR2uZ5iIUpOgbAmtt1xr7q6WLD4I+xEkvpBhJrsLw3l4JOBUgG5NMhg2Bbul2z42meuOI06WRv3o+MXx2ytKMmUGfZIh5bH+RAkf+7gxHu83vg0MjxgejK49Chu1+H1a2TeK6yx7pKF/3zNhT0JFGDUgPWu53o5bHdwG5F7Ac46itCvMg4vvlEF5yu1aQLgj9NL88YZYWvnP1vwrsj/1KlPzMo3WCQA7O4Ay0JunESfOVco8bhDvOEMY4rq0xFWxaHCMHeMJiwV+47umTCxA6dTn2pLu7L9P11raTDKcKg/ZDphP1WWkuolh9gkL0rhkcCtusKuudbuPpekzLYntiUMjm+a2/gcJHGJKdN+D1WOyR8jsb2qhFlmccaWas0sa6EBQc9JUSw5aCsvQoKmrRkXoF/oFYMPwD6vX+DPBi8OJJ/OylycsPY4y4rehcGu2MSFPfWfUeSc71gR2dm4EzyvAgwOr2SpTSl+wSh4O7RHHyZSyx2PK6bkG4/jZnYPcA72lR+ZfSHVMwyQIhGH1kxkCDCP4ftnHXUyOAc2ktS37a5e5p68FeoUOxOIbwGv3iPOm7InSZagsak9dRXFik2uR/KeDhOA3vy3PU79KvRWAEQmGaCPl4u7oxafLFwhaRqFXUf0Bt7ynWNgQJHpjLh6Z1hKxbLQvY8u6W1fOFxtZV9/4QsB3TamQp+H3UIq5VGmiyN7Nkdwdqhuc1Y3bWtYMxZRfS8Fo4+hKqOYE6iiw6viGit+ApawDKTw0AkAPQOajJ9FmqxaEwe2W4PV7avpdHvhKpG2Q1oZX07YdQ3/XH6U4vdWP6gYrttJkbExWVqTPazpdyON6EjiiEsVocqtcZwh0fWLufSZzmCgUlOQxzUmmGduly8D6GYPVIjLn7JYGU7mAIUBD1CCWg0NKwJEWPoXQUYYys+zE+565sKT+4CYvplyKs9RGLVzb3CMqBKG5jl+zY9oWfbHHQI4h8fCYA+AhlD4ukgHZaQ9QJ1M5BRjFraPLUQc5wbOvlqQM1yhIXvEJzN8kN6jTpdoG/e+/MB7pbAEjiBIdmwhbHGBKhjNJeZLSksVlEd8nz6VBJjnumJr4IsFD7N8svcGHkPr1I4T7d+gvJ1gqKVXiQjaNQbzL34Xd1Pvh9dj8/tO9RkceZxk23Ii1YFB5gcmsh4NnA7LKzRE7Jl9zroF9aoOnnjQ202FMHOHFUqtlJZHTmPRakv+2s5jIt3N0tG3EKg6+8IFYCkPJWjzdb0qjdd2nu2JNh6NL4U5jKDB+EOKNmZJrCseh1X6KUvb+QS6FK4OBzMkhkAjNfK5EEyFSEf/v48WE0iAzj/cv5D2WLKOiJI1LYrgOUoSAq7JkX9cFFVlRoqlkm18S/dP4uoiwx/aiVKb1FHkXJDTbcxLUT5pBRUhL6cdSgL3xzPDyw3H96axH1/h7Acioj10z0I9wFaMQWnttTB7b0lYyWBOH+1BUwY2JrlLP7cFqbNWp84TZ6jBriOTR4rIR6n9QBmN6hyZFAm/pdIZ9yxYOH7ZauU9CF/nyP88sEVj+DSobGGg3kMh8mhQmObt87qd+ko7dZco3COapcvACV2qRwCIn8oDTV+Azok19NOXrnrR6eCbCIkUx6CPDRwuFG8T74J7sICovo+xgVZePcHW0U1RItyGpg+fsNX2hrcAcQ5IepMFgyu7LUVCl8ZAn9g1/TeiLRQgrsSQz6qgSp9rtNYnDeW8AtgrhEOjS63qdSgqIaiGnO4myJewpj5qIVWAmdeItujjZ68Dul8UHRZX6GSwIe47SGgBgsUU7miDdza5r08Lgsf9E76QvVzy0Asx5y0TeMDp/DQwSLFVHoFJyNU7VYl2JI99kVkUI3V4/npg/1vs5jQVM+TAVNNbQ8MD2a4ZHYJtMpoLd00GOP1b7l2mhpUh+jacnqFtvpz/4JrEwbIvkc3kLq35uFJ1bW5ANrQcbtjFGqANIIgjiSRJGyG+KU3z863oQ9ysu1JTBSs0WxW86DFrlKwhjM47Sjt22adup1i4SKtQaghs/onCm1gk2+S+h7IvOUc8mGI6H1As5L57tkyzXC4fKFlDsB0/uQ/3VMg8iDgFjXnts2O1UsosSzFBdZm4pVaZ9Zx/wzHPNrG1+11C9MjmR30Au5/OZ8dHVKiZuDNzzRIyYuUhk6VKqFeTvUb8TtBsWF5W6znnek9b5eJTdCaaSn3YU/xYJZp/XfJxsIt626XeoyyI4hVqDRgEQVZIesES8EUtPcxbumcXMxH+Nbn37PpjDHJmLJpiCRonDrFA+ra7uA6SkXe2cX6Sx33Av+igzz7IMNZx3gXuP3uudf72XLdVz8rPAbOWMs5XZflFJNIT5Bzb0Wmc1aBsOM+6pqEnypx5edR0XQevlkIEqG7a4lXjtQopsJUWTCaV4LmiZn5RaernhicKQ5jTITuImJY32T8QC2tAMcVhZ0R0dO1cO2hEI0mNPR0ylo44TTnekX13oPknCaMKc63rngX68CIbo4RywsHFjI+L13kxiWkE5aPRuTuRBCZN2XF1VDgmsDsplWHYgJM29wFYkHc5kmmJLpAWEQ6Gj/rMxO41n2nZCdjtRNnRXr0onX7SX73KjTCYly3bE1VyKwp8S8JHhWZiEEBNQevdMFF6Ja6ZNwZFr6QeMrcXxvbT6/C8ro9M6zVNz8A2g1pE/bgIBqWNFmhrwsn57XUCu/q/kQXfkDBUEsHKkYezqykHCFNmJVeg8oGKoE2TTxFNLfd14jvFUfeKlDaGwH3DfpF6m4GJ94Gzb4p44E4GW10RYZwq6+KAUQentbqZwqbo3lwcIfLtzSw2R/4MROjqFvyXjuYAk4kif1MfTWZ0EkKk7uGlpFFmxPhHk1Lcd43Rwvw5wB0EdWm3hhtT04Yn4Fj/E96SGmkg7lKRliwXaR5lJrnQ1sKG74UnNVSLtOSEcszLeNfv8M2SJr4KbTJ4TYOSfzCpbUrvonL79STTxitFb70/VVG8gPUG5ZY0e3TmviZnZNA8f5tdlU/xK0dx7bCpm/z3+lFCcrS0876vU7+R4Jf5BF/pPGX7u5TuOPfu9zg4J92qAhY2d4lxuN/2JRPBI0mNx49wyp2q21M+yjoYHH0N42/2nVzQo1XfgI/ueYps82XWZaX8grnb90uedi8OL8Ixv8Q3E8u3OyTLIVro8Ven2oQS+nqXO8kPmpTFqCyNpABqTLRIjLB7TDO1i7KVzejlkuwQjGCFO6MipKpWpZLTO1MwezYJomg5oVYJcYl+3Te6qq85kEog8GVWbmJmqToiBfoSbUFCdcoSBiK+lAo/CHpJG4vh55GRNYKbXhzbR+c9td4lVQCL4oAg1YZpoSR1ODg+VgisVbcnoZUV3AtUFaUqwkIk4hUgfYlThwQZH5yJ1yzSnmckiYJrKfWf2+fW6AdSf+RtnJ8IYq6P5oneSb3pDtDnqI7RK37VhYhX1Fe7t/y5HUDN4lbqU00mwVw98QmLCzyM+u90bGkMDZ9y1dLNRVBS4Bqa+3D3z/noOYT8sy9xNuFpLnffL8tZg7mHa4CEX4n8RqCPOtDuN35KJBFYIBuQwcp6Fn/yVEiJ7ESAGqpbiDh/XEVEKfJat5/15hwytINQRz8EhzwUz3lr7XFOEDTbi+K1vcX5ioFuxT+X3zGUJD39Zc9HDvBvLsp6J9/1NLKGdVqWSBhoz8h8kPkAJr+adv0JTACdBFOdHbXqyqVX1A9NBcJpyZ5+fs+hveF8Y4Eya03iKeaDq+qbnEpmBzM21S6CjxM8J8mulB7mHSR+LHOdg3C/gvWrRBYgt1KZSQm7l6EUJZZxLa67gQJjM+seBnHsh/zYkxeHU88kHTRhn8SQOLu7UvNTKFZ0BNndW3TXcM1DSOCKxnQ7yPlMrhIatJKX062N5/96h9T6fA+R/AKG91Kww+m1sa7ne50G6xXe1p2VJmYG5FtUhZ7rgEp5HpSzKpGDCuRp/Rr2gAE9feeZW+A7gKHJRZOAosuHiM+4JGPkReInCm+Yv+XUmdg1lBu1X1xjih8UYf/yaB+QlIig0qo30SEAuFSPH9UTL3GGESP4UOGM0DpV7aOF3m/3ITX35nQ6Kk95AGvYKCHbKZOYG9gcBRlWcjssiue5QEdiUReX1IUobQ41UrEUIEbWQslBYEEQDKMGl/QhF6KQJVoaRejPkfv+2sQEC8FeHo1q/I6EkH+y60SUwsPJDQgzK82BKRON9U3qyHTxvwWsa4BLqLCvEEUNCp9Y/M2r4AXsy8CPezPlanwyIjg5ua+sz8MTAbp4AWlHSnrh9j9Hx5atfbhlpKSOshcgO2ui6/6hzUKS18aDEV3mcxDx33GSMjizfGJ1+up49gM0fYmIEBG5QbqU6/vKCX/O8PFu9ZDJf2I5bgZYQjc3ynL7DCfc3A28w28wwVqZW4Gwpgdl5+Ox/zw11Dl0z6KcWdLBZxRITP2gi9+JHp9YJJZxuq852kvdc257QJl0+GvnUMjgRzLsTzoMIpSCudcSZahEC3sxhWHpsnHyH8HuBaOqlBRbA88fCGaFW1nk2k4ubNaleOqN1Bj/HA8JBdutKhhfvGuD5g3w4xEi0l8mnw+3VdNAbLciBj/HSZ/9Q6HZ3K3RA13hqgXiU/VZfRov3s3o3wdzFXGfG+5cVTBr2aO/7gYmS7y1hJjfqjpwHCidts5Hej/cc7JBXwulBpL5ex313MSJJyxMJQiyxCIU7cQQaaHhwffD4lx/JgRN09XaM/r3oDisHCf5oIbFMFaugv3ExgfGhb7eG6vHBNTELrc+H4XWMmbv6O9yY9BVYSAhTm3dYVe9HfLejNhTbFtgxx3d3fQpnB8v0RGqil6ko9RSXjfV5EMriphTjdClgjOBYVmIQM9IhYLsZI+xIBJWmMN4ZViRHps5UATv69fWIQ+7x3fjARBKWECd1G7gfxmHx39Xiicjr1rCdlUKuaQhj2pY2htWS7t0nVL8sIU8v+gGliu+As8ZZ+E7LMTad/EZA5TM2dMk44isdhBVo1XRJ1VdEHSt/M8phDsIB+Yck/rEgAjLCV1dKmSs+4tF/3c4LFQTs9XKI4kElRrBGQsIPL5odev5DpDjyzPtNTI7evzDh3CgY/q804oCPjYvlcUuwLLnvNJtEtXxg5UwLNyoG3bKEKcEQoqTwRM3mDsiQSGeLOiznqEyDBC9b0pl3ITXl/QuwJhphDc1WepqdvtiHZnkzIwrcRI4TfDeVVKxom+Am9gPQKdJpm93v+nc2LqWAimEw2zksE4B1sOu60mRgZV+5C7UhNwvJtSLmqvpQkxMn+dHTWfuWqoEgIW/pbWYX1FY4hJUYrF89vODD4Ev+3MZ+tBFOY0uhR/Cc3i/+0+xvEh4lyY+qDSPOYlGCf/bHpuWcymTJdxGFKwLtGs7CDwYh913nHQLPixQWBbVUK9q2VA5luzfR5K9Lh6aAAWDWcOsJ4zUEDRH8NMllllWki1t3+86YCDq3tGbJqlkQ92jUHfP8O1vhdbelXz3BA5w2vfG4Lajdx8ITzmGNkAghKUhO2RLNDvZ+GTIkn0uuOfNL1h3pI1fVwYbzyzuOHUg5fTwZKAmokOMqiWNcAlx/7FbVIvaLjRabsSIVaO5S4dAJ15B9cIUkMKV5aNT+mURMJXgIxJbd5KNJhjP0XjUC5+wQhg46a3QZIOjyFaMVt/sR06txiqYwXK6CSN6pO9dqBR9hJ3ck7tT5Du9YTFkitnabS+/IY6rr5zr+1gm4M4GXsDtosmxYPEKSK9oiDG68k5hsZqQO8AfahpS64O7wKqEN8XiGp4W4Uhx0NHO8o2XrBWkSNH7PrpZuQFluuo8o/e6vSggQcYsMDhIt2rlWnQ/A72ynjlxdjNk626uKTXBbkZAQ/UtyyKB1JxnWgGlzNkuHqokIwnBovIYpEbluK7Ez+NLG/QmYDT2o0W6mkGoEKFqHu5aB+az1mZtFWtMn63N+HfTjOJ9rsnytX9CXWN75exFOFh1tdAzRr6TCJ6T3nmwRSOlDym+70aXZxdmWP/3cC9lwkwkbDeBxHzlNT8SXolk0SNV2tR9yKoWu0Q9AAod+91oXJRoSd/JmK2B4IRerfDak6uB4uHCZ03z7xx+GdKYJd21gciMgKza4zeeq/5276GGwCBqiaoAQcDLOZ7bt2yiA40uftTSVnjpcO6clTgteLcW6VagiqRnMZPB60s/NKqWw0dXrF7oMF8b6V2UHJb7kO8zHYZWyyYDtTrVPgDmGdISNRdiU78KUEb4DTZKZfzE5dokkVESQ4gwNhRFqjLnZVYDt1B36MEl4JQj/VVgbEaf0i11Jbma9q4xHfpS6cUrjnFsb/0DEQCCeNDwCryjzLHeG+kkAuLEsINgQDQK0PYAv/PSVh9s9A6Wzn2ZGe4zyvSscJ8/HFUBwbRlaMkLKMAN37SMDRsV6DraMrjq9CFvm14oX56jqnK89U4f7H0bxlYIg6ehZvFXgKtBL9cLJtih4lFiViDXLC/15a67fEe4ysu/cxfILlJLktGxeg0SO6Tjs46/Dsu6D+0VYhv3/+pM3mKS0jVXjNjqidQNTuly7asC/pnBhB3O0oqzwuW+EBMkkTmt1B50mKo/jfdBaPUAz0pn0ZG6H15NIEG3tgu25XXHECiPdAkVYhoLeX3ZcND4XBMDz4eM2klR7RK5RBHEvLcZ8hXkg2DY0hYz96SzCaBe2mAlGwRmrD2X7HbW1gBmH8Hlfme8g7o0mBFyhVM3zEfJQ166Vel807t+M0W3INb8yoOUFgHqTqNO0R6Lp0GF+ezrT14gPTVy2/srJSoPi580ngxHX8jU+IgnjOp2CVolSFWqO0r/U1IgfKr9+HWqxj2YITw99Tl/Nga3FamcEYl32iLUcGbkdtfGFe6x/GpWjUHNzcvr90kmCYYPpm1XrkJZejpfFhAwDN0OgWXed1gkXN8/5LwAs15fxAFOYutqRFn4yAcaKlQSobQLMjbPmvLqsCdSUmgdGjCooAwu7y/rfZwOCQ7FL1xsLS+pIQYH826R2VUOc+L27TdygNPXENwkNBbMZSKGZGcT9x0GtPS4nRJehJn5p7Dyes1KtI2CBPmXS7EEUp334iVq5+aHk+nO/QXDBy4e15PGK3J8T4yzzHwajcfJLzg8cb72mCEEX6ixsP8oZ1aHnkT6grE42NtMpMXpAejHoEnLyNQf4QApjeKxLACXZyEjiWhB32vJnK4nj+iK1+l/QeFdifK9BCUYwINYhm92TgnQdqo9dL18Pwtm3lB+2if3XFKNAyFxB4ETOY6r35c+rclCbDJk/WGJaWQj5Ib7RrT4E0bW1a7X3iEwmdx3PUEl0kLvIYcjFA4RcBcBNsgKa1gSiWH0gWzXyWsSkg/r+ZStxPgcW8m2wXIaJfDNIQWFh7dvpX8HfLE9q71tvLdpL4H46UynQdwCAaW1ytN1UaoyvUpiafTGIn2RHdLpsA4PLt6XLH4a6dpX4fDM0ELPgupIuf8nkQuTXqBoeU0pn8olehX3i5BcQKXB0f02LWpNgzRiVnUtnMMgx5WSnQfRJWdZQYo+oNMGdD8xlj/T/CFN5/fNbY48gW5MV90ugSfhKKCePpyV9vXR/YlON/XbIghvpp58ga+1zzqMgr94N9bI8DNKFFuS544cLie/kDv9rjTauf38wCPCopVE0GAL7fACUSlD6A6QSI1lduihXMgkPCWn2LTVH1ecjPzCIyOHDRY1307EqpW720RU/IQZnTd4v88a6QRG5SQVTt+o9vdMixD81quHe6WMcpoipzL8s+MT/hSlMUJAVCvN2w0xSTcehJWN9dwjca9rLZvR9iBhiZcRl4pxKXv5kA/UAgrq0i2oDzRqDY3mj6XFXHZQWea4RDIsY3tmvSxLBjzRX+uTWIiqXtnTETlzrBVDIPGi1I0pLafIM+X1qqCJ6O4mY6n+LZbljO7fn3Y3m+7NuLKV2JNnWL8e4JcIjQ2Svu8/uBdeEmI8s/7WE5fjTP8Ko3gDvvC5A4gQ8bR8hMEIM3eoHiV2sFratkspMwUhtIpYuMnIVrAWKnGYxRkTYge0CvCAwu7y1xllyQybemSoDVjiLz8JOKgt3mHfmxtfGq4s/472tkx3MP/yYow23JbN7BSQ9OaCcPNalxzMrH98Dww+V6VKu7JvTkjT+tkPD5JRO+4DeJuDRoTdRMo/ZHyC/8TC3v/6mu7Q5Y+TwrDkyQDrci/ASJw85ursKG/KI3O73e5jCRBUdJdqtC9SBQy0w/tdqF6YnmlWcuMICUcrlwmc2dR7sZAot0ehcBrl/6gs/u4srLZuCbirRi4SjU5sp9gWsYU6iO2vpsr5xMVEEoMaj6Gm7CnfBpM+8O3dhBWJrLL6L8MgR+Z/1Ov7vwRwhDPGwl47p6hNWMkzSJbt+KFHsF/zyzB1yeYVZsn1poRluje6DIIGS8HxPNr2pqtYA5F9rMy4vTG1w4R5dXqlzf1kzCsFpPwMdcpHp15/o1G4FsOawLl+osCVk57jbex92nYQl186uvZ46HTzXI5ya6usTYxcRqkCKd7j0b/u14EQ8sAaVtJK2JTIYBcVbMNwoAiW1BaJbvaFSROqDs/P3c6+wKLlMNZqOxv3no5hAZTIqVqco2Kq8J645mLoSB70jJJ0w1gY/TY0fBOFFFQKv/Axj1wM/YIf4FvW6+vq6hcKQanEjPKskmc0++zhcn9Ie+0wTznTXjpHz75RSmcjugcPFFvOqeOvRNEO26jbLmkVK3ExZu9HmhLhfdjBoegE1Vylz41hdR1wyYiG/h1WUxOVnULFUGR9NnAqho7GexPoEAtvhKdIeeReSFU94WVWCWDhwqiEQOJofd96IR8TBMP3JKF4HC+DYLEtx6eoKPbe/fLsjEZVa6FYTP0WpTRsgEOZJ9JC7NZU2c1n6phE0rreXSaErXhAsDZURUJ0ckG+g0p4tPaJ9+dRwWIzfQe2Xs4c/Nib3jDcRGGoG00Ycacs9tfp2mPT3s4vgCZxvizjlvqORLt8D+NgDCGEsKIp870TOtkt6xT7AgZwkK+IPbnpTA8yiX7KjRfTVGd2dZj75j/zV90obyX15x8CS9nANUE2MvDNUVZa4bLHBI8QnrIklXaQjD7OheV2a0gRA/ju7vfBLDedymeIxlQ9/bVCDK5WgZwktLsIQ+btvT72FQR5IONR924qgEIhQtDoty788FGR2GAuXFgcEUANLi8TdrJW+D0JjQqwEuEbuhThhwAbRPlJDq7xOVsZqzZYBOYscCc9ABsAZkDhgFel3yHAe3Ak/hpZCSNTEUDsVwEICCeIAf8kufv991HzAaln5z9x/EaUX2e8s25RzXZHxj16zcT6EdJnqCpnTXMp/jxgiAoLybk7ZLggXECcKveO3fjbTnTbAoH+njRO8UPjoPWh4ytthRhH4lq5J8PFonQeKkefPHJE5cf0xHRVDgjmRSbg+b2YEf+PD6q2a1Tk03POaQeZ+MD5Y7STDOzbV6Zj6mFBPdT2B4GZAz8nFSz23odXuWEePpjF544iJC/RRG7wc2ZHFYzA14EcxDCSkgCZDQ58HMyXSg8nK3R0CtepKOxhw502pOCfeqSlG9J+Ja8Z8CWZzfVF/AMo/91hd/Dewz436OvWnZrlUzW3j8RdbADt57L2cS5K/7ZNX0eWu/2PaGfdlPChiffxc7jdJh2EVTcvQFvkNsHM72EnRCg9W1ezI5BfwhgNk6RhVU5vOUYcSx0hDT0udXT9gwIvapxbBDq5cVIXb9A/EOb9zYlkiVnKIV8xNGEErvHtd/PLJsxNHCZucF/gQvdQL+NTX85DZ3IqNI5fTRNsFPrl+LFr0nqXIEPrwF6XDa3Ij0lFPgnSK5UXBlobmMimaKM8sO8zuXkO84coZ1whfnEtIwhz0pR754U+TK2EXScyI4UjhAmHTlh3LWopKoMJ5KsrjIfmZSWmCjtWbobPWuHcuJynZbKWw8PKkFu/ON4UGaaz43V5Dl4f+yO+EFzp2kYd9hKc1o1oD6Mihjbd1MKDBhYYG/UwXMcYUyjiUh5aVH8wF6tL1x2wPYsqgIDrZ/i26SCgN4HqsJbWrj1RCvCjnkerA8w8N0dFPZCHhSD3OZajYWJ3DsTYZkPOf/XeIp144Vb8fhug+auF5YmIV5aKvucLp4Y5RPk4hvcJWEU6t1YiBH1U8GV8uMzrFoIfi+5QjHlGUDuEQElgo6PCI7YKFpqcDfxKYQYWPvlP1ASjJpAznDE9Ome64OX8tTQ16vdCUW5X34zlj6u1Q4x4AnC3myXzi2RC1f3DqY5+23cHvA9As5GvU1NfK06Iu93E4YKBPkxhW49PS1DnE/21lpPJB2B9jYzESeimZQObcJI5swgg59VkEIys5mnsDSskTYjNNytwxMNFaDaSE92cmZvF0GguOU7Y4odMZ+yaqMwXKRZlOCJSEsy6QJ5XNHc/7Vi7Bfljy3oTUMXfZY7izWIGYZTRWOsj9T/iW41SEgJ2pHvAuFLczqHIC65SKDCDfsUz0qEuqYfJ0m5dyuxRyvBsihUvmpoWNudB15IRSscdjD7wT4mAJrTL7AKaE4G+khStEuOeYJ1IlTgXlO2jLJrW9XeGThKh8Pne9MNyaqS13D8+Uu0UzVuQPm0FEiGaGjCj/rBPlxEng6uVmzB6XOxIeEaRz3i+920z6H2+yAKm6gbOxOCKtTY0SkcUYelLf3lgcsvzqsZtH9CqZTbfMWfzgWv3wPPiRqT8P+lwiH2GR0QVPjWRab87xx/zX+dG8KmQ2Z+NSl9rpcHbhEG49n1rNb2ffaeyQig3aNpt3JBqU/HV4ioVnujmFeZGBnjRhdoxSDNjs6VIiw8oDdmOZVvTEENPA2NrqNMMwyTURVhIH7MDdS5shfBN+KekgAiKZ6ER/j8kutp2WLmbwepHS//2pZn+ZqcWrdFUo2/Jc4uIAm3EdB4Czk9htdbnvaqs1CkriMS44WX+evuwFXncysAAzzrGEgfoA9G7maXrHu3LFnKev84Gx2pEzAIcEdA+iLmP50FB8vbi8oBiL3KBxSpqiXVZ8mwDhwGrjgG5qSJEc2kWRO8kBdmAU2azuTtyaN7R3TDEoNmJz4X6vSLxgbMNymJupqD+gnlJaW4DQ6JT9dyVSohInwc4ZqnTN8ic437wXF1BvMONjnFQRf3A9Q9W8wLRWtaFW/Rjs6SC2bsCi1DzndW0obAIA2Rj+VkQfhcuqiSmn1dy9yRx92x92v8tCMDUpRqtlcqm9Jms1ziGCEjLFoTFzH/BzR1TmDBAcFrAdE9XBtQBWb4eis0Qy3X8hfgkVbJIikz6ipDnXXqtzvwrx6OYPOW1b7148c/YmD+IWwz072UzpPqHi74Q00KJLq0clG3vOMHTi88S6HsddV4YG3da00ofJxA6wsetH4I6A2xhrNX14DttBI3Vga+VCyhgCOMcS5vduElPrQ+AnjP8Bu4f7s9Wj75chSDN3wLdYOnpqqyt3zHATVm7zfycgUP0yi8O5Z/1YdovjZ1SsRcNsEh+TWFDsmaYwPqlUVSqBRVZinaNVpGtb3O4R0BR4Yzgji9xba8L+54fj3wjCp+mS2eMf7LYEbwXLI5ZyrXuBuLbBPegg1gQ4wcWuTkcByvcKci/21LsIr9/Qu0+5H+Tc8RGH9CnsLYa3yLMzzj7MOv4wjKnwGDViXJ2BEgrbeCe6DRpko5mX3L3pmNqWddsSLC343Wwqa6DYo6RcM2Puk54k1rn2QPvcMmnGvs9d9ExhaJwyydfkV7O+nkq3+Ovkh0EyAMCpRU57m+cmXkS1kHepztOHyZ4rBsPMLw4VL2fnpQ4cbXENfUAQ3BYwY/wUEp6cWFTrCnjDUbwipGfSsIiMYCwN/QF3zTwm0JbJM2+mLknDFpG5dkPrwlMRxYQWW+wpJJWVFDnf2YPaEXmtrNVvPMFwid/F6jZpKwCSbX6ITH+/ikN+IJJ8LC2BePEWRQ8V1uQXRESGY0cr5nWCzUqCUVzeX1e6NnG/EKBr/bIoJKJ3Zpfq5IWNJlPm4iJjsZm70DTJ0Vqg1PbBszHwfsXffKzULYjGEYr4grwAaAnuX9fsl2e4vgUDfZTE474exkrVd2Jk1Kt3paxs7drY9HIzw0GEbGqVpYGOwANsBJ6dhyf7zgdBH9tvdobe7ajYXq+qrNBUa2ArALueyVE/qO59gcL55HYHnHr5SegwNDXxzLAKfXkMS5uH+yWBHZlnrKAVitfiaKRlAWZY5oLIkwtTT4EwCmMuk5XvHkaATHAWLzllALKOpmBWRIVwOzKS5HYR9mybFeQC8BiPz0/ASy3gLQHNGVy0diKl31kHbyfobVBST2LN+zSH9wc34K0+RaP9OHmO4QtNLDT9H80SfOSiHR9mKHviSgJ2lkEKovrv6GulzFEJYmWlyIB2BsDX3QQzlkinfRpu9LDIEfan/6I4olJjZDFfGFTBSKyqDJxOiteABwYfT6u+2AC0M3UMyQNEszdRr1rBwKau3LXIuzD1mO2QQPHJs+SOFhBzkOe2q6CBq5PAXJLhw0X/fgfV1OtWKAuvbqxdzDmHIE/XWwTNc9DnIpgvWGoksqdemt0GeTkFtc1AJBbn45k/CaCSFuLoTjCE0i8Wi/NxdRdpd96e5f3riQNcG1TTjxDgE1/XLRRrFJKKN9/nUgkDUror0Utpp+LTpjGjWiZ8CaccgofST1wpeHyIlgncZcqm5EY9QJDUdftaO3LSMDifnCsy51GBL5123baOgDPdXJbJNikX98ZtYsmqem2cYbOWD/wKZ/Wbaqo1Jwe8uzciYZ2hCl3WIpKiPESkK/xACZJs0m5GL1hJl4PVPe/oc+ipqWRWzMm7esBp5UJ68FnDdgX2CldRyyAjcoVzkmQf0XAZpkkOP7QyxaEObpCsZWWVbYA8FODwgDEOjl74BwW/uR3OS1hvkZXKnk7sp7+nsNYkT53q2aBYLRAO7rc0azj06xZ9eh5k8CDONoNSKWIj3bC1u3z0Yj/sEshZlLox6NlhUfLYYroce0RTiU6vBtKzzmzDR+Z60E6AoTQ6pvljxQ0YLr+9hdCK4JteirCz9rFZdw+EcSbLtdJEMn/8hXIc7YapnkQNq6RWyaoNIjz7/FxCXEPo4qSRkwogHhrcW2AfOJyt7RR2wcA0uZKaX+WMtNCQN/WyXISIvsjDmr++nIHWhnfOmDSsc73Ovg4/dM2RspTizgZ0W7e74yFtuf4BVpP/nGO/b/SpGMpESbDo+ZjOFsgxx6jbypZXaCSNRPuT6B5mjZEsH53U3g0GRRhqihx7oej20wf+sWFzTwZycX+4BWVYJqBkGDzlwfMxWagNCvsscBb0Sv/ijCip+eVs5WdMs+KV0WsklaHjeE2Gw44hEim8gWjL7G5WNqkfTWYhoS6gnCiGtkgh8jL9j27Sp73Wz9NGP0FUBTwqxoH/bEMSMDx5plznYjYbLOnkii/Oc2hDq0FGcR3eCpqV0tmbd6P5mGUZtmv7I1DCr1em4kfNDdA3TfQY0yAyB008IUJyCq99HsY2SJ5pvGqdzxIqr4OcD8kIlSXB1Wl/HPwAENhESPAamsC3SvUnexAtMazmNjQUxzH3thmImROLxVhBYfqwmP4FMl9D1YIdn0r8P/IL32bJT3Y1EyB8IPWr3r41Unk49VeZB5KL9SdNCjX6B5xdRwe5Bv4yNns/C8nzTrQJI0C6HSXP7FRGcH/Rcucp4izs7co+IjnfChZdnKyvNrQFERAwAucATD98b25CgjeBShtb7DKdtWRa90Wr58mEVK7TOLFH//xaMKlW5iSsuXx6jwRv299UWjDq76xZq6rKUnloGfSkgg4lCfYvLhiA7CxrWARdC9IEPVrqTmK+etwDU5yCAZRfKJjEVvaSapz3QGYNPNORFA3KMpaSzRTqOHD/c40turak6B3gqejo9EAZJo6NfGIwzLKpqXYeO0ZiuA8wnpBg0RFNrkY8hT2GH6gxr/UXrjK7hxq1I9LvSWgZVVvJEaN6KjDMQc9CykrophS2PUp53+tXOT/bhK0Xl3Z1H1JZLj9bIKuPFoU6YMvS9kV5KDKN7SzryS5CSwZs4nud4Z3uR98iWw/glZuZ6E8pCykACJCeA47tp8SHbIeqV8GqwVYqquNb3vGx1px2L+qXoOOTYi3Yqua/O11ijg07Zabi2ebpO7aIvy/SKtdUoGgRxtEGvjT4X98eitLQK8ccko0tIizavEY7peV9N5ylFNOudYd6ge3fRb99BBvl+o8ktC5y3+t6QJQxupXgB3Fj7QaNqcfQr2by438ck/8+6I3nSXKRqmPJmCq7yPTZQBoUTQ2GNeAYB0Xi/yeunw62Zp0+bjjnpyfJ+fWihqyqlfXqzEhegh1eyyOFt5m3NebpV1wM611fUk5hNFmo7c8cmqphwLFB3AIm/w+WePdztSXlpBG3HtI29vnYcnh6LYObwa7L3tlhgbOqYWIOHSCX7ffb4UbqEr9jI47O2zccbyJ/fHRYHIKhDLr1+16hYswLTJpfD4LqkBmmE/TZs2TXztBw3094Hqy0H02+h0M+kdleJBzLeoiFi3dqXPgUOyw83pz2zJFPG+CI+1beA8ZvHdbtPi4NXNfyvMcqRBpb/EOj39zrzwAvlFu1g530Eorz7XhennUQcs+WnJBbArhnsKaPWe0EiWrmnH4s0RTbFZy6f6QkiQNk4qAkvyMTp7BwJuEvY5sYsENUu9yBKxQWyQ380E1U1o4Z63lTKp3OmHIQVFoCog9S7iAgfqHxhJw5mMXIGdcJ/3ZFbztm4wOQUiJpCCU5Kr9qq1jXJI3LWD2QcqYDeNHrRxrKFZ3jNycMmyh7cA4XQaQ3OwFIfC0teOstwdLN9mR75q8eVPXmBSg0d51MOnDG8bzBTMaB6gJG9HZNR4yeGiM4pgKFPMl+VryclxJkkAH1uH/BMkAlWBfxB9MFZGXQRmqNku3qdRG01JPVAy8zizzLjf0XEYAl2WDp7iy4l45o1Munt7vtfVJx1n8dEE9880g5dWb7WP+NIUw5YjAZWVgCqu9qCidpAk98TBLv4+xSdUYX2ZvcP+8JQOMeErO415lhd/FFmPQvMrqK0wZhj6H6xrd8D/QtPFatSsrm7hUPPMIXxR8zYzy1FY4Pr4ot96UpDhYLg/BbUmn5r8dLhqHVC5bx582Bse8IFx0V3wbP5HR0zO84GCpBU8BBtZw47TB0ZKd30l1UecG45Ig3FjW17sal1rkJQ1Aj6xnMf6CJEaW72+886l/zXMqUoCWO5/viEL89kzkZKiATMkCmAzNB+fgZ+AzNRyp199/RxkGMj5s8KuptKRB/SRcE5AMff3o5wnse0oplBKbudVoIUyv9xAx4yR7swrYDFK5jdbAJKHUWZdFZJAarD6gOI1Z5G7098SciA/tHZQZ80MLf0zoaLn9+QwVZPtO+Ju8i3mi729tR+CMrWPGQQMrTpKBRc48YE5dsL3aAQFlL0ysio3AQzniOAE0BEHzWQ0UmB3MN62LosH6iqiAD0BAfPYBcWWRB/PvCbzktIYoVpP7nhYxclzInwY09lsnAw9R4/3XvfhTX/gTp73uqGuxU3y9+0sEK2T0D/ni5ZmiwOeJSwrzoPXMi5IPK+APaW4kx78pDDLkY1kONT9Xf21LoXR/5dpASKHs9QVSuHR+7SUdusD01LlufWZeAvgK6lacHdx+N/CZiFohds8LExQC2LFxswP3Ao2zs7wYXzyGVUzQwNJJ9pB6CDxUA0i9tvwF3hAkF4KrP+4HIWxRXKFWJeJ2LXRZ6+NqzFanJwAdFSW+9UcGRLmYh8KGclC//DBOM/GdtMvVgDWuvb2+bFkLAiaoRLyT9J4x1GxwOhRW73oifxE3Jgq6zC4AqChadnaFkLG6ERPCguUuM8dDPb2VvKT+8a/OkstFpN2oB0Syfv2X9QE+8ay5Zgsl8xmQ/OUvGv77+x1ZX+4b6qFrIzEvV3pTRajSdsiyt7Bv76G6gxiMpmrzBrx09vrcIyOi5m+PGxpO4T6G2VGWjYDg2qAk5ClZuwunpGZXyFxlWqzLZzq0QlexZV/Vyd6I1ibmUslBnSxvFBh9scPanvr4mHThubgc62RMx0dJ3Yytz7RZFVL0kzQk/v2iCtugl/nFJBrSgBUdjBrAtfsKVDNIPWZ4HUE2waqu7t3s2Y5kLXgQWTK17xCRt/4BeEAizU8xeVII3gZeOoBT3PovPWNMyKMf2ee+6V3ZfE313Rf3ltE/R16qGFVQ9KBTPpjSNcqux+zpSQJ6tcq5FPlu9Q1B3Pjr0Xe1JhSh/MtlRYUw4Q/0qJMWgjwmQbjk/C25vGPIBjyhf2PsKV9AYyWRdebBTn8wdST4J83APOAExSQlrDwBRr7liaa69r6zYzRYc5Y8CBVnX8SG1aVGB30s00ySTM7juJCivXJdiwY2tpPAIACYFChb/fE1ilcrtrKrBVn9RH+qooAQ21yGof/ixWad1qCDwAGeXSzi5pAcqn0T/J09jnA/RUMHsz/QQTMhz/zInxWnKEo6yFzbfG62MDttVqTI4SGJ3oJWm1wIjoRBfSZAd4raXrmrAFo+BDtlYqwcGDThd5xkxFnS01chB6pdtlJC0sjVquLPvtPoUMqzADEV1cz+s+azJbUpikfa2q+s5B26D8XdEZ/hHleL31R2l2XzHX2HqAH9KvQ2sdwTSLaLwFIx/FCPM5wHvf0fVH7BAlMoaok4yqxL+Phx9MIwWo044yNJUzN391qNrmksqTTKFoPejvaNpUZlBsRMMKFp6miwVEW4zdrDqtyYRlqztSqfAoU9CfG4P3asLRh0zhdar9IUUdc3nwJncDqWVnsWyQe0wqBqkrLur7Po02wtTxC3MlaeSc3HdULEk1waMi0r/1svsS1be86zoGdwlMfMieFGK9BuIj/bswKuCCKCx0OZal30OAWpW5a7RP9R9sX4jkw3omL0AE2qCzRZjPRV492Kaa3vevcngSYD6BJTT0xqLdL/lLuQ/01LCIYeT/eoGc2d+qPyOvgzJKBSTXXR5n0XlGsu/BTpAsaqfCgbi39nbAVsb2n7lEy3Y87PsatZQkMLy+YyEdZKP4MHDg0k8cpadzG2Z6nrfQEaa2vKpwOJORU5PcOLUzQiEFk2v9kX25ruUFt7oQO1txf7ev5y/zJnahmVkP8LQzz3RIc6gzgmy4yXOfuM3Zy/ji/Qe9eB0OmYSebSQTrc42FXfB9C6VhFfF48E4qfsxy25X8Zx3+WV3E+o4W81uKL8wapqVALPOicbGQIcLI2EB19jjPLjzDL6DssVpadMbWY8qU4lljn7XYTLJrp3gAxfYqaSm4j8Xrfegahg6F/IZsvbBYKhHQJnbku08zH/fg6L/TtVQ/+aI2IjCh4MMbt1LKi6JnxK/YTGppOSw0W8z9wHq54hTzSyHiF5ve+DkUHl2yXol5vlX9DmNwvdgUDi5gxZWpwJOCtx2+WB42NbE86S2kjdI4wS/hAUFFEUY/5ieTeALiDfZYAIcpd9J91Zo3qq/QNCTH3d6Nh61FleAm+uWgN1pHlCrs9VkDBmlS1fSN1YWOXY0maItdIkA7LflGbup9h9ZnijkUzAyLSoZuUcyTHeiMfZjjZBvkgQF/AxvCsGGX9FTC06+wSNMXTJ/xVJgf89rjcf8DhHqCdGNp81ELY5mTNC9DtpmAHPhL6BAN1ViQ6wX1E9PfDsT/8urF3kD+ZmERoG7EHVWzw5XmvWI3QjaRki/VsYxWtoFXIRo8Q3b8mN751dgCGv9CmeAdK9GmhYDEK8Yeu1FouXIV0bDgF14ja0weWj/joZrnG9s5smKsO2kNZbB6LO8XcH6VmnDGwMyhfbsN53trqo04qHUMk+pfSiwgDWiXwqH+B4aQflMq99QvH6TVMGqpVJ9HO3hWpoik88gW7vdKDNP7y1b3h2klj7cNPZASW72K4YV+lLtA/PVzJMq2XsAitjSDlXB/EsArd5mlcZhPYq1aOIo+2ziaH5USu8UgZym4ZFyraNR6RwYcHeVWdEdSfZjjY8/o5IkbSN+yfujFSKUd0SL5I1kVl8NvBdmXxqD3SRVBPKJ8w3SvrK0726+rcvfPSMCEIEiujR7wKL0c/+7K2zi/7Q5aP/ZC+KR1WzLuCfjB4Vvtaln4XwbIyWHfuBdx/W1h44RtoKAuLL+ci4yXYa+et8X7BLBW7cal/oGj6JZopjAUwZhTNKO8Htyminn1o3wUnrVL0VG5hYTeQcE10lTDDndC/9NhnOsVzPe1M7dcF8SHn9HqPHbaGmb3HAuY8zoR90MoNlzwdDZf7vR4GOzhZPdDDmx8poSPcX1KmeQLGtSbwlRKPAN3UHejUoH6f7XaZAkj3pG73e3mT0ISRogXS2cbRGFRRKnLBjS5/mS0YbsP20L+sRgX5gfpJgee5XEU8rMeyPIUiJGtf90U3yPfnpOVVBEqbIjTgPGzLEFCJ9u/z1PCFc9b2DsSyfYo5vjcHFik5AArXTRvblItrS4fhBEzdcAp7RkLDYvLz8qZqISxQF/2HTipixc3g4jD+pkKlVOug1XHqDUTnDKhzB52LpqQLchpU0Dj/GMBb8t0uZSBArhyd/2kXYvBD6GbABrSpvfChePRuCaLb3zI3rUxLaJ2SXH7o5L6yEtx5skPGHWooQBsnqhoVPGa4g4EaWzvsSss4n/pyGKYgg9A/IJFhPCwVsqiMohmgjTccMzgq9D0eetMfEH7CTCO/5WIqsgyzRoMU6mvG88b95vAP3n4uWuIRCWK7YNXbs3IVetg9wY+YCU2y6eQDezUFOifvY+PgEhn21VU7XBDlmXAXEfgituc4QVIJ38Rsd9d9/BHuc2k1oFWmU2VBcdNOSsFNqi6JcwWYYtV7vREKjvrbKe7nFttGcg/lraeFpHAwdP7FdX51gQJgcUnQo38lOL1vDxTND/MqwcudeU0Y7qxT6GZaCX9DGa3D2y1AFJJe2XWtozcpqaBcUNbENAIgxfv5jZk2wGSB15W6IMwlA01yRL6K/G9WsQsstSVkSiavOmZL52HOBcekr0ae4xDmAiV8uY1yq4EXjdam9fdW6Ug0RDIcNhf4WSnCdmKdj2b5c8b+0hAQGZUK1CHHQOQhBkX0nt4sX2cvxF8QTcW/pgSJBFmGvFcQXGdXBJ0dbHVT9qVundQMszNcuSAzU2q16xz1T0VE1d+nuHf0WMh1vv2jGzgPgE4bDTVcPigxxs8BJjgtv+2dfI1bil5wOlMjkHxBmk7K48qUtRWHCkGU4M6yWuJnUorSfOlP79WDfhbd3ZCa2LkeGdeTX2zIQP5YIJW+BhUoxXnzGinz/T9tHWdeICZf5CkZb/KgZKqlbzUXNZD0fgZOTMKD4ibyVqn6RRJ6yVOfJsTlpgsjRnd1Cx/5pcdpzH0NsrKhwc7MGDyoR/6hI//OwBhLcg2/LF8Hg164BWmQy9A96Bwv9FdzXfhCqiKss0z7c6rjwj7JYmlGfhD2gkRYoJI/PnHFau/lvV9QA0ci+G+wgX3avzzcssQzRDhDVFR2knrwNQIHy0E2NxrZkDaOkGJjD7yk+l/RBmw8I7m4juHD7XX8Ww7P46gnprd8OOZyAH9ckdrKt1Vk069CNL7iJcLRSwGN/o/M5GC7YrXAKnX0GVw/u40GG6E22KtjWgYnrlK4xq/GaqmQ7iaC18kif0+ctmYse6COiKWDB8h0ehZc6XmCbSdtIQh6mOh9buapdyRMQGYK1kwILuKQpf+2mBERHdZ4QucCxZyf8S7tYIgsku15b5Gkq0fxKzOo9GDo7lcUgg+qYevvHfufWSR751lA8Y3TG0a8UTmNWsag7VgtY5FZnuxbxA8n5ufciVTMvDyN8c90qHVfbf8/DGFUL3rg9S72/4SKrzIUycqz2n/4fqVwaIEpABN8fON+8wlatwYOjoF94FSv2Axlpwh/U36O5OaM+F8OGPQq40cZN1DFnz2IHjdOiEjKOOxLLDq19pr7JVKuFyFC/PxOxb2VBV5JM48YC+HrLmAeLS5Ez7ovTREBWfGn1aPKfJ06xo8gN97/cQxyLQX5VMD2aZ5Zc2n13uSn+5XTwAvkHSCwMW3pbNF/8auwa2Z6x0pqcZxqXueIOXTHI9loL8pTcWrA/X9H7OgEvxdHtXPwC3D5L011DMGZbsrDshy7b8kHKIGrG0jSm2JZbKrsQPMpVtY8E9kpA/0CL2wtym/0GjXjLbmu2qDQ8HGa9fuN+po+SiMraKSjKZHsfO49uhbL02pPWntKoEgnWuePBOaBMuHdXcahoAN59vDN5sl8L/cHfu0lsiX27jNAXGddSdtgu2rhIiYfIfGBzKroQ+FLSK2xRIt3Vuzt8CmwpWB8Aeo5ZEkaJrcJafLQSV4oJZGOA3P6UGY4QJ3Jrynl1yP1n0DdZeH0oex7+PW78+DoNkngeEdHr59JdqzwrP96XFSvCwrmP2MBbyn/VEYktyOyTAfABkts4LLlPRIeHnM5nc7b40hf0qezOcDcGsuXVwrfgfz/bZ6u/Xwe0UUx3yRNgSSyZL4QK19zB4DiYaT4MTfBdRc7curbHtTcSw+IXDsTrCyuQLsa8fQNIldh+IBb8G9WrOjYDGdqJzFYOcxriKMh53q+vTzobsr9yHLawd5FI77jOk01wFHzedz4vwpCm3x5WxYnDGJM4LObcbPiDXFNdCUW+UUfNTGXz3WILqNY1JRQbcbUNf0rhsGakJycpCNFOB+lHvbKYRndgVuVKplIfCq7t2FVHiVoEPxym2LQXCi1jNb/rAjIgVEmAVS/Bnj4EwCSpbrZf2KHNkiZEryYwrUmE5h+fRCN/oPiFMqjSKyS6dHOJxLur0TYfQm1DWM5WqsXkUlytuLhcecWo7TIoOwjD14Uab9WWM4+Zvbyw6Oj5hlc5eo4CosyUZ0K6qCTiUko4/NI5iDQP0VJjcXyav/9BJZpK36hFdPyUX1ZzG3hZ/j0dy+enbGIKAxoa/cma2p4ubM5+6gMY6aWrShJ5jOUi+oRhM3lYvWZvAyQrfJ3EqQlg9f6PfqMfODGtDY0ShIB2tF3LSVX/Aq40sXWG6BaqQoXGjTAGTIuzGH2v4D36DC5MFRg7mxhZxJIzG8m3S4eoDzFH1OjgRA8tmUAQZ4JVW9SWLYLqBDPUK8d3RtbYPpaUe0jvzWd8JBvgnGC+ztodvjY/VW0c6EcP/WPDrElSXnXDRUWQHLImMSvkku+jGydA14C/BJChvQneHboXMCQ9wZpiE1+WBhE7eeJxqRn8EFSprJoZrjLN4W8I0pMaLSXIA18eJe2pn2OssGA0/167iP3VjCt6NO2GK8e5XQACcN1WQgvvedaUhmpFiWNHZHMR9ZkBNKnLCtlRmcNG4zovbEoVquBPck4mm7jtPT1Sq/D7fSYwfHGM1dySPrgIASobxPjlhz7KYoNuV3tyGrmdIaFeskdDqybNZ7/W3i7Jle4jl0T0uZnC0H7wPLwB7eoiUptn9BlZzLsGF5y4kN1HjmmYvVN0zMMYreeDgVTltbmpR61a3ouHah8+EYsxKz/PvrfGyk6ATIEhAFvX16oj9ryIfcBznpZBL7hmShmZ9VeMP6Btqa8yYwS35I6SDQyQ5eWI1nzWKf6ldWPHlPGGme4z3s6NYQ2AZ97G70ZSWTNUWFjeplFa1/BX7t16e841h2+SKFyiDAK1akCh5qzB5Fm6/LDbwJTy/h9bk+7LcJhyq115MdUEUDUsXlRcWPsqtcOxj7FNFFAw0WJepdvaVc1NgJ2QPwcJTGaJZdfk84SI3mzWHfwND8kHSEt5SaLnEqgdBFCJrGiTo8r2Ng2ffXJZH2pDxO0Co6JYDOnUyJSLl5nafBfECspqg+JwtcloQLeTmMYpUx25jzgCQxI9NX4nUMWnF8o0HLLLAzWiC51Ql4vInZg7zlr4epd6T6dLNdxvg1Y2hcDuOdVEd5Dx7ln/M5f31/CzLRVFJMz9CGdIx0GhIP8WoVI7gq047C2AvR3T+/lC7RSjx/nZFxI1X1OyYB+U1b9DHYNc3PlFz1/Pq2LJ95tdgKGxmBL6F8oZagPZ259+Wb1XV7fEaTMN4OVI7IZXYGcmTD+G28yjVExGyshhAKVDflnX+0i2M08ULaGk2IpyJVLZy8BaPka2SazvPtFOszpRWyyIYbl/ot0cSgRYXL1v6UU5VqEoWqpk1NNV012rPN0gnDUWzur08P7gKUXq4NM+ChT9XbMGnRqK5O/AKcnAmPgLIQxf0hBE0PTHvrktxa35E0XrlxJJ5l+c4kPO5VovV1Q6qMcIPfOB5bXjw06OrYvlSdRr9jc35MW/zzcevH92qkuZQ5iBYjkqM+x1axmwrt8Vsz+h1vFzjA68dx0RwdLfPLjDBq2WgXRF0/wb0KCeKrxDptE2rmvhn7S+xr3h2mRn7mBijopvyis6BhdBrNTla/MoVvsnE7t4F23j49ZnTGKiY/kmzo6OAsIg+fKsGo2+LvCd4SafbmAerrsiyHfhGd90eMgnVTbcMYHqPL9AEHmrqaR2paD6FTu0s9xmapUUOs1s32ns9wkxGHsGhmKkYlaELyiQr3fCtri8oSRzOWTh29Az2ojRybUclYdtheZj+Z/YFcyyjzUWO9aQsElJyGafzaCdvuXDgNhNWASjPHJKj3eSgWrXV8shYf0V6XBBJkVaLR2FKDd7NI4/lFWOSLxoSU80Uprp8iEGJIkZFEorEU/QD5M2kyu4S1Z5WT6OU4QcDsmR2IaBhNxxTW2701I8YHxJRcRDOk8zZBrPWGzS1TQ9e678U1lQabGvgv+gSLCecNgseUVnZw8rl/8D1HoKxK8IZyZjBUYK9c9UAiUNnWZiXKjM0MHSo4LflfDlJO/EkF2hz2AbLWidvwpn/t35X92R/YcbtvkWHCvOlgS1t5iYG8cAS56OG6LhQIVpgHYIJUwfsstFyJnHMnFdVrDPH5a99LAaPUKrVXkvjvC4ELz1fZTEvVcOL0mkP88YK9SzqOteJyVGgIDd41GQ9NBcME6eZtPe4VqFV3rFnG9ou7txUQ+utp11r83GcQS+TERM8nV3rM7L1Ig8FGi02j/RVzgj39gVzsrbVf3iVS3X+9RkbCn4sIs1vNAqsYAewTFr0h+6CkHXgBxzGVkdWuLO+RRf+cm/zy/2skdglHBWWErUZAqycSj75n8qQtBAKOPTIAqWgZwE30W5z8ziPMzaw3lleUSf0c/b176/ZOHw6A3SvW7K9Ehdat2y6I1dmbysy6PgmJSZli9bDmK0Uzk/vAyw7GL7PoEaOYKPEshFEbKTLGzwPVW+anUngmyQGAR6MMoMGi4NcaYLm7IwNyAB3INi6i3KagSmOKi64WCZD7TzS7s1qu5RoIEbrIscHs96Ubcj5rr9asG/4PfUzmdKjClVKGLkVLPrwm9YOytkUcdqaMje+57xq9MxGkxuBHCwBBE2BJA0RAfao6Jh8Q/C2bb96AC//9RV8ilc5YfiFw734/Gpq2ktNxt8xAJrmOgWzmyGt4eyt+I9gt8X6mhJszFGlAUsysFBCIhenhvSQNMEmPQHbKIEwHv5pVMwfPA5rMr/z3sLGyxcZ0jUzF9klIULvsdphapqOsYoit6cmc6Xx6ZGwn2+Vq3RAdvvvsksG4dLMQRkEUXN0db6HoVVLq1dqcXCsSWaWbz0ihYLpP8S/KgVWVaylSMk+ukzUxqrjH4Q21VBV2EIBa3cFb9TjKpuj097TfIRauvZqB3iYodhJBEaGQURaczhDXdGPjpzAR4NT+WU8cgwPYRM67TWgxwAaXTFR2DQ7L8OWUByhwHXVUr7DPxwAUL14tAX/bDDU7R3VFW4NNfMvwi0Lhu9evR0agAcZfPlnoApthpAchmHI0BvGNhAJSoZESCC4n/8Rg1WTFHmVAHqXy0EtznuI0RDC0Kc65fIX/rDIvR5giltjlUarI2Tk1DuPXxmOYLxO2zPqtt9R+nlbBBSuu8SZyEjPmZvAPRCmdB7sS9iAIdH5Ct9fYjZRWMkp0yes9pp0/weZiId/PXCRhJOOPRhRu5CmtwBqg4uyXxTw2fEcpOSHlscx+xGJs+Atymbs09jtmhX2KBeouic641qyXZ85fEn+QT5ppZuasqrLsWbXUJ84IlmNnpHD+idnSELp+U+s6an85pvzd1H7BKYn7dVBzBnE1plB5nqNj9ZGfeENEsxeyvrMoCLNycdwW9vXU89qwjJR69zloh4njoeBhNb6cNxt4xHd4K8Z14KI4N5xrX9XwUIEXycQ+YRkJrOC0lwrf93RC9qIss64tYwAmo+aRs07ok+kYAnLLpK+JoMzr/Td6IudJaWXo5OOdO70UgJ9IrRZ+FjvpBkHFpzTRrpZv8vG6DypFxe7zqbI86dgDYptx66v3jSw3PhMdSVFhikD4v9BlBO4L0AuPNWyHHD3U8tzuw8ilQQ8QMNu7PcCNBeW4t7Ko+mpI6EORm3l1Gc7JjNgGdtdm/4+LpQpPOYbyp0Gx3cFvDzfoZP4A0rH9xTX52wOrV8O4g3tZP4rwtX8jw7IT1T/Vbwjv/L7OVd27+GkGNFXCcR3cPAf272trLk6Ihmtx4Q9OhMq/oqrLJFf30FHAPi1kxyvrv3PPMDKhV43jXu6q8TTmHwf+zyzGaFKFQQ84qfuyWb1m/jN9ejDFW7KYnzV7xZnpMWi/XybH6o6BdX+njzsdNYo34E1KBYFWZSGTHcUefin7TY+OFMCQno9sZRIE43ozHg5JVJV5dT0uEAgEIBdsu6zXhEYEN5iqsIyDNtBARGSo85ireAkeE/pwydo7o2E2jelmhZkcKqqox96tEBLAggDEzJAgVAw8IGWq21VGl19MDEmT+LcDrqA4TNa6sMevSU9C8GT1VUezBlPEFNRR4R/jzju9Cmnz5eT5dI5Z7DbUvfOt6W8ohIGtF6a3c33pEfg2USNFNe3jA3qoKkh2QtIoXFjb8r9Ky8UVogUJSMAxnTwPC7Lz2zMW0Dq4VbJZEmM2ALZAZ/PqDzhOohKF4emmoUDmdekMW0RrqRJkKhqAM3WbLPVgrswunHbBQch7ZV8j5naNWJnSfE2GLyhTX+OouFc8wCzsc4CrvJCeJ1D7tqML13DyF+wHAnxm0qv3x4zTqCLMhGFoXO6I4DVi29S7sjK/BI1CYbvhKGKlb5TSzDnq6itKgtO5lEg1ZEvNDq+GBKJGDxu8lCP4XTrVfHZA8XssOfb9MiX3zM3uKaobaaEpwk1MX6F4FbsHyS45uoYL/cpXFmS4K90HHJbaVBzNTHeAp0gOj8EpPx/BigAD0WDz5qyviZVgJucUOQQ88DuOeFYz4xOUNk7ddvKF3KPkxybhWiS9fGYzD1ssTa7kM+BLtZPmx2X9RJhKBtUikogtGRQDc+xqv4E9XSG9ugtylGnXDxbp6vm9618iTRarPoaxhmxgJDM31doeGjmGd2kMF8B2l+8x2pV4OBmcHgzLKN9f1NuYKpcEwepqz0CKVmpnAk8eCsdnbrnppHLbo51Bfkd9oCJTSojh/i8R2uGWzRyryREzh80gVWbwnLfSV2LNZ96nDpQRUcX2XcPF4YiX1zpuOYDtA5hKQvYADkyzHGHve/7C5ZZYqI89mUpQBRJvBsnTq8X7kOiEzT/kOJsKdedAFqgB7QeKTNMSoq8tFskE2FTKr+whj+C1bb8/cdo4RlB8FsR8Tm9PpWDCLA5LaBgJ/05rxNb+QrvnwON4zzVCOWjLRf9kzTI7maU5TbJLhDQO367wV0kYRs1hihy+UVQu3rkuwaEdRDMMXfBIdmSjBkexJcnuV0wHCjwXoyXOhgOCGVzLD57/Aedxp1gm2lkjz6rMHqMR2B/Nq/xGqfBxKU+aJHPfSm7+PiOoOIpoALHlIxbm3aI9xMF24hxRFjDn0jgLYtT5yxwfvCFM/EXIb/OoQnG+3Wwwoc8BQfVjh4zohuta5NZtayewPX0QtsYPNMk4B8og/3olBHQvstxlo+G9Zd+VSanjXWfI55XybFX/E+yOAFJj5zFG2eng5aFho5IHfPH+cwtE0oEwx71PPJuO5xECGCt/jnlgm8I6WccXgslcysZ+re2eumicM5HUb8+lS5Txbl6CynEF9XzpZMlufm0tAwbpXSizWyfD6oK82xJZjj2q4GY41DehEWhREulGZySkyRRx7xYJZ1PcdJSiNDS7mJP3U5U4H3RPKgfCg7Ww+l+N/GZQ9x0Ha3v4joEloD7lVRC/jqyZmgJsuohWRbXfeMciC4DfEAeMQwOh+CsK/CQOke2ARjppoNjCME4q6f1Lbdk8R/25JGj512GDTfruxonaZR4dc6Gd7F4hOMxjelJ8E6OgmIcc2Pmjt/hpVO3nDf8TRHNHIDRD15oKoLjhjcegTzzWCykUbadWHVpAXiG5YFCjrwjM67jPMxb6bf3ZG47N9xp/7j//ggf7GlpwgQQ1NYclu5sDWr8PeubZjWmesmdI7SQ4Uc6T8NLO63G3sXAIbhvI3EaV3xdA6MO7wzxEGxE7kBgKWmTWCph17S2GbvQ9zXIHEr1S+SIwGCJzRI/q3NbvHQX6fpEFNydwJkUekKcLGpZkIKrBrWAKN3U7B6l2+stMVWZkMlhgdmHeRl/JhHU0WB5cSAPtMeRmc3Zn2HUL9B4JGw3SmN0gSXon4dBsE6Ca78NxtFsdriVLcV+BpUgzPOnMXtHusPc76pVY6942So8ya9kzmysXzf1FiqsQPLWeK5mQ9Q4r+5hi0/X2WvxV9PsP4f7sLSOVXSI96DD1qtWlYuDpA0doL7sUj29kJ4fi230i7V/hrP4d/soeSLIDDGI6DXkG1o6VcHWlQRTJYhN3jcQ+ESb5uplCEcc7NHNj4Z4sz22rtgpdTrqjPVmvbSU/rUjDL0zwqnWDuZ6GzmHjGP2VUccC28qDha29dnWh1EuF+3x92JpmQWDWCqAIYXRdJpnAKxW1pQujgPWQnf1VzGbnlY+Tj3XTho5BQI56bJAgDVtLxXxHDogvMAeFeDcHxZTRPMAvKo0FQr1ZYSV0LTJHg7SceaW4W9tuhXPX/YqcK92q0sO48gJEIM7uhlS+HUUOsWztRpAyHZ9J0xUHPxKw5zjtVidLmIllzjeW08bywE1pGPqyvh/ytKdwvb0dRwf7sUohj9FUdQkjlUW31WbY9hQ1Xug7fpK5a6izuE7UDhdpcaKY4KU/jEbft9j0cSQ1CgiDphCP3ls4efSXwXo2xHr6j1xN7pWwy4BzSkYD4jqAmOoSN7Zt7VXlmAjwhPVcV0bHu156txub/OIokrvmDJ9mhbilbSSfS3/nV8Vz7AGuJ6pEMgaFnV7VBluO37q9L0Ermhl0uvyDkXrhQeOPuVKHAeXs3zveTvNJNLScq5QinBidY3kjsUrNZpoUX1e3UMbHoYLiTkoXHKMtu8dGIkBBhd2asNaNAgO8OpAjxKUHdKlSXuNwsqpm9NyJd1snzaVq9j+xqrMnPage5V2Uqxi56JgUijDcvmKyHrQrVcaC5kY+KUXahO8UXPO+wm3WBdNAIxf6GpbSnxlhPlCUJ2QQWH0TwoVYnTuUbXlfw4BuLIDuQjDIIT8fxRxJHi9MEqOTDcCXwqkNB0nj0bh/xHcLvpBUdQeOnWuMa+jdTAMjNPDuQKiwXryns+Rawk3VQhIDKLGevUIj1pUuMF/oF5nkqD32I7V8h2tzq78xN/vrdJ90h8NAEQa55yDCE2XuM/x3czDt2VtQeu0S32D/sV2WXcKHAeSTNVKhiQPTUK+FWb3X+5rMHSQR1oO8wo/VuMM+OnthKWT/KXa/NcEbqLnQDIhBNG96xl3yfssH16G91RR+MHgRq8znipR3qyRsg2mK5GebylY8WEd3pUUgAAWkWEaFUQ1+0u59ju/bkaJC6atYpeu7BnVpBcDMHpwloG120IbVUryD3kW4OTiM9RkDcPtfK6YJOGBSuXJ4HlZjuFbUizxENIOtuF7wfm6MXyA1ZWhe1qxgiFww9aJvS8ML/gVZs58p9ru9mdQ28+WxBFpItUUKK+ZzrCIcjdwzDJU6ojF+8jXDh7TMoTh8ZTGP0wXRyKuL8v/KZGW8lA1Z6A2T0OES0FvRs54j/erwiMC+SAfhp3GAG+mxmMR3M9ITOThQaxKfjrjrDWKmi6IfgkofKgCIfFHrmZUm8H04dNp6cfpnAIJzyFr80LFKOry7a16DvZnXpnCzdwLujc5jShtDtNZpfdfR9/8YFn41R1EVSXSQKiFACEA5wwfnHC1PAc3USgjoUhJdLdz/pOJZUsUTija2YIDzU1nvnBoJzHVPHIU2QUcdQ0d/4rKJamHvJLcIxPsZHIB8AdJeuma0/nCvy8TjZ0Y8t5rQCGJ6PTRLxGliJDF1MEipi36qP4UIgEkKJyTtEGNGkKBZINQEYhvulXuryk9QTs1Ix/vSy3fPITTzZQSLMMF3GM2cnWfNkIak7z9i903Xej6DUQGkvHJ/job7FT4kjUUM8BJSdlX7SevgQ/gM5LhOoraRVxOOS++rzwJgI/OuoAX3MdKMcJfjrkBvQ95bzuIcaju59kYKVDkqfG9gAWKfHqKFX+0FxhHfNLk7LpIIiyR2eN2eJZQCLjzqpG1M4eyos8mJHUM7Q35o4J2O8e1MhowhFcEc0ijClA+VqdY6S7BOAleqjhrU/Y1CmrTznBm1ECTIiFSzAeh7/0cSt93afECfzOiBZ3iJCcnMQuPjOmNHaccZ7HzFAvQgJ1EC2RrPn9R41Ah6GTSz9iqxK60r+exGxYoEsjyN43ExdPzxBleeunaCFZWBZmRgwp9rYGNyfdkC5ZNKeWpZYxAXRuZaU5Jvb/vv8VFfIik8+tqmBsGNooncI3K2Tr/NVAg8C79gH2zpJ1LDYmV5SBvVJVwERuHl5C8Cq52E0wxSyRKc6D84OdMCtscGkSx8jPEsuz5EEZ4IbTAeD+kAHoBNmIvZo9UH1wNvhGfOPiepcwLh38lzxWWYO4Z3qnHDt2Lhppn0LPLtNIBAKSEcv2Ya6Jd++aUSsNSrq7hQcuSOQf8LmM8ZsaRVzkoY2hUBE5a4yu8oS5NskexXacwmOtG/u8Nv8RSELnx7CEDLOCOdbh1/Q1+cm9loCUz1/bZfQcE0Nr0M4SZ4FLwcQCNudHFVEO2HGA+tyGSlqru74n2NxLHHbW/z0JR2oN62JVON0ZRGGqtZV1LdMhZ0npjWsRh21f0I+JaNwg2mLpqt9UcdiIu27URilbs2snejcq68fdjYvgAdCq2QGZ6gAAjUQEPNOTelXiMvX3XfNvj6cqb0GQ3+7seNvBMrWv+uy8+IZBb1qS63Aqo5ztcZlyi4B2DY0pjngOzr53rZxf47EKgPnmmHiLNDfprP6tYLEd/3snLXoegIf5PvWVMnjFPheomwF0CMXTEhs3e9jVFcF/jLHt43AgrGF30MiZkSsQv1aAURCrl8Tof1Ey+OGEORcCsi8DkywkoxcMFPBCBuEiNNr2W3NnV2z2TECZ5rqGIZ7b/Bnfcz42rWjFwCfF8CUWbnhJtWDtNspYlAAXB+FY9pSbsc6Oeh2XtYaWqP8MeavJ5l0TMuW9KTCLw/NPSR6F1e5aWzO5m98s7wCz3V77ebZtZPKvpTm4FQlYJiOC+GibtVaUR4GrRej1/DBfMYWfJjFX+xx4CBZ+qhwR2MGGwbddz40i3tSWsK6yKBkMcQUJLqAvr1tFr4NrnE0fklNFbbsk9/jDNoTJ8U/pjba8YWh1cxt0gz10FCIfhtmtSxZzv2oqBCjDb+PVRSm2yikqJkt76gY0qikkCprZ46mINzjtNUaXBw0MsFodL7aTf8KGTWpmvPxSx4gg8T6yrGbDASapqrMZcqOjCRHv3Uo4PLdr8PFC33FkHqNa4whPNI2BHrTVNZk7Gc7nWWJIJiSymn8Nfv9xgC5JrOjCUdlHktt0DagIOZiOcVvMG9Ikqcaq5tTI4Nwf2uB737jEtXPK9VegLo/e2j7gYKKBkfdgfIAkIMbn1o69KYtR2+MZB3cdBw52KuMTPAGCTeDcbB9roXWy26ZlxrDu4/rWXSE01xFiXwCtQtYXGJluqXY1fTKnzzWQmXi2RIRKtsHA64bJFjDAlimEU+F22tZ4dl516BPzcd/cMVk8vJyGTvAPdsXyNEg/KIPlPE3rW97XrQ6RfjL919v4W2FrkJ79weDkQFGW1ZSBlXfeevEcwKC+z0BB7pte4Zmx6fX9zS3Gila9UEc6SPJIlkN23887ZeU1Ifx5C8tMvsBl57TWtUcwKLCCJbbOJGtLeipCR2/JcRv/FK+1q9U4qI6eaPwXwQzGEcTHl0TNsZ2yAMPMLIfRPpKmbIFMEQoqf0tJVd5oAPufsz31KzRciIsD1cNdiJOIoeAu4MDBT9ThXJWweMA1oW6tE5TuueSGReUD2GwNXfZo7O/9++kyT1lPkAwF+ILoLKyrjWvZI2seoU4EQDh1yvhF+HJ6cI04UQ1ARpaLd7WhtikKZRE5eVqhn+U3kO8DTxjH3+ewUkMkbIjB4yJMf7tBbZypEQDF40WMIYoyvU+hKm05cRe9zsXZP647GcKl8fURE4Ts2yOl88rB6CyDb5Rzjp+daAG4KL8KDuhnqlkDnsGxLA+6GeBRf2fTr23x/SWwWJew3GpEUMIXB8MlOMdp+Ovc2kHfV72Dn03etuyHGGMxsrYVy3pI131TTpDQosHgNGc9yHs2xhKZd0YJZgtMZfoSO0VoNDM5c3zK58reAyjw7zTxVrVXjZhVj5DrsSrOOdFKEqP4tNsOjKGBSKiObpEeI2oSZr1NzLuClL4GwL/TSubZ7c6oAXHXgwx/501rR3zY6CvwCdCKKGkDd8EqYmx7uiyIx4/Bbmw96/bEuM3QO/kgYjeBevNabaN1v8I2AZhYoTisZYwvHmnt8eMxIz1FW1S8/HSr5lM1/sCFh7yGOs/Km7cci+Lljo1n1/lb5+emtxKO+Yv9CVOUkXuFVgww+yAXPe8I/HYOJynMaqTdO3YPBpzrKHFMkki0w4Bi1twxWL9W5F+Fyf57YigKica1nL2tEss9EETzJoGIRMYh3i/QbpIgUnXQ5NRWWTc53BFc3B90VneGG/vk66MKIzHFRwTInV3cMF+15bfstE3HFJ2ad10oEQBDyfwkoUbcigXBU77vyh5IMeG67YsRZ/QE/ANER8R9fFXHKAAm9eNs3l7GXF+9RHTQvcrpwin9wPPCHUi1KMm93SUAftfdp5JlWJfpw3IoEuN/Mi7d2kY6e+u/Yz8LK8HhjMRp6zzOAaZtEzhhWmMFDZP9gGV8J9CROPJYFKYYEqkkzhZtvj+GJvD1I+/3Gia+6mpJzdEhg64Z5Om2kpmBiy4KhGyPsG+yZwV5HY15cuu2i2X7V8FYn2J4P+hDYE60XYVteSrEUQBDPdmvkNnGmjnPNnPq7OrdO33TCH4nBdPetSsU1GQpupumI2/D2FkDW8bhGAsVvJbWsW+FWBK2CX4cevjSzOY9Pll5RvouGyFR8ohiQJbpXmpAOqZeT9vozVfw1dilmzS80x+AmKuC37SNH9nNA2nkDpA3yVUsRfYn967X7lI1aNpH8Akty1VPKVu2BQRBOgc8ivoyXFUrnEPSoexzF2j7BS5GhCWx9hJlO8xT0y7ftXTzaXumJM8+BJJlObKi5gSzDy7wJuK4mz7eeDzszQdL0TTg5RAJlIQT6KLqL1YOuRoprLAods1N+k79XeS8RSXwaM1AZ/za1kG79PZZqPgg9dsxw9dd3cPsae1UU3k49GEk1dLM/LxNk3gr8U5OVjKMecKa0n8IBOQ/8OR22+kIfrfbGXfWO5BptSrlnJpyUP3mkW77z/bQ3Ct7L8tryPKswNauj5ZA5ZgAbsi3XYJs7h2D+keIhZNzeL0KVprK/XhDCKTqLXwLX+zRhBVHeNz49loiy02DPMd+RYwU69CtLLf0BSiHnNatQPgsQGEZQThyRw8ZkTLnSOk8ySsRzgX0++953XJ/5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C3Oc9Z/0rOeadzemVvmB5SQOmgkjfC2G8OzXf0SlcM3UusF62vTjRoGkeUU2rsi/WGHXyqsSWELbQrsTo7WpF5XkT4Mzcuc30p34o1iwo5geM+3+IMEwPWbwpNj+ErOFRuWyXAY1v3f24ZqL9w49Qp2Dp9jyVpRDfAi/T+QclUKQNdctjoPCCfQ5iTIL9QgnILGiWxqe3igXgOwbSMV+ukwkv0gZPy1KitSECDUUm7QlLkaV5EmHOI5bCHOJQS9M2GQ2pls+jaALcZpptacDmqoipNhfeHElUiDzE5/vgP0YLERRMO6N9eHynrL19pF7/OVoZPzDeO1Wjmdz6xat2kdNjrO37MX2vLZLrsm1AdW2EKarSw0ZjH/nT1AvpObKdnRNdYIIuXERLQUJ6J2LnKMNDQt+bolFhjIATAvrNeszb+0rlw/RjVn4yYDYN6wAoudZF0dj6w/hJ+PLVJaRWjtjJ+h4uxdzxdviDRsNh/rkxvzLn2CbKZFhHliFDXz5AP77mofjQn3RRgvZVnqpgLEpMrPhBwIQfsxzSq9hFujae29HMkkuXj6kfX6yeio4dSsDMQ3ppDn4vxvvWfxR0cCNqnbsLI5lqhys66bYFXi9zWiElXnqCrxGlzV+3DmcbucPy9XtSg+9AvRx/Q1IA1oVS56YQWXtp9mItpMlm+BxYI2yXyWCrcmT40ISAVrmqPxgsj00ChqPujtzUBvr5tzNttWXlzttCVdj4AJoKyXHMFkvTUfdPZy9EIFF7WkBVC5J8Pr5YfmvW+a/fvvp/cCvEPPAj4anAV3fs9p16fzXrqCl/a4sm0f0RH0U6qRFpfved13WUqeT1rilIbovPpaXwNO8MSjGbxIjHdVLkuyl2AruFzSdcxKssnsDf07LM855Y20EbHNxyoXC6aaNqBSDYpfYRLU9UuoWTdFeAKzgKBt/y6l9KoKtY37Ve60f9guVHmZNE3M4eHUBPM8NMuFQxo31ztP5cmAdULXwbeXOMGUpiRUgjlu+RsTY+8FEKTn6TQfxXNSzX4hX6UGR7o95vt/TDxbMYZmN6tYDIIgsJj7/lSVSCex+Ntuk8MdrMipEG2KkttVDhZj/UDflWkpYAL7b1YEb/ngeziHKNbOGkQjPl4pMJtnWEAn5VA9OnWsp8Uun+L+5mNVEUGRk9V8Rf9qUYhCJu0mW+4ibqdjFlAAgR9Vn1WQa9winZILYuH/SVVPKDoEn6FjtP1HH9jI+L02g75nAXsZRXRmlsS65LuniaM+WdtKoTGlbq9M8rOV6STkPkjp20FE6Vou9RhJADqTU78QsQgFTFSaVoPHPUAx2Du3076yanV/LTOWVrtd40pzMQVDYok+HJyeXUVUrzoUV+TSXnPjrwMNWZr7vFpECU1O/6ZjFizHLmGtqNi5TLVL/0embaHbsYjNRHkV/jkPk0Twoq+0ZBfbYe2QHom01QHoS9BKwC5LxX5ce4zMSjT6knKG87PXf8BkR8P8QHT6p7l+f0FCkNlKaWMWed4V5BxEAiJyx34quPcmvc3tfqpaFPCnwGTAxniIpfE97BLuslfhfv0cEOMR5warj4XPBatCu1yLtnGGBLUC2amLBgT7JC0JYIQOm21Sq4FleSF/WxxvyCZl/mNUaijlOmqZ8/cPhB3YeX2YlLGV5nMb7mNp9TFlyjlgSCe+UU/giX802k+i7f7m0QpfGW2PxxBYU2QiY/QgD2tfkYcWWNfVIiQZq+R+OPP+Q2arj8oopAk8gyMT1ZtaEuguAPcyOGD0nBzAf/an0Gcp/LHHs5VlUTrV/XhsfssDdV6q4/OYIQPAbapmH9d9dvisvCpURugcTCdPfzzhdLUEwlZzvs3SiHi00OAAOVk5ArSTo0+clez/nJTLRNrpujCnEpvTt8RwN0iCp2EgA0gczAQj3TAvM8Ew7Hd4NIRrClmMqAUk/3z73vXbBTzAbXWoJfWylM0/Yscjs18ZR7F/K+6+tnY8AA9bJuOZnfYMCFfBeLc7SdGZ3nWlrJdKHDTCDgVBxkGW2gWXg/1Hw4VCad75731Lki0mGiaOQoc04GPpxf3i7H9xTeNrBkMMAWFFQvu2NQykrrpX11N4qeTXLe3hyTCnQE/d2u/pJCSQDXzoQvJmXKiKhpL00cXGQKN6PLqSLU+mmpXbgIReAF/aJsnckg9ncEbCIV+uHsHWSO19ghSknu2Zxn6opKcWRmd+TJ9Z7EBAYqul0Vk1ubf8zHLmZI2SDIcsbx+yy0Knw+kH0rhm3hZqSXFYSBCVYDvWdsbf9WB7Itn9fySBuBFj8UqBGXEvn9ioERHPHPyiZV3AA1+WUuMDkwiFkvf3HHENKXH6wYMtUwPnO+fLvUKAY4T6rzU3pvg4k+PAFJJYjfolqvCG1ukC4qk6VrZm4epWAU5ngpR9vKR4K3mLm1Oc6HyL4EUbZtulYIAm7cv/TmKxk53m8/hhrRL/b4DplxRDd5kQZhzyHcwJi+DhbDI8NHOd40YJO5PScHOvBP1Lxb+/kxF7BXmvuPQU3ylMdAV8TKhtsLnYJeH9OsyLDecFZzcTUJp1CreX6tRkWgqCn4k204J9bjcVlXmCp8QXcxWa7+2oDLZ2uzQJs7yfWySN5P9NbM4JS3qsjabwSMO4oZyLhL6V5z28x8X6OEeCiQrJCHqUuQNUX2l1E03U3VqkHuE4U1VMswkeE3XnJxqfRTEarsaZcS1q+xFhkTuRP/3F16rjJx5rTY9x/YtpB0I+TWLdqcT4nFZl7AAl1+7Auq/Lk2ADGgoEMTYOxSESpP/pLbDQjtvFEc5uIFPo0i5OSZYu1rKAGulYikEbv1/6ufzea0HNh5ixQjN3HUQbbGJsNwNd3w00f4YapnK+G4tLc8SlLPTjPQlbwR01n2OfOLfvQl7KDsNq+ak+5S+kuuGfyZ8Ea5Vk8IgApq6IeQFPdDk0oQh3JOTIAzndouW++bHXHZnO8kBTXfXP9YTui7NyoaFTh5HZfmBCwILK2uJ+THjUP8Tmy3AdPHQvvhFrPvEI9BXzbeh8O4d7rNKeTY5Q8KtSz2bqjBOZg1YWEfW5jpDWcmZ6EZ98wIaDLwY0mT3tlbzU5grrya842YDLpeYyAfmEfhf7UDDCNmx4Zo6XLloRrZDSphmkgQgw1WXihGGNyNk55CwUrKnNU6/7kOLDigFiTXhjkYK4eLUccK7RqeNIN8mr+qJVtg+uc5We8j2eUBzr95qZAd4fHrSLi9bYfL7fgtJdicpHUINvY8kWLaok5x2paha3fFR/YXmFcTkwc3n00SmZ/ShOxLyYjeeGCxAdLbqg/GfYI0mO1hAnVW0XeOQEsqCZotE4FJeCcH6q3T4t4MUp+0aUQ8Fo4ddb5AqvY8RJ0wUTEHjNSSQX1lDbigEUGrKrY67uAue4LMuNYmI9nL7NuMXDLL8Dh7djmtVksD1EUrEsU+GMtgWCZQzP03Mdt7rzugDqSs09o7754yA7/jNEjwoFZwLjQO7b6xml3T0jOhZapWYUufPuhmRQYlpNO7fzd296JA+TP4DMtBY8ckmHu/21nSWp3K/khQxbCkZ+5MW2K8b2xgQyxfXulrXD1oG51yYDimyOqC0j6CCSYi2SHFKR8Vi/Tmr6ZZ06aKD6oxIcA5lTloCJzYCF76N+ua3lMZSIegwSk+NUJXfcGJ/jUu5Uhgr5qwrPr2/Hu30Cs1FHTtuU2oSyYFUG2/KGFE6i1Fz+u6MIjyDcUHaqtDsg3TWroiDpvFS0skuZXCrdVEkj9Hw8Hb3WGtPW4P979PIMt02Q/ut8O+rbLzCbcnO0QvFD5IRflrdMAlM/kX9fLaAgJ0QexPe4+cIg3Y9uNsaRNbspz7cda2gl7bmYKPBLPyiHP35/bQpf27yVh/rMfvr7z+5mpRn6j22ZT8VTqOgJQPCBnzrrioHuqbl+Y07yJlnjslEDpsqgmx6D301D0hcZNv2RxO4dC4yrYuHHuqS8y45QgMFTU+C7F7vmCkICNIAEgBRXKJOaJgBJWT73G/AZN1EfdAUbt6ho37O9o01SymuQHxMha+6JGGPkJWnQ+joZ+CEb8gbbPIM+KeOAo7kOybp/4ANKRRRrzUX2gBjpSGK2QIjJCWHOX7bKdnuTr+WBKMArjHj6DS2J5uDLBPNY+PJ83ivsdH2pyQ5CRnnyBavvV2UAptqURVqVlO1T7zqL1RlSOPcAjvMU006KtFDBwQtBumoM1fj/nQUKOvx2dGxHfgmw1HMtaa5vnWWgDsgmZnvspLAUDGqR5gcfkzpbd49n5NsPqmWWfVR7d3soG+ZaYcpnukxlnly9emaEvgMK9MMi7XpcNJ0XsheWAAvqxXEdcmd/m8w7DSKiTTUDE2DJRikNQAjtgSFS3XNeUHHytOo8JFZlDtGFIj6Ppkhq1XQEmUa/yf5E1uTW56mGBpJnxPgoC02B0MoWZ6Cq2pLTCuUoGjHmHQgO13VD5nhNdQA7pwVP3CUP4GeNoN4iOnh3zGiXCXJW3d/zC8/EtFBUvP/ANkOX67LQqCDmHf0dlUHDdYJOYeaeqU+jL7N0vSMYy9Zgr/Nuw4Cb/oi9FWin8tSvo5fa7F582efiT1+CiZz50qJzUkejBNZ77QynHJeBFsj6BSPPg9eatUE3LyRhTef+BCDy/I6PxMwuVCuCMDRB6eF1X0SZZmmEGcHUnEc3OTae8XNofNOSSqXEFVJjAa9N+ioHcstyTcnQz788eJckoFpSx6ARSIg3tjuZjNeNUOkBpRExnbUNhYXS/lcrL2Gtr1fWGzekynGvPeIWBQffzgidsFFnlsFCQp+24kUohfQjEtotnDRGeOu78OEcGGOkVPqNqW8u+58vdTA2yDwcynTSa+ceWBDwkNcmwTa/wZBVwpFnsP51xmsmdU4EDzYeR+zTW+SAE9rDI6hY5V/0r9Ca8ebeu3i99ykqXkMR/+CbxHSGM4pwGmKGSJjjNVhQdsG/poyVcI6M656w3eu1KzTyyR0gfGY+RKl3IdR27QKFFZrdcNwdgWcqY07lIVhuUPKEYEWq2Uphq9HYHER3ceQ/zZ33cyTqlzdOm1mBqXDUno/JOshbMvLShnpRBFIZeWIed9nka+RmaC85b7iP4kHwXBKE/qqEqOUh5v/+zAte1cw1W40FZawMTL6NwzRJDe5RuyJT7rTF0yL6h+d1YR8/MLfqOYDyE3c2wjRQXuU4nEThdN3QLGhE3DCE+/OYglGOrSB4nVskxpFlCVfpy9KnPM3Ek2OPb3MGZoWPB9E85p3xk0nnhghUw5bVdimQ4XrAA44OGleE8T4rPtHYAZZq86hqUVl7uFP2vBGzoa0AvKUKeYkS0d/GRWp17PVznQIOqPk9hl3ncI7ync8fowgmrn1glQQkeahM+zFaXQmr+9T9wdvuLuZZ7QjgspY0E4MeJQ5wjANygqa3h7jFCgnEZ50n5Poc6ndW3XFx2E+Cw9XHwlzee10c2s63g981Y3an+BH4Jf953DXMV+IhIGS1cV00aRd8RFQuMV5kKXGyegCeQ5B1sI8SUxwQP3yzYM57U3Zqdy9R+vZRKtnPSbJTL1h5qAhyEdMZ22j6Rg7T38hiEueb5xuHCpy8mkCg/5ZesrQJM30maOeLXp/mBep3rUVTdgWgERD6LmDntwLrYYpQtK4pHkfVxstzCzVIzQPeH57RqVCRNreOSHA99h4tNnAXeK0mcZgBA1NiyqIoJn7cvAIvVH07KvhbLP9zbBNTAm1fFFdJKp255av8eSRySFADeF8zyVOi5UE8r91NsoKeqGl1oohoOFIwbp2fl1BJBh6c19HyH/JtmM7CVFKQ/oKlePmNDz01eHa6j1XBbN0AKfYkDC7ih1IP+SJXHD9px0Cai9dUPgbRMTgnam9AVqEE2lsrMVaiNr7APy5lEonRuXQVslfLOEkhrixzBKs/OVvrxSvjDMpszGK4a2l0P0HNiiWCBnQcmiWi94W3sxNPfVIXpio1FSg/NPpn0NJzl04R9aiN2/Ty/h3JWVMEc9A2P9PaUCqTdYqFM2aZ2hOYLR/D8MU+c3a8Nm3voV3FbgTumd/gSjsnVyV0c+7cVSrw08vflJ69Q83RolCIsGBWTH7cS7jdMSsHFurM/oGyGbh40/IDglBiSvkwvYIE2imIQnlS8AUfZlIwmnncXWbHc5tmdnLnuwKRCDECDrHDMX6Frj1iRZf1Bgt0CEYJJwdXSsBKs1jWYTaUAZvu0s79cDI9UMEDLlQHkMv8Ztl1u0TYZhT99hHWMKrRk3witDPwe8bjlDKR/rmoUF01qao2/9NhoFcM4oxckwuf6CSXQQQGqQmr1mXpyeDmUvWDnnU1Y3uT1MQuarSv0i3Pym9b/1zs0gbWFo1QrcKjeMtPxeQHF9MYwLgRDX1rtemFsKtELFf5sEcRlk01YNYXZFyuEB6S9WQmtMxbMVbDoGjzI9lD08izhEQEkqiQh/51xT4w3KuPW6u5FNeexDXdkAE1dXykW+R44E8pDKMpaaQWCwjM9y2xZArN2NIlyq6sJyEQ/ZO1aPsrTJLc3YnrY4cilrzwmVgsLx5+E4aT7I9asPdfFbqdyuRfH764IHATsJwn4rJMTJ+nT/drpFwPtRtGnCBubHhoOktL0f1x80bgSdWZXIYc4Xwy4UiPqWTQh61HaihktDtDRNI65fi20E2oFaflgXdhH9xH+3+jSXVGt9RWkhi3BEdh7X9WFlJiAbtEV3JHVtOFtDnBkFfsTBGvFtGyQ0lrYdm8b0ZndV/A6wqlU9EwlFXR+57n4kyY00PYXBEMtGeV+X6hn9ql7XLT1StYFG7ZCLwtxWT8JhSvW+Co66IDPArA8d6fjG+cqXnXGNvPKBz5oo05EU1iaQsXuS5G5UWmKriLhsiLgKeaTF+MAcQDNiOy1Bvoh8PZuIWPJNtsXbxvfNurgIMirokYPjMKi42zeIMfFlPfJ5NA9BmSSVtl1TPXTccMvm1EObUwA9+vnZI9tqxf8UZ9mNBfxg53usg8s7MCDgj7WTMKAhQkE8t3Mn4py4lIJkfemOGJZpO5NO8oS4Zwz6rb7AEGeJVGChsxEckndiE/RG9cBhdBFf2QYO2V+BuDFwYULvr5fCtT+mYgsb3+uvEXcIrOP+e0evqulpi9c50z6MqSOs/bmmSjv+g3hYVpiE756yMPOpmc/1fi9RuilsVpLhOVk+IE5xqTl6GInvU8RaFvCbGWaRGKbc7ywf57whejIGa40iU7EDFgEQY1q5jXS0DToY++z53uLg6Zesj7AnZwVVLbdLVP2CqHoD3aoREDOgFBClV9fPWONxbT5ywx/DKltCO2P+Z59uSrF9fDCpugKcHzcjGXpVpMuFaL3Bj3ieA8xcpBcsJk3yfUMWvcQU72KhQkCV+CRW0napq+6g68+n/jbzj0gI282ETZ1eGTcQRfUPvmMC5b4/oJYRnYZFa+y21wNHsFbrNHP1tcTFwnN6+GzMg6uaMTLiLgKe3jyNuU2dGO68Ujy4sM5M81mkZArtn728T0+dcqNLDw/8d0/aule7TXMmClp9zWO9fjF92RhCQJIGfAyUnwwfVvr9H4j2+5qV6jnNdRLPvqwVdLH2ACmG04zARi8dS1gUp113Pg1D9Jjon/kd2Nc8zJqD4oGnZZcvaA9VxbJ+SrG1vRU1JC3eBtOY2u7MG3DGAPIiZnLM1qyD7j3imr8VM55MS0vY/Znp1EHxuJszaGMOSCYhXf2BE66o81tqQWQD3d284wNuZ7CUXNHPQxzIQh1OK5v6THFvTjtOToB3LMw+Q97aqA7JxCXLnxZRdaeuTTjrdhmvaV3wAC9hORprYChiqvGusJZEGGQ72o9NpKpvHXdUw/53VWQqay2PBxrHjwCHD3B03N6ZJPWRdL/UjxtOVp9fp2CbQkXJdlNo6ebKuYzhMADVK6q+WW/SB4bVGWRD5ourrdPphDs5e6uZpQ+zG9oCUG7Tmq5UQsTkIe3cXkSJtOQHjmYtZXsVIweFfcbgwTgVjA6ogqiXW0kQ/E53Vmb8w/zutOMAMxnKlakMvaMbSw66AWDJ5YwSePGdP088qRUs/82p+/JQC3OD3dglf+eePKVH5VpYGjFO6J7i+YP5VY0me4SMOBclFlAQi9kTwThLTNyKYeF1GxmBVX2xw6KyXSN00svff0hL/3qXp0zqX2BpLQ9jMp7eLWPkaT98+vUeKe/I1GN1uROSeHvSxC77YFy7ZmMFiVdQFPvV7GhDCtcRHuydD+n+uU8ib50o7wlwwuYSrszr9KW/nrjeX1iOzyjfgV7KV6mglS5J/w2/KWixx39vxXOh1iHjrnRPgrEH1aCqrKYyKGa7hpO7YCEXBlIk0iNBlW7yJ16BE83vawlIvNbpjQvPSfP0t6iL/woky4bVirAJO16iZwmNctVxw5Dy+IDiipqFWLpwmiLsX35CHEUago5kj4KkL3Oc7+rz56UjJkTLutHJjT/B2vHLYGZJzElbf+UHe4QW5NClhUZ18Q/d+9sBzd/2a6UzpPJpK29lBxyguOmc58yXzFv5Nk1ZHx5ouHJXGVBlnIhcV6x/tOM4gnpWRh4CLZ6VxFCQJoXN+PrrDGlxBRFS+X8FyeruDZc36SfnsGlHWwzNSbcl7C43AHVckeY9W2bjGL5aXTr7AQO8HO6cdiP9Rfckr51QeRH9rO/ConzlhLNw+IImFm3qUE1L0s0ymBJG5L/K4DS0I7tYKD+Urf3cnE/Qr/w2CxByMp0++ipOnQhZkXIFkZGeZ0C7rGgviWqmDUC0ukmurAqdc9iKTnjEwqCJXXgBzTqr3StvgBD6BNh92k4u81KNQ2DT85S1E3gCNueMxOvM0zW4vEt2qneQfEB6g3yacMfcv/GN+DtbOUtKn6covqG2Ug4RcZXvgRdRsnJ2FoOL5iDbZOVJi5WG/y6BCp6co7Yq/ijEPPALEDVYaSTEoHyiCsjHcyG4GGsgLgbA8G8sG64XCBhpmTKJksYM6wIhW5iRPqX4lXNE/3JV9NpXsqpMWK2mPCDXYjICCxVkQpcrN05TrGv2W+jN7YOWqDNCdtkmF+mmELsWK8xjxDAaoUrjpwfZzEnUfh+IQjtnUORS95KG0X+2olhrHn9ZTcs4otL0hnvVD6Ru2/1zGNr7KCUs3zQSMchtdsnj0DK/qDWxjX4fgeWRWhWaEPCIJwKHjjhU6J8O98ctlcsg4YxQfa+WvYDSEs5dwLKuQfwTPf88yu9ah9MQ57QD5to3H4ulABlgOYJ7cGdzvL+ChjnMet/iQx03unETSjT0GxlLJRM+CocwHXqzqoJbQJCWrtfxOO4zZpiPPd4yAHwtPoWraR2vbPFxHKT9sxl1cUqBGNSTBUJCrvdbb+9MBi+xnHcRB1vuMWL8R8r34osBCJqJlOsq933UNvdfPKj7wu/RxYmzlGnmPBzmztjh6XACGry0J0OmTYnidaEYPmKkGDKa/WQx3kfZw3v7b0BMgXpdVcao7ee9LEGPd+61fnxhs+O5IRdTj0RiqGoWd5qSUnVHZrlGziUmOwwwvme4mnpjQWCGtHO7+JhrdoXrcsLTHZ+0RaLmvh1VlB+OYLN4Za4nS58SVfHYSgP+CB41U0uP/N2zcTFrix/9AIVEs/ba4QTsfLcQU27/UVt2cUDxFrogs4afaNjMNWcuBfBabJ3BU4vRJT4T+6Bb4vFVVTm9ZY+z8R3EC0S61uTpa/7s9cVUPMBvl5J9LWEVGR5qeb7fCO5xsxiJX0FdOs564+0SebFxmTTeQrWr5JvsMTprb/38CBJ62FyIiMVyTPuJT4XyJtpna9rgLpQLMarN4/YKqXUcuy5jM3VqcpBXDEHJjVbV2o25LEDfm4p4HUPHEJ5K9JcPYyHtLGRwgrJBSAgUY8FtPWHwsMRx2RCvIiQ52UQUNRAzp4CdeM83LeVETFO4xjuJXczMhFOmx5jjGn7ia7q35d8SDxYVC6wnDAlWcMLABOKmYokeb7unqxCOvL/PL2hl7kPfhBv5RN8vMdFTmKe+DVxoyPeAMuR/8j+zmpBUlOhHHMYscBehhi5qD2XFOHv83wpnBnMjHjFKAJpS1H5rOlnF/uWCW0wXEQFYW6EKYAjAFNXn1CkyeeoQksodT75ZEKRCIKO0YNy5wXbNvSpV4eEpqiMDv8tpmOxZBXyQuMVVSozzGFnMHxbGhBa3k2CAxZC3kz88/OhCGqmIS0qBRlDHzhV3wMBJd+NUhAq1EgkNqVxKHKlQcU8XFHEDRPWlrwlwU42DZLL/3TvdqNddNPbECe0np2GAgaKp7493Q5hz3i0Zm3ulVl+QBAvnvKkqAJZnBv606nzgzwG0u2+OCGyl3vktWjbaCzM6IWq9OTmgrx7q1N1NsTQ1Bj689Fxa0uD7YvL4vaLlxQOgkYF3kQo9Ag/9Bsj7jMYRBXeFe3TfKDyA6i48QytmLYLSshgsY/fSsW1UQhcPll5aODjTDl1W3MQP/D3R0XQArB2FUBaEjeOn302ySMSBWhvaTE5d2h4sfMOB8FauN35aSVOu8PUqx9bJqJlYzQedOJoEsYgS3rilUXmyDJilILTQOk37bsPmX7H6iMXAmXvcjkiAcmWWupKcHs61rXAlDEaJ83kfli8gGKFA3yjfBdiPTJQrWCRgcE+wpru8EMPF0+FywArpUcpTN2IuuMi/gnshgd8Mc5/ktKkNOOubjsLMQuf5Z7PoZNEXn1qYCCHsJfN7TlvJR1pTUXzqd8CibuRJ6QJILmOD+mHnaJY1E6j9rjxd6tiq0Q0ibvXWhdUXYKEN5xifBdHP6g7J4zVXJz4ffFtfwi9ugcq6/APCJP5wqrn8mMyvXeySmcdSFlr4TX1TCDCy9WZQIUepW23NclcdsQ9hMf+B0WvaUczwWhHP5AP0VHTf7Y715L/NmlSa3xVs4yreT6/uyPMS808psM23vJUVFm65IGrHgnyuQ18UL8BcN2vdKxJajXEa04YgM2Hibc2Hv8WfRN+gcZJ/CfnvtyVlXjw5bRbwSd3nAw68Y0EgxQnJWK5yxVnI+yaz94V2rw+o6yMxOfDSkoY8KaD4rI55xWAewbaG1dwbf9zQf9MyJguOjykbvgcnX+GiMCJChDy24tTun4g8cF6TRenu9md6Qtsxp9o8LS9bW1Z409tdSuWsIpiq/jVTFdga0p/pW6q/y9OumJDB6f+1e8PTuEhnNRz4CX7+j3aAE3VrIctApeNUUCRGGLNehZG+/v6NekN/zW5tCOco47/m35nJar8JSyyum8KIkigWFmq8Epv0QEzanhoiO9fT6g/b0CLD5D54V2tgkfT/UuIbKw0WYBrG/fLRuKCuSaHvp3xIRka/cnanE5ojo5efVoGJUCqIQhylnZL4FVRe5GVlI79/QrIKKwAydXyo+QnMzG2OcKSGv5sltqXGd4uivAJ/blPcd3KzKhdcf4UiKyLnTzAn+HxJ/1qisNuvbdbIulaq/zjksa/GTytqJWH2QWtIALNNNmtIjltv6lxzq/fdPhBSpFI75Q5o2mqM9AJCBv0CalLfqLS0K1KoZY9ov5wKg/JzaD+ZS3NDDSyV5HP2wn+e1+Hrcig7Tny7EN/3Qf3F09sZNe3+BirT1NqCJjRJWrozpaPznn5c45IzM6WsX4SdEbz8bqaFdPJ6j70XI0KpmNJJlVoMC2p8vjUuyLU1GTEVVw+0G2fABxjp5Cba34OmnA0Glt7dHN/p2zKGVlTz5hn0gEyqMQmwHWl7ZMhknnLXUYhlOtC/xaOya5UCk7IDk9XoP6RoC6iOTUq+q3b5FHJBV6aTZnrzWVjBSWzJqdjNVdgRj8TZ86f7V7ZqkW/LYFH74T2K4sI4xnfMAE0eHS+2KINbL2XaSbN0joWSlrUiY8lMMhQ+ao0dAr0jDuGrNsFYza1UqkbFVWPkTtSp0iHF6n/Z8xJCSoHmwE8AQj9eiWc3C3WNZopeNSnV79UJJOx7oQ9fgU/DGWRpoHVifVdTTySnPwZBqKRUG/Y05E/nedlrc7NlfJWp6zBm6vTM03fCTuHBvEGoPMOCO1F0tUuGo61TSPTfWDOgNOviw62iO9l2QtBG605QKtuI0gpzssCKOVpdxWEEi+lFyngWySeMWCfxr/ZcIUTs2o3MvWRdXJ3kPMLg1ZZKpGBNi5tmVZNLdmziKD8uYNutCm1bly1Sj26Fipsd+oZyjGxs5zngU3lydiJnPOE0zXNW3B9gWMOSN0cDiC2JzC4YC+AG2iJi6t6umXelh/uS3UUSWsZNDTgjx6IQgLN+ADMD1UIdDoQDJp/zdmP+uHUiwBPDpI7Nf1sFA9dEAvNr5+ImwP8+v/7ru3N7Nkr9uY91Jcosep/cwNoxZP5HeOU5L1hL3SXrUCyrRPrcsh7v4FV8c2JYM313GeZRm/oBS4JwVhB8R1r9HZLQP5hehwV1qHLwBev+Xus+50atE/1wC9I49TAFVNEkvrQpgOniZ4EnyBB85cOFmFZ2CEtDJCNJoNOOyDXVSSmlm28cRol6MsYL3I2Om1pYGcsZuSzA81hLuG2AZlBqTYlplBIMZOvEqA3BaU0ONP2n6octfPrqmYUFzIZthLvZRQekfkGzDKGsHOs4+84ZgG1HNOXB/FRxL4E2Nx7Q0gNkLrw3JAPzq5qXGLVq2aPmkvUJ2EcjpxGoUWND+Ikg6ZuLEnH4mb9SLVTJ66N8o+/urw+ezB2VVV+DW4GeKoQTdEOJ+KUVLQEbAiGxVhGfFG7On6lnA3XaFWPzTEEeXirm75nBQn6eb0xQEjrRyg7xNCiA330nFEesuj9BCDDCaNUky1Bzf9IRqSBIf4J0wcXTLJVVLycWH0jjfYfLgbRl8cu7AzcV6JVcB5CWCd96Spr0/SweCP/OjfJZKfbHhj7ZoR8CW5AtyNPpGdTIhq/EJFNVctQGriR+YwDA4Y4joPKyd+B8E9uXlWb+9fQ90bFxeaItl16NHDP5x4sk6JY+PoKFr1sLDVdWoslzK6Jd6AxXrT0hj1lyJp9loy/RYt20iQP2OltqbS7Q7mq1gMYwAzVl8ImJ+723Irp5kf1rg4o3zsqEmUJEH0Zv4zGH8brezL9BaPgylelpkAJnBWlI5Fr2fM7/DtqIodmmlspTn3ghfRRaoXnWgUBGsiL2QIR9VrnNHNwRNVdrr921de7PCkMwaEsat3b0v1oqZR+SSO6Y+k5E1b2k/aLUR7KuM4aEs4bkr6V3EU9ZgaoL/knJCH7pu066NrlDzzkGnMNAuTiHu7oAiZk4sq0l05LdLGuIpI1T7jRgg5W0hrCE7OSa7UsrPFU3Kl7zudKnqrf1FoORzjRuzvcHs/svEl4iBS+r18ldIhBmXk3YcgJI7ElK8lZXd7/UKosBe5xCnolOwESUdvTrIhs0RNDYYKk/kFmBvQ5yV+6uLSXm9RWCxtlk0/k8hQdnNtKkRCQ/rT5pwkJlzDu7tTMl5DbL2C4naxampyIUPQ1wZQLIvTQwQO3LY+IwoOZBjEEEplv8xlYFlEiJyMzTbw0ir8icUNQepbMGjp8SPaEjtfg/EYf0KZ5BoFRpRUTKLmTxjLAbJlAkgw2THnHItR7zGZtVVBXiPFZDIx4ViuDQ6Be99qUl3xjCRtKYzemXT7OAMdMr4Qt7PunHchwVLvuOlOEMjK3DjT3QxZERa23pGahw7Eg+hd7SzWB2daCBFIdcB9AzRwlG4Dz4hpMDo/p9iPsPs5DtRVeiiRhJCziROFHuYgLiSfAqbioTiBCBnKqhhresh0dIVMrIDR8lo4ojGYsmGSA0x1hGC9brCf9jTA5EYHe6Tfu77CJ1+g30eTis5+im6JfdN8JE+kfI6LJsmLjv8ixTvvX1LIzahDdP6q18imXLYFc/YURjQzkvs6WTKlRbamgFXGCETfRcyj2ZyLE70HPoGLuQeuqheHPbvrMlD0PTGS/8Dt5JbdHcNGgVopVOdD2vuGg8KQjUapPwpgSatvg/gmI+tw3eNv/RWWOQyMaTCmG/LHhUYS+eoYfrGA77xxeZluYBssBaAwU/gxkXhbPm/xjo3b2DYtE9PKyY36V+5rlQC+iXT1xlr0No0w3xCXBsfljBMAinmw/0rTPDzV7uXExOVTRMS3PxTr1tru9Dw5XFHyile+c5PFTThNfpuznSzToDczwZKsCagRNJpO2+J8zgnCesRN+XBVvGAAjef5jftUU/w6l/UIxLohF8+RbufJBJNKjiHS5EhIe/lzQLLrfVub9gbgPzHNnE7NiRgesGywJBjeTrP1esbT8BSM5Y8YRHGmLivlEiAn7TUC58HlDflQEPXo1hg53i1JPB26J3m2GDzRBtdsFbIGGPoKWmxDiqDd4ahnNJfFEO2k2kU0cAyB0YNOfjbz8rjnuFH07zJHKwqf8yIU9MIdf/D6o81fQ2dNqOWAMZzkX+ncgomEesHx4eKDeC4Qg/exdpUsUYrbhYhhYqtslKP9PEWxWKx7NOi9a7QUmM6GbW9EWRKGGfIMXt4mFtjs+waCVQcGRXrm52j38aQ3OdCPSp8BdUi6gyF4jNHDXFQ6dsiEJtLZNX/yj7TBk+CYUoIQ+1Tn8EgxE5sQjJnew6+IbLJIIFQCXvHAPBJDyFMqja9oY+mdRG1rnpUy1QIF38a2T0REMat48N7ErE+hMs+j46xI/9F+IjvGDz4W34adFajoZywOpueeVKAAW+Z4qh5aav/h/aoFDC9mXSUSw+bVVt2/QdWQAFiSm4h/gynj68fj2/JSofFQBu8aFnpD1fyUNcf6BeAUP79SEd7Vq/S+I8vH8OjqqukGsIr16I8Y8lUi6I06/5LvcBWMQTN87ScA8r2Rm2EBhaP+LXP28fpiCpgRApAjJHFWXxZ2aSFjd0OT+KtAIOF5O62zM9rxDXH7sXGicBUrjuutgRDyEEZIoXl69mizc0SppwqC0PTnI5PoMmRIm6LH9rNxK420RT37iMIEOVt696gG3UHxl9RmvgwwJmD723Q+eqgDksJvsg+o1O1W2yG3M4pfsFtwqIBjStetu7TCnHM2+jtXO4VmjnYYYCXRbaTDZrb9HB02Pp5n27cgFHhI9RMQth8NEliBL8ijG6wLW3JSvbvlRRBP/pzMigipZSlbxHNU4Fd4Xtw9z00zcgdnBt6gOKUaSFHhhiZRxEVXNyxughIc861NG8+p4bS5FFe4/5hOnaUiF9OfeI0qf+uGQHTGzfvuhNg38MFNjUk4WSVk4EoB4kOXRILmSu+lnrwAJA+/471krDudur4uoJh0Kj6y64jiA/vRqaGBWyqJlky9CMSYXpdI0p/jG02kkHwYNnlNMIAEYNjE9Ww8nsJUNCjX+11LSLlLIPUES7erbXW7SN1qGOBapUO7EEUnIlcz4T5pNwQaBTIkrlXulmtB9n8hPigNpOsfaYAaOBnri9sa+V8Mq3Q9JiywYDOV0tQeYJAevgh2QRp2dMN/h22b0t+7NEqoXSLyQ0/dc++woYr0/9ROkSgPiJoY/b+Ojo/h9Ie4AKB/EjovoO5y/Z66lVww53xuwC+pmF2Tdy7NccHiCaZr7SwQLQkHmtTqgCHzS3btgbtkAN/FLNfgZLNlAWH6SLM1iqOfFf34hQ7Z6p8a4xxcWMZ8rsWSFFDTqziHbE8+rQrzkW1qJJOWasOwA6JGLmhgXn7fO3UrgwKBKGZm5ETCUjwc4ltfu13SfSS1mX/4JrPeh9P3hD3R9Xu1weRopWDG1PP4nF8KBWRmjf6dC0/Dp61mxk3PBD5wWL06sudQhPiHsT48HuYgMf9Z3bWf9y/v+4lSHpuXSDZ8qDymSQG1EOcabCdiOXN2vpuD8eKDyUDna5cBjQP7H4OKq6x+fg6QN/YDqbgV4AX+OgkadScPyCwo2JwHq4joVWPqpVueL9SAeAocwwc5wA60xxokkthvcMo0GSb/AwSkkJ2VGbFGNxnbMIMOCg4lKacis2ZqB0mHaYotdoPnzz0yv9tdzGzDWtm1IgajMaF1GitQR0QKAgR3ufrr34KSKwZ6StI/CIyz30vj1SUDWf+mtHwQ1jCXDD1b/4QU6Cw0B8Kj95m9/M9m2CLqJnsxdjWEDb7OPE9gskRok0n3JLuTRlODRqopaPuC3gO1VT44jb3WyGag7y4jZvay/6gEz9Qm5EgP3on4JhnxTt0LroXbnUIqCnxYS+YiwjNX3h21YsMqUGEVjo8qxgcRrpjyxQF16ar6JQ82ALpeTh3wdB75PPVibigcIWWZaGDHrtZdA0WDNoLsFPtrUD6fgaVNaSVLWUfK2ysE79mRlng1KeSPz13yEBPVEimO59CQsw1Ld6h58kBKAnletvX1/MTy6Db1xxEjXB6SXj8tgEhZIMQ20M7OtO6QJ/KJOJvjkP50ZTK+dFFiKBiQgwNK7f9BVya512iokD9H/Da9Pv8r6FvsYPAEAPKKLVu8O5JAyVaqY7H2DeFQPihRrJbQ84K2Svb4RrNSoA/YCGHb0Lk7gIH1kuIczNdHhmNsgHzs8gp5LOVIjMKkBDLQaSwRjuQlTmT6ifhFBSN48zM3syTCKK16OC6LL9KKQL7MRpWbR1eir57KTd/KR9zqB4mXY8+xpuPUYvT4KieNUQnzyl+tiG5czktUrAw0ITEKwESQJFo5KLn5C6ERcGUX3JgHgn7E2R8Uy7yJq9tr3wthbi8xzVALs+twQR+KaJExVa7AZmn7ATTmVLDZHhZOgxoRhoz09LikBfeDSpe4oaqCblikaF609phCq2JVuZA1OEXd1bQYpDzAjnmFAAE+7t626gCrjhbvoXu76kwjeXF3RQ8ySo05eB4fpfSWuwIv/sitiRmM+l9Q+0c2PeGw9LjzkvN2LEPabltrJghHsYizBlMKWEqoNbThW16rhVGGAYU7iOO6LAQr9Z1ssPSlRC3J6AIvA4JcG5MzPI5OKxcDUEVIOH298nX9GA3rB2ipFSpNUn68Izq6r2iK4kBHAsXd0frWR5aKHZ8B/xBea4jmBKfBPXQVd1DelOUKlGXKwoZmlmsFyTKEdftwWIQGYRwo19QLhr1ltOGx0Oj7rT/CM+hYhti9dOOAQfnj2p6lkhNpZTkes/rWsbrcA5AWvBMWjJaQ1dhcIwxnHtPpaTP5hNsWN9zjUXtqj5/nxaZkjwwe4BLAEAjEdvlNAYx8TtJWgzYXd9vD+7H8jZA4pW1PnpmAPjlb5CNtJn6ViqCDiu3ZktlwQo32MK67Ku8TqlKAPDoNSwwWqM3KlosOQysmm4eJqKAsDFsW2XTERpEg4Ad5zLZpkQ5Fm90y+8jgDNt8yMZf92N5nfKajsnx8ZZyib+BL12dda+HCjnL4Xajoepd/CRdLVVsKCPZb6eVqaAU0b7dTjl/E5jp4fEX6zboG7EBCxhFTJQMUNY/GC8VQ/g0OsRVK0KUwr9jgBSAPCHQmmpLn6nLJ8V9yj6avbNFd6ictA4gzDyPft1Cc36hOF+aPZxy3GpxABhIde66I4cVnxemERS6b5LUwzh6+jBHaEEIJNZo6TNE+UkrEm5igdbO2auL0qJoMlgj2/r0nzgR3WAhecMJSZnkLWGngWRCfK40lVCXu47Z8ZO0Vq3ryANyvowJIEFbH3EY/A/TzVxcEmtDRjQzkgyY+cu3m5ZReTvvFW7TKQLEHqOjQTE9pi5WwHYpVV91oa06yIXz22XP6qt3TDGSb/MSUWceHqAFYn8D9i5rGZF0AgX/2rwV62L5nAqmlXIHHh+zFQboO/f4Jtx2J8CqO/LG6tzYJMJHaltd2Kc2BPSsmX31V6m2SyIFEXeTJsM2B2QQQugQBWKROyMxtfdCMVQPwCu5DhXaMdVhhWLjQe7ronr50/hCEzS4wVNk9Q4FFXSTyNekheqBF/jr6LP6tYJUt7k0k2ReJTX+SzyFvM9La5qJmkfYLa3//vv0r2dSO8IWn++k51q4i1qw3ZjW+2b5LvaSHhdltQKP/Kj7Q+hZDFVMtG/668t7yMlMrepizoDw271ui61nahVo6lpFa5htHu0AIOPn8/awHdB1ywf114iXMfCOPa+ShXOiNmf0DIwYDHtp7W4jhMTe+9jnbpMnxGStligt8uhBoxEgboda9d0x149RIry5DE8PFf+a3lhHmoWDXW9jx3kHWXtayov9qIJBXE1PYBhdXHSRkCJoLNH/2v1V3CoYOI2PcNWeAdlT/7RP7TccsMog8N6xEyotMTQEIr9Nt41Y86efMGsZNjKtwnD8qTD3G+lmvQdGrkmlj9LVz2RqRJCD2rKUD/TnX1Uk5z3KvQN+PSPkqTEp77ogTLbHxSew6B6qIECZUYtn3JVTba8h0htGQY9nSQ4F/ZZ1mavXPy0JtlkJu5EixnRPAUKX0E0Bma/9OGxCUe18Ovzr5cRlfY2tJ0uxFd6bfgKtDKnI5m6oDP44l2g3cTfQ6ZActAGbN0O9L5Pc9W1XezOHcIRwm+vFBL4jfyqzozdSk3gfMH0VUAMJI+XTrMKWJyYHan8giEzr16qG3c1duDdatqLocOjaNaSwgLRKYFf1+suaM1mW3v/EWZbfsAROgvWGZp9u9bqw4Rliat70Z4OAHZLxz7MN16dM6dnK3M2i7pgp4YpBiK2PAkI/rkrxP1Wkqo1DCFtl0Quw4haJ4WiQ8bPzfZEU993x2WCJ1gNSD50gGO1uf0c4SQVYPgyff3wfvGd1yi7VzlEJNJa46lNVu8LN/pP6kEWkhjh3p5vMMnU0ypIjb7a8TbNdtRi8GUj3rwl3f4RcjXcj67vh/Vrlf8pSud8IMBW3jh9Aumd4iwu6sq8GlVfALKm8fKfmbhBOegwLLvzYuC7vr9i006r25BPNKfm50qe8bTgvI7eZ1w5/viOCmZVHscJbLQ3nCHz62LgLyISwMzlsZRENUKln84zJJtC7s3s2ZQ5gd4fzMxG/180bx9/gknLtU4iqaUC97ZnzY9I3mIOZnmRMLWDIlvu1Ftma2hTQMNeuEbXIblllOrlgxajOaMQLvyi6oFvkfMcY7Zde8vcQZrFEd54M5ON7tRdqiOzMl64g7lLVRPMMibTEBQTSU4d4pFe5RNsADxvdKZqesFJvc0b1IVH7MbQyJTAcVEeXEVZu+/dq9CCZOsmldLPUJu0df/m6QBn5veckp77GpRr4ifxIOXBLBKrfCC1wCkX4QepTgHasUrmREtpAFuahetardBBbKT12z2QdDkK4mP4YVlQPzaTJb6c4cMp97uBkALFj8BN4SoQy/hT7y9sdatf5odLicP+8qmDgPyD9zleKlSa6ujPuEeRqx8U1J9sFsVhkhqKKHfcHdF9qFTQwSCRPZMU3ntOIGPc32k3c0FF3jbZctZeutZecbKRhmOI675RQblvtlBpN1x1fSnTtAnDZj4sF0OgINeaadfVuEVQb8cixbJCS8C8JhMpfOl9Ugkf3Ytx47P/hD4EKU4KIo74uW1MwHzagdJgFXXoRlbZw+onpjlcH+U+Jyuw/ojhakdJ0cCNyctObnerqhfnBChOD689pmP87GMUOrXMF6IbFXl+eYF2UMS3H6ROifAthuqlmd7SPy736bzyIXicfx2cBn4kj/B5qk3scPt6tOau3sYlduhYtYsTA1VpC632zu8QkFR25dtluN14T2XjlxKVRX749mjA+n8bTspB2ugjntJQUk8kiMG5fqCqiM/n5zYBbeBmV/wbf7ddW7AaZZqAiS/ig0q42n2GbwO8ajtXIMR+zLLy28qJRiAxRM6dFbQ+PgY3kMnbGo+hpqWItCjPs2mLVW1b8eBQ2WCuyIMnSgSCHLMXCRYzPzn8OvInLOxORW2Lxu3OfjZbnI7zwWtxZ8zDg/9Xl9xj6ZYlRNbNv6sKjxYazU1Brof5nGf7SFtvvC5Mbq1KRkk6awybfJIqaAjj2P18w2tgeiBo+niGz3fVZia9/reW2pZQnGKk1Bm4Tde012StCoPxDVZUU12EQGYP6XPSWk4EDHMFZccv1Pj5mXRibvIQW8dkkgm4s1d6CahawPx8foktxf8kCyczYJ7z66czfo27XRcS5aL9PXQwA5/d5pQZQ/rUfdH1OdiFBQjYtY0KnrYp/5USNe+1hoVkCN+AucZk830pNlDt2HQcMWwGOTeOD8jGkUxbvUuyzZWqH5RW9pt/xK1SsZrue7JMxtq/PJ+UV+CPQaw1dS81LceDjWIvcv3yPZiWyegx5KomS6OW4yWjGtvs0o+bIwIH6YnrWTa2KSC9fyuB0s+RtPZ3/ppqctUinUQXTCaY3bUj0uZgvgUaZK3NeTNJAt7IaBKPQg2Y2mLf5lCdjHAx4TP28ldBwygiDtyuGv1xEVQwR9qAxRjmE1EqlccdHhArRc2xXucYHa2FHbvAHW1van01qW1cJTY9eo8pTrCdK1TALidSZm6/zJIuwAqBu9K76Yr1RPFNfTRVMgb6dclLTdmgWQVzAIOLDxDNLZXRNw8e0AVojFKTr9fjTtO1kIKm1ixyQ1lyRV6J4EtMrOgVgWy9V0jtClHfkSb3VjmBVATproVWcT6JttPwtOxhebxu5SfUtkk1fXjHjY2WTqzStzTFH2IpM7h5qi6+1KDeXfcyqmUJhFeyt7WohC0XTiJMTmeIPHv3j51a5y14+d/O0cvQWJMcxS2YhZcERfz98xFu0s5Zuo+2xDiD8cFohFx14wVwh6Se5scMfJ+zZ/4RAToVBdYmvmj62cC6oYhVAeEXBlSvO07a+JUei+IHdsRUHvb46JmW8a/5TLDSdzEZXkn5b1Fa3GegPO/zEy+fUrFjudumUVISOZt2mgZAKa2UtykPueb3lQZfOgspwiYMU2o0mY+z/CZH8xHsgDfrUM5GiI5pjjLTO5zJBH6lN8Kc/M1X0yiAMZWMmrp9EbBWMKCKLIPcPe05blL8A+JmxvaaH8r/WSQMq0ObWH730NVb9rTI8w5foECaZQQHVW3QZoECSNpTe95wpilQ1ImfzYOdZ72b4YzYZz1IQwJlWc8gn7NlPZVLxMOj4GoEudtW2yZyHxHzK5g+jmDWukf98yO9x4LHfafc7MgGHVZtgwyfhjof5U/iBaayErjFHrC83+joSv9/T7+vATJz4IoC/GgdeupwB7ABjuaCf6j3Stc8TkPbu+MXlij2FYENbB3bBnAK8bemk85btcy6C+T+1YjVvXvsjF2FNcxFJHHcyg2zOjmc0cKEsBMBEZgUhyEpT6IQUad5h9KM0p99WhDmxHHGXsFRQ6vxIpKcsTnvGn17WHrRxTM+hmVqIV+AXEwPk52+CEUXYpHoDGoypYMGfyUMt4m+jzJpt1krIAeKjFge3wPY+PYcz7bCQ3CwAk3nHzW6HQ/un8SPaJMp3keIeH17JeuqCx8i+Nk7ebgO1ioYf/xTLb6bO7QJ/tK47dvWZGojJGklHSlOtLfY4zUEtxQkRbmaO2TJ194qT1DdxEdLZCiP0YFMzOrGiDTGfouTb3YdnvGyECrUf/tg5YFqvn2hVU/1SOQT2cOCXid5QgHIiVVXEOH5g4S+tWb0LyuEL8j4OGcFG/F17STi0jvHVtAUK3tGeLTbBChrmmYdIAN7gF1aFgfGNSPBDWcgsWWYw7VsF8ws+txiYU/qyDjPVe2Srr62f43tgXk6QqicoYxAq9u35qx9f+l3RAg2pz+JIPW//PYUKXjKbmfvs6Zukay7CEYnvlrG3/Gkn9MBv2NR7E5zqAX0zLPQgsAPOH3rJ+8L8ia5nADvXyosRusP0lKZmVuOsdU7LwtMTZaYnxqK836HH2Tg8SkEEmt0Qhl6kT4K7JgmtbIotlb5/P/tKD7of5lKUwWyYH5QyDdIRqVkbFCuufNC3LwhHjJzYV3SZ5TK69eOeyUYN7+YkfqKUb5dLq7XnJe8ZE9c06hfX+gPMLCnabm3lzTQUx+mLp0qwpXc00KVZnLmzKAYVI/4IauFlZKpAC9yulptwhnzajLePed2UC5kTN3W4EXmmHygFMB0S7+KthILsd67RLzepDc7I3fFl/dCfuc0scQmaELyTYULNR1+MH74Q9xyqWXC1UGAmDENN++RmaZpY4leTBjU/kk+9GHA4mLjsEeLKQQdVTa5oSLVJxE5q21/O1/rCeaUKF08Sgzx3T2TQhyF3Er8WF3Q2Ti/oqiRNXZeLcJ00XcVSe3UMj3c72K6QMzSppMlxIlr3OzzWLil0zDREi/qx6200A7yhbyMJnVmJMOhkyTyKkeqaS70bnwNLIXuf567VW8NvUERDrTSH6r+lAhP+idYTpmx9hikZSPgCl41G1AUF97qsZJ7DBFlfjn3jjWGkCSL5RQSFTyfGb5NsJ7LsiP4VHIZF/Keau3VVLrtDROrt2Dhd7+bUoB2pSL2sfUbnr5L4c1ocleRowTn7B2Hd/d5DItA7BsL9U56hgV8fwi1u/8BR/VBbOoWyBfpfYCn4IIjRJWZOTs3LOvxdT5DYFrbq+ke8dyW8ho+WT1TbWa5ezKmlPxKogC8FLPqnB8PoYnQgBH993FPFfOctg5lrqEvoTRz2ZA42MYhGUUE54bSD93RPMypPDQUPhh38okMPHdcCskdPyRFnHAmjxy6GzyCRBOOGVwD5oaypiiRj07swqDxGMek//Y3Lz3gjuxkMUKgJcj2Bh6VNkxUszcyqlUrCfihW3GRKsty7eMyrKT3w8YjpA3nw/Yq2uzBZc1ELuzzDF5cbaRcXI/fhizdFrBCbmWmLoAq5xh4ma4VVBkTCzQiWvKXZ/cuItJLRWGLon5NXCBut0EccCcjIgGWIVyxheJY50hpTCFSwDO+PRxmcxx4jzAQ/7XdNS0iMnyLgBCB7AQKbACsXmeonZGqTjVO5U0BBRMTmKKtcE87jWYTpmcdpeaVJmIuuGmK5pyGjEyfGkNTAe59+I3Dn75p2ksBIpHNsifRekUPcmf8l9ftdTNPJc06Sx8lzQtcSVmlgV8hd/Um13hvBM+SZ+b1/Z4Kc9wmSOiOLnhMxxarpi+tYOvfz9MhSZaIqx5Q32GkvaRS74HkLTc+ohFRLT4f7PYpSU2WlQEqBuSu+PbnkJXo9ZC3Vt+KxtQxDKtcld0JyLtUBhet/+DiwZLLEufWoB1GTy22beWyu7exP/HffiyTEBdatok+0V8RL9SS0s6Vf1474gldfbpVYJ85VXCdQzSUbnwkWjWRKERyEi1EA2WAOzxBwQrjm0xVauSWsT4YNpHpeUBJ8c8QSsgd7FWFVbWVgySG5V/GQimZ9EViVZ2sywVtTvVlQmfjJhRFLFbo+9NtQzhlsQ+PJ7CbN+Q/2SZzu8DpnxM1LzlKUI2DR0FkxV+ruDcJVrKdwxLZ3JMuZWEtICh1pFkT1NCyaUUceOq7Bgbxq+cXNsSlVAugdqLbua8jzs/7kVJmlq1K1skZB3C9eYEvb3cHLlX9siCuVPElNjpfVSuQbLaVx9nyIzwOePg6r1L8uKGNy+Fp/TT1huQFzlQziJcldtvt8ooagrNeZsyDShCapu21ubWDAJilxt5Xrnfnhfey4QoAQ7MaUAVtLOX0pmOA+3GZK+DWMQZEc/BMM+GMHyr3W9251ppIsBXwxrXglq+OjgRZDFyHKf+/CMVtejHXzV8yEUvQNYOihjBfOvBS7UcT7ReJFAlO0igG7tXrk7PQJJOErYoNLlrNTKksGa4F/1kam9+MecQ9/RJFMgBydkUK4fcGv70JGYmiEsENzME7xyKqB6aDvsMQw3JwQyYgJPf2bIQQNlSqFppn+6QIQjJcBVMvzNUEiwgqHaB8OmFSy3ruFyMiQNhpHDFmetLILQmbTKInESg3+z2bPGDTOLPpwXxIiqjARdemVdY271IjWQYynVOyMpncUnS90Y+xsqbPswo+cyD8VH7yN6HuA+KzdQIP4XsgXzL1qPhpmTZCkGbJMCvXexzCtHamZr1fUAlFWCe0qpVT/8paCYkIKJ+G5tQsG3J7mUIfPQKit72u64zDLjNeCyZaX2WeI4e6IVGF090POxfkKzt8rV9HylXGfjufLC61uyxXmMinHnurux160zcoDoc/l64CcLCm66UHuLyrYRM3pqALwWobD5XpHgCerdC5tN8m9+WI9tfFGg/OjjidjmBKeXLyClWFR69b8DXmXqKKGyjcDx/rGaJcNlgYycSZm1cBAvhfT5+qt6wns5ypfwwqLrCYzoYhS6qNVBoYquaQ9nPRoKtlHJuKr87hZOxxNo9mQqtRi4yFvhcB+/+EZyL8SWgzB7OaXbT7ArFG8XrM3UYgtx1TkcyBbCiaGcbWzuZe6YjXVCYWuY4ySqzFsElCm4CDilnFFlzl4dpNM7OR1xi1OnUDl/3YH3DalXHj6NgJXwbF4a7PmNNM7NqawPxOFDCx/G+8u8Kkq+Ys/MSVKIcaB8+meYADbrnXM0N42K8/stYzqjwMpkW+7DM/aow7yfRQc+j7FxVo9WTr10COFwlhYA0euScFchFkOvx67aoziQMRwHBkqVkob37p/kbiHe3bXXuV9BWdjJSvmL0RuoIwHgdIFvQnGseC2hwgMuvGrW75S5pHkIa4Fb6QPihwUXiaYAOaooix5KtymjvXuW+o1nGhbOagl4UoY8Z/BqhklTgQ8rCt3GT37TcR/1JL59q9oWsTrlBMmiMR3Jt4mJQLJQ/Y2kMRALrfJyJ+qT1BTveFy3YppTRgAI9xGUaZxlx2CEo0JdixQkWCehGRvjWFDCR7VzpDczeniR7Xv3590p7RFOWcKKU2ngrEkLej4u7b6YOgJJh7ge//VpR0KUCSG407f7ajXEVFGndjNaFWjMcIb3GNyOj4VOyfinGUtsNDi027I3/jIIWFmImsxfRSic6m5+w6mxzdpFt5IzuNl8yP5d/IL/yaH9+fUY9HScYHHFPRlYEw7hKDblocqViNl15tZfCwbHVioPbsS5r9HDq0+wA5VYO22OMz1S25o6shP2b0jNYwUbVGGjBuWkOav0ij0dckafINFjGVPpplkDtHHsx+nSo11RURfHsqFqzKeTi/pMBHBv0+7sNSWW/zCF7yomYsdri+5fDdmjW9MgkhxVVDCo3X7+aV1wMlPkBPbHd6XCgheE6buBNx3/vBZWT0n3azFUDHCG/I2gWzivcdPsGOREYHttPTC7eBLc+WEO+BNLJkln3oIXPFS9IYbSizfAo0k0+w8i0OXrY4/DOa5uVMeK8N621/efgSoTYe3GVNsXklAi6Dsfc4sYZq993d/7ZC1k7tHqDEzu2gNfzJdzRntFdhMQDhuLU9NzdL5+4tIAtHrEzMsSIQJOytjMpgbHNM5UEhj/dZ1eBbDizTrAUlUEpIchW8V89V6LYeLwCz7+NKBhbIRj1xZFEpsZCYKdNy3Q10z3KCHazl0xgVWs/VfzY/QsUIHcyZvq6ERa01955lEOjLn44uMRDEkn1WcCadkb6fiFKPF90O7yrmzl/GbVCMxP5c449IldmwPhHeZKSiaPNdN+QWJpPBFMVCW1GfMKtBJXbY2aoZUyv7D7ACSmVo4iWnS5tsA+4KdQBWLHH46ihOM4hvuuNcvz071kW57jVpL7CZcNoqSP8Iti+VRs+w1HNLQez+N8YRIDxKENyHe8166nDDUzX6S6Aj3+BzlB3sUolKqfo67PhOm0w3a5cuC+RRnTthNAPOa5Lc4XKMzKKi3ABWPx0pwkf60Mvx+NhIYpitoL1Z/WUX/6sIIqokWIEtsr5O1lx90e1vAVVBZrNxo+DozMI1zZHAwgjT7bZ+PnSl8e56Iecpyo5KKrruWUED9VztyHvdidHFzq+BPr0RDtf9RSya2iIUlGsnx6C0MNetE3o6Ec9GoGWvR8/5XtnzhMZrRgdxCRZBKN6kfRBN/5/aP3w3N0VH0CGZM3MAQcSMbJtwxVxLEo29hW15/G5Z4nBnSuYw7zEzIYito3wI96ljuwH8fKZumHfqiGnJDqTomUU/hB/IdRVRJB7h+Tkulzenv2l0H7k+VKGI9gRy3CQqSCkid41kTvIFwQEhU+qLHgpFuhiKCa842cwCkMbOEzZxkFr1iVUsEyorGVN/yiLll9kdOMlvyiQ3nyWwj9Dx/Kz3CgnB6ooGFh+jL1bCfzxC9qssACWjHuSS8w46SArJn5DgagxYNc4hhJDXLIoG2QtvRmpU49MbjfqZJ1E541D1NGmt2taRzB+RH1+uc8eo4AhDarbN9zUlZlH+xyaFiLQDkzPeBuR/+dNDJD7Vvwq28Zn4QnQZ/+N+0x4jKhsmT6zDaJPgNhkY4GEI8gLJpTI6nGdJsXcB+1bQa3jz5+clPeLN/+7z1lViva2/nRSWeVdsZVzHm6xOqMhIa508ycZCvMZLop0OLU7q/jyZfnNc3CtkPspt4nEcRIyYUUITZMfyIdCLfd/QQCAeUWv4N+GSV/+mfFOMsi4yB4l6f2Q5BvbVSGna9EZVrAAeI9cdo4EkmN4/jkaYym3RkAe7qP4T2zMLoheRZc4DVBeXxva3bjfYXJ7jOO8cKZAlYyBorwW5NL+C6K7PRwoEMIoLvlAQ2jbGyVDNAN/yzKz1R4UZFv9amYxHKWqsUIViDfM6Dl9xP0RlzyWkwTP0aRlTyqbaH+AOfIFAg9gLhcDTyu8k8nhMiLo1HugcgargdziXRnG9CWOUB67U8WaSmW67wvd7RVvbMB70OUrKI/yCANwFqzG9fG9MUijA2CmCRq+tTFDBnXWuJOeP/WT43p17/h7bQ4BF/4yLLRM6JNCeKe1E8tfEj65dSJiJe3gXQ9HqywKSEPfgjSPFxvnfiz1/4QD9a7m92Qm9ofXsEg0mRKQ1TBVpcpE7z3CnnqfWtEqovrzGZ9AwZe3A4Yg2IBti28f+sctSQ3R4AitKzURa/nXY4v24FnGtudfODHQz+cQmbi8rlec0RhRks1vegOL/dVTm2hiBCY2JlkW/ytSCMTtpZZZi/6qT1coD8wUVMGGxrXI7Ajde0xWHozii17xnKGVNYgxkhNDt9mm5TsjVGwmrAOIPwbaRhyLYmAorRi6wpcr/kO0uPnlklqrKRA0WqLNbFqiiClykGK09/KuN0pheRNh6D1EdlRBtFjc1gAkcBBdLP7QaQENB1bsXAbTswn7qnfdF18Z7C4gPndQAzhacKbsrHjJE52SUhM6Z9HhaBCE/Y2g7nroWkI3fdAkpctfKbvqLJ65b6LflkK/QZ0MEHUyWBw/Dka0wFbVvFTRBNV+2804Zoe36284Qevlt2rz/tihSj8/35n0QlQh5I06KalBmgb4RgMHrzIxV7UC6w0Q9fWINmPkNW8dXTz6Ab3ssqtvVOAurduwLzUWlYot4AL7+xOdyd0Q2t44bdW/2qE2n24iU9c56HASWJbNAVww26T94fxJwfz2meQuDTWxqNDWD0g1DMG/Yk/Il0TMZ2qGLhBuLnmwRZzWfWS9KaIBgIGXDGI7DdZ0OEFnGm72yjxuupEyz53uBDwb1rjgzzTvzLkC9OvfjEPon3gqvYfz3mWtSrbu2K92eoZiEQdgTwW7lf9nTFTUJbT59NwOCFV7FUFsDrp8qOgzV6iZamtFe7905gIxV84d/corM0ryhlZQMg/y8hah0DMQAY8cBBXGVi5OhukQVsimLsT9arZtVNu5zfGGijrA9qxOUfCUMQUBPC0hWlpqcUHqa4Vu//QcReq/mz+HeF2cm9D8XPyiie3z74th23S8jrCPu+X18cE4ayAi4dFOF13EyVF06eCmyBC08AVyYv8lbcFE19j6BF/mz5kehTHzlzm9c2aN4MlR3BrwVzN+WMwiyrRdegYzkwliKtjIiwRk1vVHh+nNFgpv/avRPuwhfXtqAWQh+ybpbFjZhmFVkYUKfF5+Wu8RLk5CQrPa26XBoN5edFYJwRqVZ3vJ6ppi3PKw3fhr3XhNK1A8VcUNKLzOsiIwUyG9BGSSpk3IzETTH6gVQIfrgonA1SA0pvF4GaTJuE+EQXIFh482jt/KeE2waOKoeQCJ1MPKPS1055DNBGhg5clTBUsMu7eJLjDIeu3ZVuJYVYiAuh0FOMs25cr6lNJmjiBKMz+4IcsmQ5cFBxqIP+KA4w+Qb+rJJXOfpVXio3u3jzZrJ+eX40y5bSbw4/fEuqOvHhT94pX/ciYbTrFo3a5CjvgdP6pI7rTLQzJsFUHg11C/ra9LZygVm5qK0pbI2j/qHG55YhaW+AV8jT3HgZHMmidan7QAhJei2YQ0BEMSNd2OUqvekc/tFkic7ny9qrGE5e0WDrCZe155W1896ZsG+gnKfdrSCbvrspHv4k+Z8IitnMAPXEjZytgiq7C2w7Mka3d6hRbYPWxWbaDpY++fK9WTUUoCXNtkNPznSeFp1CcVVtKngCyTELREpMXgZRIz9BpcvvSSpH9aMFPVcoUYruHYOjtxoQBJGBlWcvq9fqLdOIhc1n+4vYqBLVtnbd0cLHsNOeHHPsHHCJWQpw2sgtclPkFj/eYIdZXi9BwgoGGQewFwpsHSMLbeEG4Q41AQPf3pC3JMxwyF/CloyHd8YETuigizFQwu1Wj1EkvNBMa/FoFOkSc5G33irsqBKc6hV61dPPrxhsU4t69hL/CQQCxnyFCs7U2FREVvKBBBXumdSH6CO83cTbqQVVdAci8mVjbpyQ066tXDU0ZjKeRG1YVPphczAt57pAN1E8dKEHNSbXja9GUOht4as3f7unz4qQYGqZp44Y5fn5ZnFRzZOJd1l+5HBfZEitaWu2aC67MU6TH8OcYATbvTWcTaKKbJLk9gVEQ21R3WN/37VYUub5Nbhg/15gkaYTOGqxHI5PxZLh8IX46vY7yBxzEy0C4ocqrizfLJzojbjhslcroyNxyjLOuXgZaOJlWoe+lL/Z9Xc28AiZFRvAUYBo1efehsFukZxJyYIpqwWZK9aBhs0gsjMcPkNx6Z6EhhTGZkmxVqnwPJwvgrUATqjcaQDLPBwBsEQiAtkJN2RoEKEZkOpaHDgWtKdJyH5AAKwxYwTOtcr4g9dQ5hjQfiUvPmxNQku8gf9nprSdg1K5kG+DxxbuyCAOHU92wHD2kr/m6J8klmYsw/CROKpX/zXRHZTFtzdRQPnXgY3WyUgm9oMa5EtKTfhygJamWjSIA7znmDj+JLFdunSKTgxqO9WIFu/1lx1jIY/SVNi8pX1VLlcrpsGc8+xWIr52aeWKxFlzDh31TKcDAOb9Z0uNBWs7HSdtvI31mYRA1VlBhylH3xoTXFnFFZanSiObUs3BAcyobh2nt5GySuyyu7zYr6yydWkOAHzWyBfCEeTC2RMDdls4xNDbu0txGaBJdHQlxd72T8VarwolORfEGWHOlCLsq+Nnw2k9M7i6iS3/0COarZDYdsQWkmG98BCyRT1JEZ3KxdUuDmqfTB7utEVd3XvDSrxfv5xTT0w9AwKjwbOfrG8AQKnXBb+gIDmm67IN3ExuxGD8t8J2FNV5/xkxGpirm5vuKk6gVENL95NgKjz05I1sb6yZ/yMNOqsdPrZef+ypsJnQq/+8VKGAzMkuP+MuanrEHHKEJKSHLvAYxjBnXavwt/WQdGkB1s9R4MCZ1JyhUAu3agC8Ic2YniIwjdJs/9o8EHT/i691QrdTWCXp99bgsGbzOWG+e0tlYAAcnRNBQrHkCrI5aRELpoHn7icz/Btyowvvv9kUSu0qd09TqVrzKzwxnYvrZFjZwHpKk25ST27olpYFzZkQiDEBjInLfd0Mq3xwZTRFgv15bj8qrt1RvEGuUMZfOgxaepjIhP535teBTZx9MXLvNC49APHmI37dWCRCpgPU09kOqoSJ9bPHKcR5psEUSJoDWb/5tIVkHcTbGqI6CgBwSnswokeDl1RUtazlT8NVrd+N43rybxjuwEAJPs5HLWn8pEkXECC+hkbYBPbxkDTasmJXV0tji2QP+k9VLkbEcu6BHBpwkwIP8zQWDwJCpy27i/KDLtoJpl1tZNhiRPtV9IlD25VP2BDv1mj3FAfNEQS+VuBO0b+8xIocV82bWoR6+Td07L5fecjOPkrRQd5Ne9sYoX0AxUK41/yB/eEx9fcrZEHIHMrPsKm1neIe3L96KnPEUSnVFV00WrUcXlTVZZZ+pTJNtgDqFAjJPREAKE3IqLAhvPC+lcP5vxvCjQZ0+sWhE5sjwQMLsTfTOpF2m+QSVJutIkIDgvS+xfX16IhOEOj/2MYsb6VV5yq3K03jIi0fIRJhweVySHK48gz8nzLyuZiirFBkT7YkHCdJxBU7t89zhBVRo8nTyaXIykuJiG/JYhcXgra8m7WJWk0g82G+laDWTv/8+11uEAgL5YIjjyLoQEB0Pdgw3HcMMPSTUlqrJGzGrKmDv8e10Olt1OZ1mJAzMqgbof+txnQsiVl2dnvDS5Cgupq4KGQ9Bno0MUfbXa6kytVYRtNds2ML/MtJHmWtPrxEEWHRS+2tn3TpWoBaZYW23Wt4nqKM3hG1jGHr95PIVMUwmyQJkkPeJkriFBI4rEx0d1QU+zsaz61CmwhBpXmKJ5Lu+V41WbdeSdrPw+13W1bDxb99258sAG1vjT7+5jnrEoGbj+/wo6DSoEZoTaThWQ8IfvbIVjE2YWvDROzVb/TbL0ogIsF5MZ84yXPGSphct5/IQ7A53D7VyJt8I94EVw3KiQr0smVZfnj4fZxGojyI1d82dG3HFC6Q6CCwe4tJeAeBRZoLU6VyQPEdAmSdcF9sO9PqhS63E8kWEyZbd+BDQPuKVIuHixeJB/2zfm3vDyASurjppizzyNRTMUP62Dxa4rAQnVheu9uu7m27yGyd3w88Gs2y38YVK/PylgIMrMwddo5zZrNEmEHVPMUnHZ9UPFYAa7P1kpzm6t6Z+ZRsXg6FtWhSC+yIHGZ27h2kJoevkicFEIyg7b+0pJxl4CsHpTdWchucNs9EjKWAaZPd6WrsLvgtScfvJ+SJeckPFHli56Bn+fMCdjPMn7YGMyJJSIJfhi/ZYZ6ym6Ojtai2fusV7qdS2bfpz1qMCei49N08+Xifb+3oxAjoYppJpNSzg6xCASP+vNeZTGRRpfmEcdgCf3tYtcX3wWBqgfPxrlncxfa8PUupCHPjcav+fFQsDFV9hTQP2KlKaWcb95T7ZujiwfvNg4meH5bL4Wq1nFLVTMYgGmG4EGsA6UD3N9ox6+TCCtw8G5WYnR9izs1yX2W0dHPWy1B61y5jaV/GlH+qHfA8chCF3tWAVIfU+zBDxfgoaVGWutzJxBnW3EVDTnETj+UykABUvbxiw4EwqUIKy8XjU02Djc1SIkeyCnZK42L7NOf1zJGKg6rA8NSi1u0VO+lwuysPMVU+XAu0+pAVNMA86f5kn16shCJ0Cemzb2CbmtKUqBeYGXHOOzleP2xAT/7s7AnzLt9kKaJYldxWEFGcJPBqDRzpkNX/5+t4dLhIayIwVzb4xrXMHOR2U5JYC99wNAngIlqNOB7K8RpnJpLvHkQ3I4daDLmCEgJAm3ORAV9o/fxLYuWb5kBAftA4kFvM06gX1UiEfWrv788hpTfIIh8Rr32qfw5DAHW5FQju318zwuoXonstQB0Nwnk2puFqWxFCsf6dVmg1rRXKbGLtiB4J38mEN8lc6qxonGhnYvpyrGPiCtWxtGfVTXhQgtwpAh2UCcE7HVyX5LEmFrY4G+uearhxcjDiBxOamAoVEWsLC3K5f4GR+0cD8OzaSNMzPKGysoA/LXX0fzoHIfbYPmanXUU/2OnChNUmvBaVNdyyRD5hK34RiLNNAjBABEFbSzmXXSN3zsFVwjPyHLbOP3XZGGLDXa2SaEYJhYSOCAFiJyV2JSLY2zyUtBzD+4whKLodpVTgd97Mp5v9A3hSaVT6+E7VGoTo4WBHKh8HFHUxyIW+QC7o1YI5X9XgF06kEaUw2Vr0KISTXA14hYapzKe3IqAP78rtOwbL7cyEuXSf3yz7tx7zeBJV7nWFAkb2f4/7l8eaTt6uhfrLK5GeBKlgTkzbPEGBiuN+TJWyHmeLxY7K7WNtWNybQ9S93QWWkx3cClV1fWIfvEsIXcR00n6o0/r/52Jc+KQAOQES2yLrL//R2fTCQO0gijPODit97+xLhqaa33/VKLVrmi8FNKXjDaqyqbzdM4+NRHOcIudJjnTfnLTHWgFzZ9m9rs/yTp9LqzXtOze35GUnMiSQTHUTgIyfl/Kw/9QVWM5YWdrHtPbTs4Usb0KyDDEcyDCWA/Up28h2tZxntJB66C97xSQVNk6zoxJWmXIe1nfX3++YoSwAfOrGKWdaMrmFweYSXpmDm5Dc5IJpDrkpDVuR/TtreP44BoHq9bBb9V778MTNkgzK7hE2Ljs4Axbu0m/kDc7Ezs7n1lVYSm81cwYRumPAsXzC04POqC/RThGnphuohHslyeSnoV/fF3SAE7lDLkBYvk6asV0bDae3LHkV6g45whPvYdfRXf/P4WrYAeyeDxGj3TlG6OSWoAoX1jtIkWDa5dNGGzL/zqRtz3gMZUv7NDKSmFC2WUUJOa51qRp3VRIJUex3jjB/Bf97g7CnmG5mAE8DKaoMRXi0+883JAn3xkNMCy29e126Zlq8IIaNUwzzVCOmDptniJU1ml66L55ZkongjEL1Tx74IqQlwREI+U8TJ+VKkVW7hK3uIW5nMgGlIFXOFCUNxmdfec9b6g6CVAJIvSP36opg8PUGlpLht7vmfuTDoSkXpB60ngVUkCOWHY1kH5bVLsY4vSj5c9wpJyzlJvcfLiShb3vf0ZHxTKnrDGtC6+9ahK3S3utFmOui/TXj1zQnYsr7+S50RStYUnIlYel8dEGmUQFwJxWuxRSCi5bc8Q0B7Oy1Nz9Ag1scmPrXbLSEfQncUYLQ15M29Oz9TNFvElYR+FYIjGQgtuaJnbyM2GDrhRfKyrUkLYPZtI/BTCqxbeWLoIyb7husaUB7GPya/m/BK+Nn09/oXPOTggMBSlfH73/22y4v76nR+nEoe10E815FH+8S9yQPLyayOYGDSG5v/uw0i5Jkg8S4a/WZTNm6MxYXlR8cWaFDxM083sFTJlAEgv12BRBkHC7qNbpmbKWFR7YwCehuTb39nVD53zmicqWcNqy4aZEWt1mY5dDVAjp2M3sNaGJB86ZC4eRmgoonYgIN+NOwm6IlXBEDhtI1nXn4+mt6ncFFyJPagKN7dCxWzxi2bVy4pVdUDuSRwvJQhnoBn0hEM5ZOd1QI3i4gkqtKnAvsHLDCH+GSXoC+iMvqmXfHIfIRfmS/zNkRoLarU6BKTSl2QYOg2RR2HKJfH9YcPVLn7EAGG5GfUZJAIbwf2baA0zOTznnSkbyA/z1lL8b70nH40iNqmFxrtdAmQwBtMNvJXigOBHsgM2EwKa2aFCa6XVsHKgGOEcNMkeUacYchAtvitYrR3WczTIT8Q/LhDZkXAPwxpULLvwldZzLgUAxO3Gr0RKeYx+ud6JLaj8RVikFfzgYlWFwwx7OVQwN13R5+nmFkGvPGMhxuNe69xcjjZCC+p8AHUKlq9zY2zK1fKjhS70kUAaU5r3sVnTHhwqVf/jtbMOVpd+c1NihQ+cljZEoBak+mYAV/BwJD9fTTXfPX620RriqzRczM1SHpwIF12feIXa1mNiL98T3lnSygqBScWRg/Xn8ftoCsRejKSjkZymZNPlbA9RBuPkCPrR726kyyjqxVf6HiM94LhXVXgv0baV/iT+AP7lJwj2F3RHnvNwxMgZ3scD2sw8subN/AUuDVeUHF6BI41cQA8pMBqwdJkZEr1x35Qjm6X65AFz+zqJ5R3uHevQc4Pw9ji4+i+kXe7/0XqBO0/bUNKSsregLt7Q2CVIhBgMxyLXJ0oU0K5TYYdWv06LwbnrIQsXj1InOTtIm02raXo739KHhYXF1iEit/0W9bN2XXXNtk9/p3OrfZL7s2c6vEy16gLlIRxpJyKAwqKDfsm8GCQ6qR8p9cXcpW7e8/o/xWsddkw/Jz6otjilN1Ksqh2e+WbEmtCyFL3mEAjpPWE6o1vPbFPLQZPkcdslKObNXDJOC/78axGIb2Tva0zpwDnbISu2rCucUrkzRD8sZOvU69sOdaAJ3vW4YLIMTPYk78Bp0kpnjI/ETqADrvsNSiXUkDWlu8AsMo2KAse9JxetxEjClGgWAbTXnjHZTgPs6P+9RssLEH2/vJO0FkfYBaGWGXLOnnxbtOqViPIDIcf+UI1KQ5JoAV5APpGzetVhUkOcce2L42M5QReiD8/dor/7mB04kZgmjY0L+YIrrrSaeTVI+OcYvX0y4xkBElVCDOdwQpUjm83HvBtO8pHJVea6TlPONNhikh1B4noXvUL9c83ikSGeg7ECnsrW7KG8lASxqIbtuuqwxDmO/AtaTGjUHqGGAW3znexw0CVLsFQpz4xgxnA2q1YpnvMJ5yE48uhc5pq3Wv16zNIFjo5VSbDCl+7lE4nD2yjgLe7VK+pdDCSocn3A+uH7XYPIEAuLCWIoIB/eMucuSqHl5dExE8bCl/9sa2lTJjJ+pJ9bgP5AvzUuKUtV8f31K80+pslAkBAD0qXjqfy+H4wNKR0IWPXyYrJ4qrOGus9CxFqNABTpgFIe+rEaE896vwV892v1GQmGBayk4xtZb8iRY+UADPqh07sirTE3QaMj6HRA1QBl5w5DrChTjWEowAlatUWPyyij56RECmkzn/CosNQdjh6ySQE/M+ZfWd/9kQLLX7RWebB9Oh6CVKs8Ch3/FdF8HpqvkSsNTYEvM3Wztk6uFuOtR27yCQJ1uU1cSI0aCuQ3FOznLEj4U+R8iEU5yQkl0EIjr/eoU+VSNd7WLAe8SWq8QXlIXUowmKWUu6Ii93kZQl6+mi9PtDa6PKcCb5yMizjhwYRXxYiNyLk+qhEFxywDu4irvRgb3HxU6LJIRzUVEz5y85BiNUAAEhZEfmwaBYxvTJwGXa/rhlpd6VtTxDjm7AvIfJuaWN1YhGIid7+bHpSiu38w0eszvunHgxEQOkxMfF7CvD8CzgT96uIe9FQkT2CZ33d5wMl3UJCXbw5aXZLV0PM4uaV5v+pix2ZC8W6ZQiSAuSzQrhGPge/2jiZa6h1FDGqZBuccZex7RDi8/epGN4VpobDD1biI6dv5ptLM0U0Hbb/1qRlDAG4YzFHHMBLHaAZRrZARnv+S2vk4DcPKrnCbmBmYC+Nis1wyey9cKrHqip3bqY8xaxq3O6kppZ5m6AqEU3Ft98raYS0LTi795gzxtIRlIWPAeJBERCK+8uI5zStSm9BOwM1qVDjffnzvXL2Om3Qqzgw5kNow6yj1qIsHoqtInzJdF+qIsUwl3JrSG8uW4s9CcIf1OyLrEO2UKAy3sDXBxrb1QLvN2bFfiyqfcJVk0N7NogrRqcNoOY5s/f8tbhxOzohidTdCpIu1sAPnGP4VXxffGl95/AJZy+3iVdaNtJl3ZTG1qc+DyAw68wwCS6gXbzL2BxiR0TMNKSlp8JkCvTRb/RDkq7awy3Hl1CMsL2h1diWgRy90y+csK4tXbygMUdUC0yf19X4Vlh/vkuTJGBNc1zksedTKNJ28eayIB2vKwsEMa7DjjKglHpOzZdyG7XeGvYpKEh6YNGLY53f54ATPooPdAIhEbjUiIhvPaQRQRcm+MJFX9axE4rRvl/BDJJcNjUVE3CScOwdh+Cw2OHQmf241RRoxzyeY3IEsS+a6Bj+gwZYwXwUIGihstLljeQf7o5gQhpKoK/Wyy5lSkJm+eb3b/fUp2vDjKuaKzR/lC3/Kmbb+EmYMOd5czRgt0oGsPLUIKV0rnDz/6V9yJw0MHnsUVef9ZnQoXFpMjUl8a0fNltuwoukn23VnIle3qEX733lTbuJTegg22D1ijUBQedPPFunAtZMWT7Wh0VNjOydzQWabUM1PAMCQXh3Ht8ml7dsadwmTfUTBmHx6o1VJL0mO1uJ9X9P8T5kGW7JNbrdV0mj+USRIjAmFTa68JjJjvpBcW7CNIlttVgr5Zgn2k/YsRbuQVjwzO8axMicHQ10hN3+sWo4GZue/l4rzpft6ftBZe8PjYes4h1V+RnvGMqKRdRRnzGGKzKV1zEzSE9At80dSHrjOEG4nBf9T+UbLN1OI6bYsQuKp3K3hUOE6AAEOhMUPEjms7lHhDPoLn3tNtgfRqpMNWXRhQae4HWGJSFdIFql5M4ahpUfwMa0zghCQ5WXtyF8+iKf8FXBOmMsNTtc8ZyC3M5AXKmJtrRkX3Vluyi/3Vz/sZLboZLFegU97vrsp/4CmeUdPWp2h3iJ16jqwzmRSOgHwW82y37rQUVRnnppoygKSsxIOa5MXN4DocSqp4K4d2H5aWnuNjQL6vWzRKZVeizvkNPcosW5ime8RkT+1dMiNRrr44d3BjjHovgXyRAmqhMW09DLm+cOACheT/v+9EirUL9pbbQtCVK3DqJAXz5dOfF5yUVav8lz/yxd5xVCcBbpkzJDcUoQEKEq9F8mm9YAY6Y3vOpWaaSek56EhcuwQtqDYin0GFNsdOvcYwB7GFHCLFJKiDwYtjEmlZQaG4fATTA1U6zLvXHKy+IiDIc2jss+LBz15Tt0eewgHq1gV+PNcfT0OacQN+LRDJPltOVftjUAxgV141MFiDhVkIoZeV/eEn4hZhYA2iKFSIvABg/3WmRxU1DUjMNqdrfupmSzH6xEU7/YcxWhv2oFoapcNecdfgTaFBoA5ov/OPAjD7A+DQb2Sh0ZUp67qu7AlT2FisE0Pa/9dvmh8QZSDJhZFw8JBJxuXuQoQhMwgJ4WjiyRm1ZAbjwx6+GOZOgOaTiVtHLPSmSzIgMQxCndRywrRA03K1ItCJaN+T8GnafV2FoScOfsCap+grbDW0fbxbOmkiRAtCQ2LK9SqNQejWF9v3Ukj1iVMudoKXluwAsmBKe/a73QnhAZ0+4/4oWbDZ+xq9vX1tj6pILU3haf8xYfOAFkor3JqZc+zadra5acRJ7ecW4A4cxOgVz6k98ceBX5skqVqFNXsH4DtK4DbCCa446Xx5MNOLLi22SUoX0X0u7e7dph6zpimMuGZpKCt/v7bqqzIPFbNb1W3AGvjlEOhmYWdXAbN8weH35GMGdL2SVfUNs6ZWi9fhh0G16IUbWc4OmRrTDabNmlIQF7SGty04qBJU2hMZNrG5KCA0QKX/lQUsW0T3x/rafHzXlwiauo330B3qymQTK1ZtVAq0DP7QthSDw2RrW3FU0mM3NsnP4crNM5gJCj+yk1FylFStb3S0CAYilvPDlYNEeAh1KJljWElSUGisRX/8GTrwSHsuz/i4+CXn7YuukGANrEmT8rrp/YueFc//5WsQLnVpIuPiI63xI9QbOgMXLGTsFg9z1N1MZyyYI1QeMjqBSipNvWw9cd4zwc20aIzBC4gayAh7SDKYaFI2Td5qhPrDey8BN1qcke44mjYci0mnns367ww66jI5SWzq5WDLcBT1Xc2MMY9KBK1ZHdAqLUpvl1QUw9+cCpRt0YuGqwJmf7FqXNvGF43f7MU6qsy/zViQd+1NJuYP/7vnaQCEpD5s1jLrvJdo7uvT5ygyPETCBdDza2zK5RpqUE14DowrdruGTzeqaq/9T8GyCviPPeXI39kiGDcTfbzDv9UwklGYlxW2JQ0jbcdqZk3eGX/0S17jkrg6XeqBQ6XlAclqVg2h8FyS+VbtQLTX20hExTMOIQhc9a0K92UFdbFHPfo9nWMze2mkzcFmeAoYmptfnA9ISIBqR5e7DBXm6eOpnAgGuAJ822fRfYF2DnlSm93q6txiwS76Pm6C5km1iPt7fAUo81fHwbou0gUZSssF5cToXboSd/O7qC5p1WaOGpH4sjAD4UDYIBkOV7Evu2uA/QRUrbmdkIliZ4lyfI2A6zOsmFwc//+qmzyHgW9h6Was6RzcAreS1j8XJ+rS3SASIIqKtYTMLb7RFh3KNJEkpef60t5uO6hHfg8mOBl2TkIcp4g2LC4koTmlSfjDjfmdu+32zUsTc5lMO2PDASv+20x+0bqBVcTQDiEDTPmOEabp8aQJTbU48aZg7aF3ZnrEoE2cAamDC+4kpUkCLSV1dAKTubrg9xr1Zcj3V1AshM27kvq6KSIZs+2oku2K361fb+tj9UR8/xLslj6XehpPWsSABgQGesC+nVjgcX8/ycVm0xgQGAn5ttc4+0u1BQZQ+AcI0V8iWQjjPGgxqfmjA4xDlDDW5zPq0ujUAN7+VfwPPA23MQFmRFV0bPFd1xfLZCQdP1k8qFgyAfy9wZlaH0lk0yoaQpK+Uw1a3T1Ex1VBF5r2yVS5oIHFDY6nz3ZUaMAgO79EMPnviGz8QiunslajGc0/QvAidRiF9IkIUuIx4pGwsoX7x8PA7WNZr23rdU4JRcAO4cTDMKQnLD83MLfiPze1d8erkVkmo4UQ1+og0QZufXhS4zRxyEbaxzzNdm9jmb92YzrF/t1tZg9n+WvrHYrgTgiPQkCgqKWjUStKn0VXMQWkWOrNAz4laIwisOB8FqDgiiqOGwFOABk7xBTMm6j9BtdLgzBsm3vxv0SshUw3Z1YU1SvA2jLCT3jGa/WJLuYr8CohledWo5LyDf6pl3nA0Bt+Y3catHkCoUUuDK+FvIGpf3+IGW9lVMoO9fHO8IoLkaha+l87LGNYBOOqrIcZLSGKNmQ8rJE9tIUMzHjdMvZD41qADSXQGHFb9f9i9n50NrXVAoIjTPTItrvG2hXEynbk7kF/+4yN5HyrBT19lEs7Yo1MlxCGqvMDCxRq3gNMLovo4Y4Hu+RWGpuTZcDMDSRWGKHROasOAmI+qXPDOGI81hfrFqzAyZ6CJYADcGshwQZCdUcEbJ9E3S4opYDjH3kQlOGaLHPetq0e9Tp7aeJZkH+v734ymrroD0zN9stFDpAWtcRSOAM5US8GIztCGdKoaAiDqsuECAzFJrSd59Og/rXDpqxbt8912TEvO2awybBb1nJOu2QL2LK/tAMMoFMcqei+adnoxr2b7lAPeN6JPhH35nQvx+7SXt8LrrfMF5pM1k4PlN2Cfoiyu2CgmgVwQVinT0Nf4IGwJO4o5TQWV0nQgYpG+6aP+nnsyJ9bBhQqCsvTLaoPiOQfr6vh1HkKvtY7A/B4RDDu9jHognY04g2+Fs27EB1v4hFfsi70PFgytyfgavPQBTTIGe+FWmx1aO0ZF2IH1fqdCEp7m9ZMORUB/5xcXsBGoQRguOOYsSgilLucxg0cybjk1RASmTnMvurhLpEXHSK3/ei5Y3tkdyru/UK//JjrAg8njYLejN027cQe/JMbevWbV25BTCI0ahPf/1zoG874kOSBViW1bqsmA+zDrkuOdn/cQ2LuKi2+Dj4LjfTCBnN3SmM59cqURPT6yZc4XhhmPljxAzORFxVZ4IRuvC6zUjMx8YF7ewwMjJltswyeaOfDIgHCjYFdJHb8QpLFVaTvqtAJI1nuszBBziqSMoLswwk93UPTKJFHdK/EJKz0l5wrXDdA9qZj56EX3Q6UrGpXzyZCdpbT6Vz89/ES53H2ZIJcvMFQXqJPvCbvDwkUDvSu4oneLLd+u0KXMwAC01/BnG/7oiRLrMr/jr+KeGwaj9wbnZzFax2yJ4IR+QYmbut1QHOPrfUiCStY/y2HmutqQAnn70qY5S7LOmfhtEN0cVE1yG2qRqXKv9kJmKqrhjKByfvYRUfyLmCuE4Z3kWLUZgn9h1qPUbSs0DSFp7f/yWQaC7AfsoWO5/P5+Y49O7mAPPuNTSPghNoqCfKecDmdL49WD7tDnNedKQT/mVbxfWkhXXFIMbyD1gp1PXfFqcN+ywinkO7FIqBxX64Mq/86HIPHMVqlAB0lx37Uy+XRrj8Ka8gDF+1yBL1U7c7SiE7AyHwRHwQUrrqhfjBbI4+15pDRpWouZUuXiU/SHNN1oFVJ5uoT6prTc7QEqjhCFJhbpffmgDlhILP+vk5xEV6genk+zOjCio39WF7OuUoeE0ToZGJo3K2Y601sPhh96tcN8ylWLeaYRg589JcX6ofEWehh8MMm3HxZEY+OkKTXisQA/EcPCIddBeb5iOzxI3tZKs8i2yuVJA0QI9vtG6+Bze3K3+pFYdVcIeOWSJP1mP7OdjcUP7HktCin+RuVbB+M7zsLldVkFA8EpgirNAy0ONnSWsVybVTrDTuUBE40NpuHbcruYE0U7hyLhhZdyXBqimi+IyK2e+idfdAht3R/iRYtYQ/O0COMXmkLnRfJGb2zvo5oomOvHfFdv2R2dvUKu5kdfFIq6J5roheFZrQtBb+QxKX8NvVKPKRGAbT3zwVFTKS+dCLnnop2KjTGBXypxo8dEJm+dEOUWT6DzkL3OM/0nwHD9I5s1B5vZGo4wNkXZeR3KBmrDFs5725j0dv09+tcwnmOx0061JGS2Byjrj2SUqcgJWmY78O2b+4f4Vu0IUkWCNkyY/4HOBTT/68t5vRs0nAScXLzo9jthfWNsZu60DbWvhTlJAIVJi0e6iLe9TcOeA7U7eWmR+AgcETQxx3+xw32FWxRTXFeTsoJiY2Js6tCPAMBw1asaFFHvYaYSkpOCelN2Xdc4d5oLiV4nRVqXgUbnURC94cNEJ1qEl1JmpkaRD8La+gYwpDgaC5AsMO2fPNTCoRNy/4LKm929UFj/1QBsQdzb2eZoYmC6AS3SThgppHrr19jOBpInUrvmNXByMMFz1hH52d7SBbQa8FomedQZXgB1LPYcwcYKuNj6tTtQUHBWm4s8nnaA1BhVfyXNOnRYVJUOTdo96pyDXqc7zVIb87ovPpp1iIT3FFb+5N602o89b7zbwJIF+sotzXGnCnXwe9+R0pxVbbahDwkbs6k9wArC626H70ujIMP7ta8cmB7n6HU2DYgHZSClDfX2IkUBRGmT08wmv3h5KhD14pdjowCCM1bhp9DUlB2ILtJm2OKn6mf9usd2XN4kqVYsXyinTtUr7H2mgCI/UYHgYzkJBRZOhCndXOiu0z7thZJcOUkM+3ibJvYq1JevPVY13ICuGQ+Q1RPgA0/2tve2ttcIbIp2+HqRWktNTrPNBqXehvEzCK4z74K/p9hxxoUBktAnWANQKG3PIn9z0lvRuLR+vGXu4OtUbTXSDQOg2Aly5phByVu5czIOdMeeVKlssJ6mrtqiwiqcJ3Jt3pE5GW6OHH/cv+Rf4p8Jj40r8QjJbhXQIGHi5D1Xf0nLsXww2VCHPNB2iC7pKZAOs5pimRZyIoU7gFKJR5gJShD+zR9cn2ps1E65NRfhCFiMalC5pGvNOC+d0mpJZH23OSWvROdR1Hpq94BwuEFrs0iHujN3LBD0W8TyJNJFiFGuo2p2DzpKRvU8/33H6hst3utGnghDViq8fhZlchnMSvMQBFOkq9H1Vmn5xiKN4rVk01FTSG5wOiGc2bZE1uii8HhE+e/gtZ6PPETRx9N9SNav1io1Wp7QA5inQtuKUnJCzPQ+3MdpMsLNPm4wIRX2eTWAL72aBaIQf+iUFb+J3u0vx1eoQThU6E2rB6fH7COjSFRCjRL59+oRggQozzW0G4GIe4aWwXSh9lzLZlCHq/xgTehZ265i01Ck5y6L7tQKhAjMxSGQTOrZkAkpG/4rQnNfeG7o5f1wKKMIHxjpQtehVD38ZDW0nGlB6afrgIUyq4vESR3eQgMgJDKCF9RFs8xyT57tNgf3MxdokZSg8vunhr1qToVtQbERTAOYmf2ZkXpRRdcnOMwAO1R0O8oePCE8O5yBrI513+0H2pp5ZgmfTcBQ1m9CznKHo/FNtBZlmOomIXB1VqPEzxhz62ZsGNG2lqma1sKA323l/mAw5CrizzpacSDUBgJsuEVk3HAmm9LbcEiptK+a80c0sGqzL4LXWrBdu2MBNt/8/iIylfGoGGp94nN3o++Ua6vbagl7Ng29GrcjGn9xJinpfTthh3nT1dUxF8u+mNiG/WLF1yd+fBUH+2a5LMkcz4viEOrxIb8aGqgzqtFEvCNaokeqwo0JtRVaJgqJfWsWOboJr6ggocv2QurupGUwsWFWQUZYgvR1NN1a3NT6V4jzS+78NhXOjn3Fdc4oTX6qJQJL9VbZqnnag/czbHJV4mb6cpUGFEjXZ04MdwRe9Uboi6cqNV56VcX3xjNTfdQkEggjmr1lyPgjktOVbhQJTCnDTEUAZ/u7Wk6FfLXX0pWP20D13VDtDZ7EVJIJCufFdIYTuWkcmz2tkc+OoKr+eOWzwUvK87hTq83n+gVh+lX8jOyTtlCBApJz/EIbYj6PAuOFZJKfWWnn2jG7mQ+D5LGQB0ocCO9k0EBUtfeb1xWUNPVlh+orB3QFMNrnVrp7tR+y8qztBQ+Fjk02QwkUvPnv/yd2qiCYHmBfibqD1Aa3Wul8tsAqCye85EEcyow4l/H+DymfNIUlccMKh9Y2ASWpgM7cc0idApqdo0FrMLQgcwTwUNUTG35P6y0c4GosWHEjWuos3AiI3K406NsZn/fNDsnJUUNSVLpCx7FOo8kxpr3lIcF101eprsmZdDE6Ea07c08sDwqcAecBwOYrMdSwvu6xOnxqgWubA33/V74FJ+jJEtnu4Iz+BSG33ODXRIeaYyTPc7E+ZEligz6FrYGD1zUyCYfsupKZba+1vzVvSV3leGSfXbsdAd2m+4hZoOE7ky7vPTZ5BFEIEfaoEO/wsgSk1cRZ4hAZZq/NRGM8lLXpIyQ/ZmLh6F1o3IZZYbpZ1LHXOX8X6YuvNq38YDUsHkiGyPflkyzKPq/ETuAJO23/IHiJuWKvAz2wWgjteh8NKequHQmhbpVLm6mT9fZ6A9MCOtxMhMvrwEx8gZxqXJnFIUJQbapOBCJbuUO4pthPq52OKa4B4YDtCp6liH6KIuPmjoBhy3waFS6/JoUlp6cGN+OKp7+J6y6tYloRMaZhJoh6O4iUaALBw+UAZo+WVMrYY87LwweutugslztAQuyUg5XjmlKDk22Z2P0APPiFLy+RtrHZ8Xp2zsnzZPSpBApnNRRMjO/eMKRmzcrblVyMyPh72QSesOi5HXUBIapI4Zx+UJGFnDKfxR/CMYuGE9xwkQ1z4C34Tjg0C7TtfiOIHHgY0Ym1AOxL2Q2zWYvcNN1KGd0zukCmEBDVBEf0L4pAhSxheOw/mXOyJCnbED/YfaP+apCky77MdcVQbS2ZmGfKqXyZrctX3e38OdeKMFVfdgGIckBaXsKDG4fQ6R0Qt3yST0sFiT5qQOB/ycyfR79YGeLo29fNGmDUJRFbQrQv0FgALPFNZOekaX4byWnJLUFt5lhG6LCBuFUqT3l53r1gEyPBstiTBdqg02hLcHkiDhFUYGAmNIB9tGpQ0iuoobWB/5Zvrm0XXx62fYjuFH54V0Kglzd1GxORUZl120GW9kc6f6K9yJVqBTeykb35ixbo1esUvf2RenUTl2ADvWT3oJNO8Wql2g1Qr/YHQLAiMteqQJyMB9/4u68HVW96D7fjEbpzU4J6GLJN5iesUJCl1mSBInrr5OO38XwdFUUuCYm/9S5xM/AYszCmtd0cOSZ7M1RCNC5PR+a0xCari2/SDNvXC5Rtgtcz84U16ZsE9iBFYYDBSTlRlfROzmwvPTyfx/Ri8OGR7K8dElkK99TKBu24w6r3bDELG+OxwADERdVM3hTY0/uQCN/gcZTbugxp0N2rYXzsPTZw5YKjlYT4Rx4Kq830LAXF/BVzcbsWBguLooCT5FcNcQfNifnC6/kQj6B1J2LahBYWrstRlKSO8Ib3rTnLiiOfBY2XtU2U39UTq8wmbyG4KIEV4hiZIZKPimc2Nt34fR0ADh7ZacSdypSd0/V+nmKkUYwdO64W9gI0HCJlCkS9iSPvlgaoOZMwiwugLEs7vZ5e/x+ckPRFd0owi2l5l3TiO2yZkOlJ6Pr/0x3zyZAWOGKDn9Yu+9tKibu0+5kdXBpdV7sXQmKp1UD9fzMuwz0WceBjCblWpqNocZCbNe93OxmC/aIzzusUIPh7cbiVKk2JTUGBzAo+AnIJMzAJ+cBkuOpXY0X6x8eSa7mPlOK1HWkJnqY31/GTPmjayO2MdDu24sgftz36g/W6udjd3ZLRa+3KCsjB8rbGbs2jkr+chQSTrxKz1L8NV7PexS/ttg/lb38JWAGY9HHEZR0QKdn9SmzkiRk2q5LszzpTAZzMiqP+zAhmwObysfoX7RY9QTfe7RVad94rN+n0i+fEzvrMVavARnXX+T7Ov+Yc6InRAcfNupqNN0FoYqxsvxonxspW6Yc5bIbHF+Njhq4WTtGzsDvPbTJP/PicWyhO+RJZDxZwCCPmL0GF0UF02kriovpIrao4Pf45LMnqUNLGLM2VS85eMWrguFyiXcM7uPW+MGDGTM9el1pYcN9pU0flUl4UQ/dqojW91UH0nP/o4Wpu1Oqj0AAhp9r6JX4B0fMYgy0pjAVkmiG+fPa1PZTjqyokvtnjki7FZhg7VXAGYMv/auVZHnLNZv7y/QlE3M3DjbIWyAN1J3AQWRe7kGc7QpTB3suNmTb/HlJt6A2eelcdkyiAMsANo/jUyf1uAAniL4k2KB0FfEYMYSiwCxFyH7fLUh+Kat9LnItkNs3RIow7u0Mv8BTUr7tGRnKKs3oBtYG8JnEyaiQ6aSG1KPr8Z58Hg39fhfasSjrN6Y5dQvgu5OKGBEL2z8539OoGSlNtyxGA36wFl/T2kJEAqlYgzyNMYgnM7g0dSXlX66idrqo8HM6hYqiVGa3+2I0Ji3pasxSUJ/k2n4774ocmlVNkkMz/pMYw7odsaUatApx8qUFal4Co5OLOauYWQvERdvp09WIMzuzbl8HpuDhe9VceIzqzCMrJIcFwq/vKJxJeftE3UGKyCw2ztAKMyPkjp93+DDx8Lrla+QlWknCQELHpCft8ERuUi7zw2N/JfTx3bGiwSOJ56uBo9gSgqCPXvknQU4IDV4pqhQBwhwlTuk8vHsdpFy3ii1WxyAiqhaAWRyPal+Gr6bIzpAcewP0XZhM5XJhMCUbDDLlJsYsqPWZUPOJyRHlS1pu/DdbX/4stYGvcIOfYzdhQZQKFN3MiKYDAkHFsmZbNQll94VIdnTn6OdI+TTeGSV7RiOZqFEJ4QOhs2a7Yqp4dsSpg8uESuiuFi4QfdHVmB1JatwIH930aKyzUBImIrOgVdtdnqDLfZK+ZlExusp+XrA81Uz2YEzxTFZj9LicMsSu/BOD3Br39shYYhqBXWOafYsOvkTiKfgSBvrleYAU4EzvosLNOWaHUBKY/tKjFAchi+Ll0/c2rM/ussjR9GJowzhzeyPmOGWGptPJT46QCeGZzBtVcyUw28YJoHC4c1zZZIpthl6B2urfHelgBAl7qCjkoVsCIs8jBvHTzaRg2fexEW0/fZH9J1OmXDOfnGxL7/rz1a1qu+7egCvOsH0AZrEC7NUIL8/ZAGyVpUM5ra/jz4Jny0MjDtEANHQtHe2GPUlZmeJiPWbr7EfnjlKS/vs//xCSIQxzznCMkGsKAYt3AdPhohlexLMtb6MdoN6eRB+7owOYKgcQCkZ8MjI2buWAVJlIA9XT95iwrHv60U6vBmv7BugDBbd9FFZO9xwYuKVAiUIjTnDX+MYbskSWVsDK/utM2juqcoLXSxqpJeIgDzM29ICf1buaNL3cZj/3YhzwfyleTJ1pcbEaw9PidPA1vuLXiTpKs7F/RmMSOVu33Rkll9UaVyBh7ZgGmxhYnanuJpIODe/Fs0IuhCT2p82Z+DP3zMOBJ5x/zJSTAtbmFO3+CWxLjdTAD5xQR3uaq0aPUz+GuD9eO0WoLSUmkf8TW4fJIqSUmepbLG5SO9C9ZtBq8sonMKII1ErWXaNuH53Mgd+5e2b3FyaNKtspGu6BHzUeLYRo7U8Dh3kfkMAwapN8usSpa6gQGMaFMmGQuesf6h9ScFiHW7KkxkKqA4AH4i8SIRaOyrQzqXP4GlbX0OgjAkaWf5V3sejyRVxSj36qJA2zqGz+71+lOMqZc0GBE43xpDNtVb2eqbU7eVzHSn4DpIjxGvtjxoFZv8B9lGNADYdBh3YeuLxTjpG9LujO5G584KRpt8rEymxWFCgq9Ntv+K6z+CNRlizCjPWnmGFHwByxS5emkflOXtGme9OBjga0KJHYKkjnB4ktgzXBwRYUqfmHoSXhNiwukBqkSU7p3Bn7dAoqq7kFU5Whp85aRL8JScW5UFg8Ha1sLPRuz/hN8zqHw/y2VzWtIvZ04Gd2FzKo0nc/hQ2K/ufG0RxBrK9krE1vkdUEiLaLi6SkDDyxM9fTrS2b78F4iZrS7ddmbCPbZ5AnCGJVgd/vBF05atSCQH6qH4MYIj3g97JM/mwcPknF8qqjPmA1SCtc5QEG6TBJxyybLAuRbi3BDlmDsSj7gaWmeMABVYkUz4FpeRrwR7Yx1sS6LtpvH3kWV3VI2mzkdbNPKf6Robsz76w/bPtdWSbaO/v0x9U62fNlcfryJyJXUUXNLxJ3mOZ2mmmvSEPU1oeCA6Y+Gsd+rol+Prw9OZx0rDdHlwA6gOF27mpSY3FWL137UqIaA03xaV67HyeDFuszo2tl26tPlCdNPbf6zCOH5kiCmEhV1tSFg3y4YVeELN2RmDbv+MsvBRzP4Tp/WiBfyafRdqbJJgvHutLQo4dNI5HjwEE7FJYlLY9sUfkXKGZ+Yn9zDY7zOW+pb+A4KkZoYQqa2k/4aQro907e5wnbz1/NXcLLGMewjARWSzB4YDeJnExPzqKxkpfw65STXt4KaFlHzbc5PWMEtKAhmFSWEOHBTYMK0t5Lx4kEhaa8w/8Z7A8L1vaPae6Cz/o6DTSfGboXkLuSIvaDYAm+C4QkCFz4Yt3E7+p1EFDCT0Oxg+Hpt4LpXO1oW2zhIdG4IQnuo596TQy7cSolcqRpNFhIE5NR6ITWSf3oN39QxLJyRxDTA+lU/EwjKhgJdSKi5LThIrdue2IxoopL3GccgLDCYyYgW082laKN4OrvWa6ZibyqM5njjqCgehiITd957cajRG/GrqBR6vmX2oxE9pPWnWK8O83Rk6pT/9AM6u+xam7z+EORsIOQhDlpH3llpiAiRT2ySvDTrznnOUwg7tvRo1kIEgVW4wLYNNYI4Wb9+r7Rm4ZpywlhOhkZV44zJuQSdesEoQ2DDARJ1+kCSEwmvk0dRh46ZZXWmlwt74fVlMu4oxNXviDwXv3aRJ5jY+b5i0qVDoM78ObuLeWLlLqs/wMoGQ5Jx5K+eqgVltCz+iH3SFuAhRfQyk88feqL5yY51gcKiVbccSXebxtctfroUaNshClgVL0+/UU8JpxzSQ5J/muFzpUiG5dT5hXVmDDZWsbA5oOCoeMOP78jKoA38LBlkIrHB7uTT/MMDVUUfH77zeDX+EshT7YfwwC6poRwbUlcEbneDJ5J4o/pZgn/LKy5txCMBEkaJSKrMxn5/wtqRE/yMtcfRUWuIFnyLjbmMPa283/5Xah4VqFbT5IWSrLq6YzbOtwJo0QWItCIwNO5J0+M68ynt4OgHS/bhvnazfFbRSlPTh4hBjYOccFmwG7JgZ907abmmUVfFN5gbnETF3hUY0Ans0IvacurhXLdOqDBvLXkjqsrzad2d0/GMeqWheXIqrUATb5LjcGaaYVyC4l/drP2Q7r+9AkV96yA6jdTnPyNVIor0AwK8zWzXEkhfnTI6S7lTP7nI2rt44KiLuAwbYiXP2TNeRpDYndyZAqN351yrUPXZ1vbomqIb+tltxLnmO+iiSJ7dmHshqegWs9tZi64CkhsWt4w+7jyiL+QbW3foyDhK4Mx79PnV80WXz1+T3ucmesU+lj0z+dSZdUhK3EROq9Bs9Cg5U4V4XTWbgveigStQa8s+b8jojS7MD6Te5FQDNECpsNVqVbsZUzccil2Sm2lUiUZ1iBSjpRnyf9LuSBOPYl0GevzLNsFM8od+m3pcHUoi+SANHiQB0sWyQ1nxDwgCGR6yFluwDIjpkyVdC9HEEBCbGCKrxeVuuLP6k/gZGbh84WrGCv3+JgwnwztF/lLaEntyvB8waXXukfK66IxWti0c6ZpNsGeNRuIf/c45oSyjqrWlloWXkNQnEFeA6DfdO8AKn/uSxgwlDcmg+/oi+CXt08mFrmK/3RXIanyefdeWg6iM5VusLUdr0b54ncI1TpRWCDTAmzBlr2KnqoPSZK28pl02tZ5/r+QQ1Zn4gHAoqxIYsLE6slmfFjo9GDiAEjM++uzRwMWq7Vp5ldswsWAciVkTUwsBqpDhA5CHFGywLqvhHHI+N25AblCgNM7XYJe6qwd8pcOWefFVM70xOtu/2m7UnhMz7I5FwGGJdlpQkCJQ2UnWqvoYrKbnTpv0+9j9+OjuQpwiICPKAMtrNoRKMR7Thm3cRPP4b0sGwtZHCdSiMJ3RFfCynxdlWGhOyYtc5Z1QELClDATFDXugogid5xjfOT2al97z9Z0e5aW+paLaq1epXVKGiuOcWAMRlOI3XhSQ0Fts0m2u52llqm4eED5fNJhh5iA8FxS8ymMOGQ3tdCy8gRQOA38EjpMDvvp90olGRfLbKREio2sem4Q1nJlYZxn4qc0EHJiV5jfcZblq+IQoTlPfJYSaXXo2VifBlle/loQfPwBXMoPYdK+ZqstwA8Bt9KMeCYUabMXhQQPbXtEQZv1ZHO7JLCcLW8b88Hpg7NJyiR1LB/eZ/+LGHulvjRzIqH5ix0yTUvdKWxjy+pnFZQ8rtcRAc1ET+ArLXSxd7DJo54piQuzlU6Hcj3snOLZM2gHYddEgw07ulDq35xGAuVZtClT1EAxi5Mve7HJgXbn7bGwlQUZ31N72scj7v0sikPbCwlknS48iEhjAEOPjIWvOiW7csQicE50FEz1UhfnNIMTDWydKYIywz9RfIejkNiWp/80w+I1EiaP5IGEBlbH/U12vWtFVX5z3RNDqV7VmJ6mrUU+2amogEEIR/X5pI7mBZ9TDfQh/DhSCBsASME7IancpjPnvH4pUCp2n8XF8nzaoXubIv21CNPs+kw0SNe7OkRywJJESPTRiqMX/G7u6ct1pORo6YE2EoJMLsm0bOhN5Hv4XVOUTBftlzOjGy5yybq/b8ob6dHQthbcMM9GER75SEn5UZBlTqrWDqcwmJLu37BQnigksMDHkaCLQW4CxC3wvnIEUm+LNEtGYe9TR5cmn9LLJf9ITt0OK1iNUf1gZOUwPIsmT9Ai785SY4UJ7K6h7Gj9UsvA4zmtpMkfISW0nUDighcS+swpQz/jt8DqDEy18x0EsOomWFQDznaI3qX9TPUTEtW0dz8SNuPAssPOH8aOggBEw2tqQNbEOkzwWygaMh1sg4mqMhQ5QeVkydj1+7aSvZINxux8gMswdAH+ciiW+2f3hVWaMTcA8CW1ncZrhAq/hNpCJWMqKsv55aKrwuJqZu1yjX1dsIT4kT8k0dL/hWCTz1UzGCVKo3TNvFAvFf1two8GbeRliZR21WAyEflUM52QN+KGRqsrk7GFdeLAZgvwDLBbXEtJF+gS6sB88V9QHVwd1iQm7Of1RFPGToDs/0Oy8a/r0O65inP69X9+Q41fA2eCtdGHhw6VnRAv7Jj7Biypm63bcX/o5je1EU5AT/qa5A6QDRm7dAbbNfFrlelULgHzDo0ixIXtM2y+j7brDEeqpWdB0FiOQdF1Vl+FCTZogOhC5KEsiqFwyJNX/RQL4c+vjO07JZdgQeckxxHJvT6q6mBGRNvbfqsNb354523cxv8lp74RQbK+ZUM0sfi95PMXOg0YxSQsl+F9ZnDnk/pO+z/6h2iIXYQEY0Tx23hk8QmEcOtH0LyHX98oOv9tBkbu4JXcZ9rBF6rlIKtF9WCJCVu9K/crwNtM16EwU8t3mjoimVY5y3jj9hbcwPiZvp417X8yzxP1kgCcHnQJ65sWfQPik0NLgviik6eWiV5IXe4zZaRu4IGMrwR6hBV+gMhGpeeCAp69dnp1ipubSXCRUWaNr5hOV4grmwFY3s/IVEAv/AM6h6RbsOax3Y89tslKJQSdrhmYUYz/bvsy/i2KiXFrnRjjs2nce0viMmaw5w+v7/aWGgEeAv6zDPe1hDH20hsGJPEbZBdT81/TEPYpsTG2uSUB0ivAjhIKA1iC+wIhIeh3sOuzzp4FwTR32CASCfGpJ616unHHpvD7wP3Oai/U96pAf5FvljT4v/OEYFOgq7JN5mO52ttaMQWVBZcNLOC4M0gXYqM8mwRhVPRIGBkWm61mMXn1eMuosrj2B4O2O8B7QSK5IW0eFRM1k0bSXgHrwEur9lelHly5SFw0E5udzhrSYzZUlD2Ej0Yg1gT2F5YRtfxYFiKWM9+3iJmwe7dIgzUnaO4qlK+QeSbGVriDN/JVToSbfL8RMrBWMqDMHX750hRzEEF8PGgYRYcU0Xue7y0zLv5lGYfqYLH71UonqYyyjjCYwSD7ATOBNL/vfWhgf+Tsl2a/cCMS/fiCEbEOw4KLFSDovGh8z1F5xJqXtqYbmZIXzxh46pssfZPp0hqY4wZhTem5zw7EgQjJ5T8HvTm+osPQQf6RfL8W8xwe1mBbAqJAQjHjkRBEPZCPx6iIK70PS/8J5ePi9b91zTxsCBB7N2SLg2XWglCKgjtedJlHABV0JBdpsfUo1UuhJ9og4agOBHEgxImIIAdGEYC7f+/yxuU9zZpRxGpi5/5jviwuPEPbjkJQWV9bplSbOwkc20TcBjePuzo1zBwlZCYM2V8pfH9AbUPiVva3Xs4rLu8l8f6x0r+V0t8zdrp6hbR75ZEYIKErFnME/A4uBW5+hr2d065aBM1Fl1LSfr+Vs0KnAbWH/SF2mfYOTwDGX3UuVsELKwtNyjPLFXv0uJnD/QS6JD77zq3zyePYuKiGHSwLs6BGoDRq0zlXqYFkGEwB421ILHCC7nlZEauacmgI7AKX7qI8lCcQK1iQTa9UMU2fIQGvp+6eYGvF/dnRE0EmsYaFUKPxqXhFeNWMWJbZ14jnMdgxQAbvgvfCIWIF/0GC4tZUYN/2bp+BMBiIJtpVFuJJ9gU3qUlCFV4Rod7ooaxWjwTvYmI8LhPrQCUF0h2Wt4oUuFLhOcVFQd35oYb3xCnvYudr80O5UQL6JJifIRcp9akshjkxe2ag7QveCsVEUUyFNQvcqRdmm9Xb9YApHREkGAnwbA4rqw7fPUNzLU+Q/IdkfnD+6FFbNiASqIBjv2CPlrKsUpb14DZyomu/DkNtiiK8aGzJ/4TYSjGbUEUPyteVWgxQkiAkH5ElEF6Jcv7XnC0QS8J5MwcPljZcPa4Jh4ItZW4YMvMbEXJriDpHCYwDJ/AQJhDk8/8iod2XS4CxDJi3lyDqDDnJLvcmBHhF9V6WLdM8dPzxj6fgm/M+O3OiCHdqR5eythJ/bfbYy0HQ6e5c/we6h3htssb5ts2QCyIGtp55n3EEzZu38+losuIeEnTMUvnL4RoWQKDzowLyh/QxVAKjcDyygnVu7MNIOX37d/Y23gamlFdLG5iFEZeNGwGFjYsq41TYHeHxVmY5Kl/Wr7fiv1klyHpPz3Ty1CSbKnGUjBt9IGkHoelLZ0vHVsBmenhdp7xxL2g/3P7ExR/wyjv5J5zrLK3R0wMqdM38fwe1lt6hMLY8HNhx0JQ347B/coNnI5OWAtzkT07Enrisdh+z/vgd9QBXHd6aodm3MwqGZTa1KImF3whOixzAAoddFSzRGXeHZjaJYoWgVVQn1xWBx6e8j6lFKhWBR6Rsm8WDxXAc1cwQcN+POG26Rvhui+xQskmSgBwgx+n8QczbmyX8shpWV5a1b6iLHXNPL9T/spbFDXF6K0sN640uusGtEeEJcrRHjKXc+UDoMbUYJQwBtW2kbYGgFulB1AAulRCzv9bihOMOxP4F42zmEerFRKVYoVrdUsqms1FEUMFqm+NLB/wlW+oIuOPxtX7Xc0uxDhd8czVtpAFceKjy9g3AGqx3NccU2pG33n9k36YUe7E2potEk7l8Uev2rs78c3z2kIZFCNxis5s+4iXHQAHNKTkyZMtV1pZWvA0Gmqjbzb3YuMurN5VJvrY0laabthvIaW/VA32ct012TAgqc+5tBi2YNmFS+efk0ELe60iSZ24YBBzmNfz1xzGHd8z9zypLOAQg8uFywBchklC+/FwZTiT7UtCfC3la00YzAsRAKkxVowNDAb+/1FSOT4cZ4aTQAgqmKPaCDiFSoVds57g6JKtoWlxZj6cs4FjLMKYOTTs5dRbfPLO1rTJRxm97OJ82zoLdSIPEG9Of/tRuIqfaPYEN6Y12bG2rKRtn3+QmM/HcfgJJ/jD1/l1NroeEqrGJRRotoDCtxM13J57eOR9i7oViaybTa2UokcDedZffzlnTDIWPLHjyjOuDaTdwDzHojTOu88fWWfavFQPNW1e/Jv+pTUg1+kbpjCAO/OeCmLffvmSiu5iqYykTb5VCUnVKaGlgtNoQTuK8R0pE2NwJUMYabDA7aXT6Ni7GhQzCKD7+8JCxTp25+LwxB8ttDHvBtIxOudTVdiUpFPslwcih7B1yl1VQXzZzE3+AShzjUjmairzclSHOh58c1JeS3WMdRUzJ/QwYr0x46mrZIMfxmspO1xTJaAOtdwaKoB7fZm7ZEZBg/gPnnYUfwGGXe+8UNbrtbcHjPleKLUycBF2d3SdVAyKu9W8G3aAodmItmhxEJBQV+JUa4oBNct2SfbEu0ZCv9Ewsk+QxBe+XnlS62hUAMqP2iLj4GoYVgGXStKwOOHkOxuWaWD3nkrcQRRn3dJiggo/EQOh18g9A+5WCOuhiuGoaD/wYp91inCYganKQtxnN8neLC5xrDsW5blT+ZOez9qzAMGZkwNW9r4qW8TpblzjILPqatd6ZUcttrkdkM4TPza5+P+/9QJl3bxQZBQJje5g1uEmcJx1ZVitkaHTqN5bzVdvfuwzvq9wrMwaiDWoKZrLWM1Y7Ufrnn3XWhm0AvN/opStgqZxsuBh/W9IzxS+RgGHnzcfpOj84F1RsjxuqLR4EGPgGFUrVjurNRhFyUQSyZpXLpR7+XWHlNWhMtohDqqP/3pEyZZvtUXF82aTXQgNntcDlQ7ENeurKVCFg/6hWeLZ3fsR9wgC2fLvG0lZudgFmyF1DiH5o81oDcKhvDNBmujb4uvCEUWDwOYWKp1vrjz9LOJtBmybaKOxz+pBpovTWSIpp+EVYeUBajp7DGAHtYS08Zu39VUlrCXtyJKHESEUCeL5zNyQc8FIlZAQ21TbGTSkqiIuJKJ7Tku+XZZw0T94Ot8/UTRJL1XKBe6LwjqQezjY/hSddwxiu/8mxC153PgbKHM6FEDZIPqiG99G9ZHV7xvQGUDn6Opjv7etBTBzw66k9xHkI4SEfOy1tIywrLecNYL22R7OfptvyqMEPOBt8N/HrUkgaZ7XT1uVDSMTsdE61KfWRd4s3lJOyfWj1B1kt1QNwcb6xiQxmLH8hbQgH0k0Me3Po1KiOR6dgpPMoRpD7ZVceygeSkzGXJ7SkiKnafbDLzcthGA17/hffv+OEeUnu2FLgp3eeDwzlCNzSmeP3r5XMQqTwQVzrNv/BVJpfW6H8xxtCFH+tE+fTDG9XPdtO4PdEhqVbpyiyZ9jeEqBr/x6uFGTDz1HsvyKOSQtIJpIl4wnERTYyaPUituET3Mw8kzYlaOHAa/lTxftwX6ERTvRZpTKJ7odFaxFs9eDe4pFN41p3D/I92jFCYwlYZpXTRZ49ry02ZpZQxpVNPx/5jIzu5tx2M0ylp4VsPFNKmkcCN8w1YXIAXHDKU4PwFY/mh5hSGTBQg82Zwsi/FOJ8dwe9fBnoRunN1KIYN8jWsTqU4w7C/TXqXPBOaEggd+bFhyPxq7f9+mI2Z9OC/KjdFNMvw8Rvn1d3/E8NJzpgVoBA7CPxnJPmYCsohS3oPCA21LFochTFzon4hOvVQebfJGEGfmPSCJwoSLO/chIGpj97l2WKccfaOyOq1IOQpwTzbrAfRdXawRtppFFpaRfhaq7Tf4Z8p+wC5/Mnx10aYjB5mAE9oudghd/lW5ZcEHt7oMecjGMmNnAj75cWXygTaKmCqe0h5u5w721+1tWSX3FjYjzoMDGz4f1LNH7k/OSm7CtSxPmTrzsYDuAxrcVPDKT5XuWfPtHjsA1MvYyvBE3SNCPb11ETQejA18Wvwlj/WwL7aG7ry1mYPuag60sRiasL8PuBXqNGzMlb0/m9EkTkR1LWwWbMc917OD8zeAkAwywEsjiakrX9tRvBL5BLHrSo0wIr+XqV6DPCxTr+LEnPmrFwhMZgjb9y9xR/nDnvwwwmGqEzDU7sSrgxpLo7wDFXswx7IV4l75wJpspHBE+bEgHzCIBBQUfP+oBwtYw9nnec6GtCW0clI5Inwb2h0t7htQ+xkRsseL1gfvQvZGQd8OEvx6UsnItMkYIKmU65zNL9kCxp1VgHedqFblNgj0VcCk9gjVQRp/f2mMn1DrxxxoetNKUcEta6bhuNjB8CtegZI8opapEuaTaq27TaQzLoTqvLJ0zmaFdk2DDmKbjqB3LfqPTqoI+RSFd5LD+MUYG/w8DBO82h73y7e/O5kzmg0huMJgjH8V90lZy4xiz0IQSWQCItWnuRPagQ4hIcayqPm+AjEJdadOUQPwh0/YCyikSxU35gHN51pdApdMn0r4o4o4XO8uj0dyDpIb/+VnWnDAOFw2TGrrsB8pNXEs1Ohe/Cg3GkJyPHS7hdpYAhOHR5Nf6/WbyfEWeHEETbRRggHa+gnhDdAkNVhm0HBiMkZFcNzZrLT5t1HiK5ctjda2qapa4pA7118klPRa41LBQL0cgV7NTD/hLUJd1hfNwzmJe+q7oesQId7VWT0gCugIEYt3PBfTtGwP+Vrh8xkhci76LF1G/xLpqhoCxFIPf1MjWdyOn9bpI9/B+RdAQf895C2sJ9cp1k5PoJQ7ZSGrWEm62ex1vurwC1yhtJJkyiVlNb8buMwHqbe08nJ3tNXE+6I2PqImQM0GsWNExO2deNIHUL+cpLFDQyoj9utWlU0I23sap5DIWD3SdTJuux5CE2r88eJINq2bu9peOEWR2fmcI1LJNA26s3oKBN7rq/hFTGgnF9FXzcHb0lF2e6HmMcysSk1qjBF14u1Sp5CnlDGZdE5SuFtEkJGqCMxZrJ/Kd5mG02TNh38R0BkO3oxbbbZKOyRABKbaIrl0DQ/MdpSSIbGiPh8zY5EI2r0/YgR45Oo+h7iKUAvbUeqk0vdzW28qqC3Fd1+plFFNUvfQK4JnbFHwLW/MaPenf8LMy3YNrK3xm3ksChRISfVSwhSqoIVDSOaqwvvMg7IUpwoSvlBr7xUKi3WerB+uKUYbc8ul29Fi+fbyrT47NX/xsdj7oUVb4nf55FKV/WhAjPehVV//n1Sp85zI73mxaWkdJ8efJPiTKi3nGT+ZVvDTlL0dpoxiaYCyrUe/Hk1T8mS0csNplAbIi0gkJ+NoUBenirsSudbwMsdcqNTcyntq3jRBxbulddqr18HbLtoIH80txbb3cF94i01dxcSCjc9mhO0qsxz+m1skV0xzC6ow/4p2FOHSIF5yiVv3ORbHEn0kzO6xX9DmNPmGBM6AFSSgedtF/8YuyLyQgXQ7Z1GOmDqkyAI7uG27dpHrFVdecG44JNy1I6AGZ5Fu9W7zf42cs1uXozt7tUzyOSmtCXLhUmUYaIGzGmaHkHtMQrO3f3x36uCxqdSfN08MBKkKPEzUhIvd4E7XZrS354epmMuVuLO62nstCRDYybLcxyEFafifkitChkj/BV6z/idt46+MEMl18muUmiYZjjeq4kKXuDWpTYDQLq4/2KfiwoiHixX5Rw8aqREPneExfU4NZ/qxvNBOcsQe5yqohKaaL8EplREhVTDlHXv502l9/aXz+hKQXvc3qX0xe2jkHH+T7BaUBNWYvIvwURUZ7eWHdV5moIsi8nS9Jo7fwA2fOIjCuBgh26KDYjX3UE8Z/90kIGqmJWDFr0KoRgSYanGNkoCqkZ5fvbiaHkduF6I/U7eqizCISg62X7EPWiLX0Y02Z8FxINFl1mMeei12VMVTG3tvuSCRuuRj23gOv+B+MXEQs2AL2RpV7OEa+Uo8RxkC94efKMJMMgYt9sPh/a4ntndFOGnniq2ycOp3FrW/FeAuL0gQtdGWd3PqqjJn3xV540iCFPCMy5fWlqlihpYj+60B6CeBeD3PZuNOnkBTe+ZW8WOLxCvjNdY2w767C7QziUik8YtF6vQghhcpKQc541FBUGcMk1U7qmXOuOBkL6FtxHfHi/QgCOfGOjm2puKQR5Rbe3MH7w9Ef0HzV7DM5fewkBM/ttf5owt+vG3iG+lNH2bCyerXTWbuSKMdCt9LoSPT/StNx2s9clX+vrI3WdknD7kFeN5Pb3iFTn2Lr8+9XV1pxvpSX1EunaRUNCtw6P+rdfZ1v/l7YPxMi+C/9Cm+axlFNiHElkF8G9Jwi3R17hRRegEtXB9kfJ4182UIUWYZ9Ff3BUDc/Hrz2tJUK9nVyQZFlITqVUjeqA8jcy/8iLwDCjzSAFWH/mZSLOuvOW+6ELKD7YH0ckdz4RlYr8gZC1fWD7L2wKZz7+ahkHnLucLyH7iWGsJ3a8frmuySwgVvzznSfi3vzUyj4/NLnQaUuEG/LV8gwG2cRaVLNM/zl1B8tF53oduiVFoEKu1zpZV/01vmodksFgAXHl/TN6QnS8qu7TjaAiqmaT814YYOijEVs3iys6gt8rV4454o3wq128VFcLDR30lYMufM4d4MPuomx/2L30MU7vIULanal4PE8h6Y7zkzz5BIKf/7XFximUJGyUJtoCHLMsOkKgbiTuknKKGlBqB2m7iFaJfuLRH60GyGfXgPd5RyEM9bQ4nYxp1DpbwtoQfJZGh9CUiWEaqrDPgJ2Ja/bgWrnnkPI92yQv0pRF151RU2yXgXT6oEYHnd7CvHOF7kYqLBeAC9v28o+FuZejvSvOAz3sBRgiyWMvkM8ohEY5db6Wxf7nAaDdzuEit/p+gT/7b9bMXm5ReNzQbH88yVjzTbqk5DNNCpiq8KgRG7jEOo9whrZN8PJ0NyesXN0/6bShf7iTGLyvKtZDzefxw73JfB2pJe81a38/01TGXE4O2Izy9FuaxwQGgRGvYekzjPX6+CA939rwZC6L00W0pQQLBjefbuSLmYGhm49wGtAP8SHBPs6BifCSHDGnutGvn/op0MXpEiLqGib0NNDYRsA1X79CXPKCGJPBjU3jxEdtN+t7Bzifzztvi4ptyyxHO7mFWQyf2PnDZTwQiieVHP28FdInioz7JKtmY5+O42CUbJc21D2GeabJYqJAV0r6gT52QVe5yL25B6LSSEV0EkcRaXHOX3no7LC0yecq+9hDjs8Lu4ZD6ya0uKqFhps9V4KghWHEHAZEuSBMOBKgmEpDNznQv9052+jYe1MGwR50PSNx5hGmTgmqVtBF1bhj3GC0wzr6I47srqsIja8xN04JwPK8XLQSY+b/SOenkpt4yOsq5IhHWo2lmJGLLCaB6iE1X9KRSZcp60mCCJA7mV/HD8R9fjv0hHdx0GADPQ1I2gA8sayBjaQHCIcqOkWD25WAT7Igoiv1Fs+1iczqmm9cNk5ysFMw0AlBNRIh8nNLADfNKxZoZiCZ8pybQ9GY6QWedOZK7kq+QoNiMNEPYaMEYaauU0+GDU7VQuF1cAr7Xlo1/Mm1C9K3ymrl7YBeC+VhNDK/X1G2TS+n25MBLoZUbTR1nY+6p4GQb4Ttn5QZUAlBajKRpJBlbW0GSnDE2xXTyqn9Ph/7qTkasuI0owEZGCLco6RPMCXTMDPIOsMZoaBHOhOu9rXoHFaPzLNViu55G/TnUxGR/uRSXRnK+RKAiRdOJopNA4qgztXAOV4Lrb9ceg1C9sqytQRg7iylkcHeASkvqVPW5Ypwi9wxJNd0hdCFUDNREcQVfXUtnplcK8+xZb1dcFQAGC+s3qHMjWL1nolRyDKMFGIuR2QmFwI/15y8q4f1eU86qC/upoAsfeOl7mUsBy2x4j/gE18L9lHsMefBhEAcJaaDilamdNmPv3nLhQPwl4YX9/oeG9XkVl2BtWVhhzucMZrVyHIgDd0IUuvEueKKpQpQSO33ZBO5CHMZL4uaxeObQEu+Dbv4Q9+ETMxXrXxwpxYMCxZ6fvliYio2DHtkGSJCbCl88XEN5CbevQ2u2MxX8aNBpBms855ZxxfLtIdM+z87//C4kkwcrmN+3s2r8zzAZkregpZk+CGBYPTxkBHB2JLqcj7jjLBYziqy9tyqUaZeiIYEyskKy4Jp8AnsoTI7r/i6KF7ka3yXWdSVFbJrKPnVwLmkE+ZePergkpqu0IaLs5KAmmWrJt+wGBoZMfHVdrx8PfkFprKMS4XRx1pivxI3e/69OZoFRqjeisN2rU0C+g/avAC96y6EVORuiqyHSKqnVbLPnXoGvrYvobZEVw+3iZUX8TQ6PTz5qRf9kz3C9xoLtZiU51amulbkZqgsiESUOxvjm5nW6PlESoPUS1z3FOG16qya/6y2NbQas4dWzPGLE1Jo05EeQc7/69oEqgknQinc0/FGPdnJF3EF8G9+yVmozwwg6N0lEse5yB5VqFHChYswhhYf6n8hYcB7EiqZxgyv36Ea7YqCtKOEHdVaDgXJqRzWzL6013AsdLkDCxy6jBdcCeJYHb/d3FoPfpIjEg/cMIkm/bLKEwob5t5aENJ9tiC5OmbME2BEtBVgDdrJub0g+2T0V1WVUVO2FghMrttvK46EydJTXoZwvVZcNaZkN9T0fFIHy/iAziT5tPWGjp3tNbGhTPQlFlMKcGozIt8kHJL6ArQKmYCoXylEZroXsC2MDXiqnb9W5c4OQ4QEUbdtQX0pivjdwb9IGb0SdIlYLjTsSKD18vHLBFvE87kAVnNUKxSFp3aIUydQJn4IWWJpgLV0ltx+iUQl/Z7oOx7GekwuyxyGrZyNMOvrLcdPW3LP0RVdOr359A2xiAtGPL7cMbOtFmzz+EGBDrQjBH+hPBbHsO2K1kHYBXmm6HTtkMwMlA2Od91HJVjrR8UdmzKB/Q5iXBgfnf7OUikd/Qrqz0M/yvK/njf37okAX003a39AcsYbCTcWo7hs0bpTTP1KjjX1qlBQKBpCLkdhFLlJ34uqRCrix8LMcoI4v9uYVqMnNtlHs/GsxvqJE1yyRZwBPW59Thwwem1UrYZIHipFtTKzt+g8hJwZ1/ArS1XK5dMRBDevYpsAuuhpu7BCqajTVeUw61M1sN6WeWi9YZIwudghJBIFY1YTfvZgrKwIhqdPjfv3EymqT0h0RyuAm9NQWb8oQSmOryBwXImo8IUNMe1aZcDxVndwIGRMm9p/YzaCGi4wWfg1RHoMg6DaiWhPwAgBc0LQsCR6if+oqZF3b6dRHHefqvKA7rwReu71mjoaJqKlhrhaGtH0e/ul/kxsULZpEUH9VEtzXkNvJleRwYGN9vVEfGzurtITi3xLT/o82QSz6h1kIp4aIacG0PjpyJdEHGPP+vJj8zbFqSZaJL4yg8p0YBZeyvyAYJXMnmV0Px1SvDOTNMdicPZMB7cZZum40MYiiKc44mz/WEeZ2ra5YJOa+oG1Qih/r2YGvCyuTIcUoi4i4IEWfLfM/vFx+oS8A5IuOhW2oO3uHr8uT0y0sQ2y4PpHv5yOCc0gmsH+MKv3ZVg4tAIkn3bahhiiaBKQkNur0QCmNijgR12ysBM3gdewVptT71EUeCVDiEXUmFmQH7BMhfLJR+gP889zJgudW3sREUGHL+VNlLNKa3ikcn/hCAWR27FIxkByxnMT09DquvTDRqqtSxrP4I1rgJTMIVtEOAstSjthMKsuDx1/QhZTz4+7rxuZX48aiQTBHi1XBFbwnQkFcY1/N9p3tE/iW3Uq6lofDLpq9nXrjWYRjwJn60i5ZRC+TwdVdt44tN3VZinS0W3eWGVU8U5NSvF6JyizoSzrtWwyF8GtOxRedhF5GJcy6LlJ4x/BCwPAuqDY5og/KDX7ocPfPbGXaZzZPBhbm5LHpW8ipXoCDBOQXvJ0OqUesSD1FAWKEoVpmINx3Ov5sp9i5CbXCUPEZh8WYRsG9DiXHDQWRja4LfyFgKdzTB6cOqpYKmkbE1A27zptPyX/npA5ZyqtFpiw/0TeLXLS975R4rl91hegMtzxO1w/vL2subjTdNnu07YJkjtkT4JBQT8I61RwyMKgg/wyu9FECcm/6Q8fRY1B8KpecCP9Zsf8N7Nbhw2a80vjaNFfmFuwinAYiOIfTwlXYZ7jUA40zRcczk3WJ8aQlP2+huXh8Nv5NQL36OMuIiX6+IrR84eqC+hFCDaD0iciFLyB78mJZRNfCtiBMcA1VhQLQQv8oXdL3ReugCWYRnZw4NVc+xKF4SBnE1tkyGTHeuB2Qrlnif2XNweY9ysQLj4QscgnPuYa0JMYKfu3x04T4I0LRW/SpWYaFqEnvrxza7ryz/H90P23h4CXpDtRwcDTej/K2BegL8Lx1SY0AEjcVwLYFsEwpz8dRof5R57uotFiNOHGah07oDhJPTi2Mrfl6RKb3aLrmY2pC4D7Aqa06qzubd3HNoiEdzAiYKalwtDYcbIfMD548PRMwh59GCC+VQYNaR7++y8/lrJklN+rkbF7aSIY/c0hPRoSCUhOEXclek7LbTfsgcyo7NqW1HbyGbHIYhAy37gsT6uWo75UEeQvBTCBj34N9vCx5nGT937WB1kaH0J5Rmb3z0uH5iEc5JQiao0gg18ZvzM1F07Uc8lFvRpCPSriQRdW+UwEwlRXfeQx0bmZunIK7qXh+fCmombIspsS32fU8/186ucPSst0D/NQIoMdJyEiEmwMViIYFOd8TY4mLM5wB4Txl77Iyp8g7Oqjy2C0/7YCcplFaDqrzylX23u/UquK7p6DCvFbum5zrkQvBVAcIawIJ6sfEni6OdKwRoWzTZcGhW7e42b7hoj3NtSHHXI98RKSRO30W737FvuG6U7ZIT058zpfVL1rfGAHo6ep69QvWEwQbdlbeGwttjeiC20wDjXg0w/7at5KHdMhl9o0TSum+y9NQQIe5z0l2dlWF+osUs8CzkaBetfbTczey6y6qH2AeAgQDUvtes8Bpkoftd3wDxojidLenoOuF/xBjXedbLTwHFQMaK+eq4Zozi0S839FuK4KzWv2iXndHnvNoacWaiaH4B7jE7f8raj65iWOyZRzUq4DGPkIu5g3FxGx/ar7oYw2kpKfR9pKYc1CXFFJarqedE1ysuroRfgNUMvuILpvgru1eDaMtQFxLUkj1AGB+j6kGeAUs0Zkhp7n4rhajMXKZqlRX9ZDT3Vd0Cvo7aVU4XQ+hNJ8Ew7uUYVhHglqx+qNdk9zVvZvDgOnTUBpgf/PxnWSSGr0EuYVAnlg1Ew3skDHhBNT3NiMkl+VcfsLpHYkSew1L/aKTy14k5cQZ2PenN2LpFHuxDHz4dghHI8uS3deI1ajWxLB0qDhCTZc22H3gFKleZIClpooj4l0zSNBere0iOOsvGXDR6RzPtnQOuPkr2iPCY8+vwesF+SpycvFX4Ae953lSr36yU3qlFI/A9ph1PmrTBJaj3gU8D/WnnQ0OVtT5nu4K6ghqmr9JL7t3n/BrH7WoI4IvxpnScBz1WNyIB5HFB0IvWtSm9GXm3Jf6w9qw9QtJLmVFhRRGtgH1i0f6/auICrZT0soNRBx0pKFzFlNnw478sThsEKY7cFgrzvPs82qED5vB/Z58ZHG3HQSyycSS2yrsGxAKeu18EEW2Y0Nzv2hJu8xhP8azNj7/1prHrRSioPu/cfBhM0wjMPF5H5uqleias7EqmKUgYid3rK7mD4Wrh6CRTkxrSasG974OFyn+5RSWPRBn3LJNQqDH164zRYH0MbMWCnrNUi9DdIClksidM9NmNDoeHbIoq57zgF+Vo5L8nZs7LqzlLMgJu0w1w5PBUy0KdOHfwiUJzg8AIC0b0bi5Frr4vX7EmiAo7AgkGBMkUmVBoZ0NWsHX0RPQSmeM7F6FnkzoKsuFH8T9l86j0kuNKNRt9Y1QORHA1qFjpuiwUgnY1+QD6+uozUi9HbfAbZ8PvgjNxcxl5gx7J5l9iGrWL14sJQtNFJpfymqzEeCFnQjAgpEOJ2Fg/rmYe/OXpaJejwXY2iVV7AqGzAK2cy0j3TjZ9L3BLFPr/C+JqsEw/qnO8ivfw9lyaBzaQGIE0DaCEghy0hj6FOPiMHP3q930EToBhOE1IQOdQxBqvGFUcYES+y2Pv3q7DAL4LzarQzR2ojekAuGz+fTlzlcph7qO8VvrshMdjPdJv5HlM9hhu0rfvL/XsyaUM03RPabRFtcLkSTpT6J6WeKWWYBPfm5Mgm/ECtXF6D6n1sVMd2HEdsy3YrAqeg2uXHsXewg2hfqrCENwHWBNOF4gh47kYUiruEZU+LnJvQ8ysjkNTEuoZJM5vMdapwn/WmMTjnLcDkkenMUM1bT5SHzQCzIkl0XULlgiBtRG9z2q88OK5rBG4WpKTL4HYSkBcgu6vDWn6/Z6ynsKEyFcIq2jtISNlYzGUedhxG43InXUoBvlzed0MGdlPx7tGzid89rLM0WkcsinolkSCIsHD4YJd9tNnJZokkVHZHE/o3fHYpNZDdqPIMFD2BPNyjFm7Ykcf4LrUmMwy8GkbLbjMzDh5QHOe2d2SMibbBuDPhJYKuAPKmOu43eeo6RmEACrk2E/xnlq7JsqXPMBgESO6CeXBvgmnnK2Yu6IarcQ/TOu/aDVpJ1Rle9uqARtUQmPVLm0PdvOsg+r6NqJNW/YLrw2F2F76toxBmtO04r3B3R2RWZLJRSwLGQmUi91p0huAu3DCzDAyADTPPHakaKIBEidN6hVIga6GZGX/sekwi0dERcP+uTs3n/6lySvGnS0RdO07aLFicVJGXU9ibLx5XHAef9uicaVyHCsFPC4gJa3kW9Oe5U4FJEG1gSfyMvaogQsjyVQ5VNsvQBkM2muu3TIA0vR8KJZ6+zH2MJXJThqx1HL/jsOfM2gxtfFXW0QFQR37YiTP92eidvvAWi2rwwYqwBUcvfv7I1CUJtUUjYyKS9vvGzAf98uyIiZopLu3YUEEsidaQVoxt0N9/eT+aPDDcdg3V7UBF1rhEU6YZry4L11ioaOETUcWbOfwpy+xKN9Fbqg2CuXox32D+mKJYZbDuZJQe3OHZbPmYCSi9eOh57ByFisFQ1bTbjdsvDPXQN4MhNhlV16xFigppQpV7qoPH/KpC5FWKo6Hv1H/SmXjFrf286YmcU8B/txypQXrhfBJQk46Cpv6S34LQKOBG932ZvYF3oDWfI2LbE0r8J5sIK1Pr8LlfOLacr75kby+U1xY725Mop5tTjv2Ym9wNCFSuy6VVXvOifRlqWu+7IR24cItUQnXikup/Rp8PlNIUcqqZCTw0YkVgv6wPRkDHKZFaCIYLoQcQHjODn4p5a2XjpfZ++6nrxjmhVKWbhnhkGyp8c0vh8dwAExZFvkpNjCZ5AgzzJMX0FEojpbQfdObQ96QuRNNLW1upV6DDcmlhG9Vlg/8+0p/k7zmL+ieYsPiMypDXfXkembPLSn9hjgd4zmk67lewDVYEwYwSLfJPHjcC4CqK/hsQkwYSRiyMP5+iQB+3hImVxpOXZmUEiN0VwaNUdEYgEEFHGr+YcN4o1N2wZaLc3N957xWIUfo7PzfzKGkssf4HBewSDZm4Ku37fGTQdhfQyBlnk4MTVPZr0yOkQNmfgbX+anUrBATbKJ8p7+PXOUIJWWB1k6NBelhJ1sqrdKiL7R7HgqbWsrxaW0nzjUs5kS9OBl5BdyScsFZfEvmDHKZEhE4kzbCakAE5X+rov/wDuSkSL/2Coc/HmHiFFxXoJNXIpbEZSCXuDf7bVOAdfQZrFomAERgr3FmXZxfI+HL+Cf1XXMKYnmYfEz2+H+QZd4ht/a6qkZu1EDCg1wAFYrgkYMSoYSGqEflX+ZJMupjE7RuNvUA3jMeaqynFQxM4Rsi3aQX7dQCa+9Z9wKgEp2iOxOO9MfuXfHe7OJ8CBBIsQcFJp8fuHJOssE/0WhEPF7aokD5Hz+VdzSuDBQNXkIJdkeQnA55m6HAAUeUSBNABqsXty6ZlfFNMt+ikC1NUSpsrFc4hVeSB/8hzOwL1qtEsK3t332BWuePxw6PhEuP/1pQ3+SbNRU43w00hkzh1UT5k+hCbeCvrJiT/l8ziuaZhQ5cPtgidCMyBEhoeXMin9KAdRhJfCfhrnv7X9Qmf6Oltqc2Pupu4UuBKKFXdPP4UQDrrQuY2ihhkrrpCs1JHt+AjfB6i6fVPdiE3kwlSqJ9BpHE171NHbVHHkX/KTFOwUwb4pr6tpQ+wgfeV7nw7MHAF6LMv3iSEtAZHHrV6dbjJhB9npxkJAV82T4RlXzWnRg0QuLtzZyGH0qGdjuMvqKBmglvwJwEV61Cbl8dE58BrhoKaVHHdaxWpQFsTsrXfgGK3R3kVb9KlWB4e41S1I7/x+gZt2zHN3VtKbykSc6KY87X1jZO10Nehixbtp/UN722aeX0ctCW4QIWMHAOKux7xOI5AcdclWYKgYvuw2wA7Re07FB98E8u3+WhwiC0eMOyKBO48gwsI8FWVKwQmgG/bhhIzGlRb1maa/l4hz/MBANmTRf1QcCjeyCgelQgrYQpQVsrjCgVm+L+/lObP0LfvLSCibCwBFgwgVMcZfxZBkbsIzxo32ujBdNB46VC5voASMcrtM1b8bX316QaqWIZQ8rOlXfq3/VGgevWwU1iCwcfmtRvNHu/KRQtpC4Av1NugttX8FzFDB0NnnBsnUvkxj5/CJEJfyJAk/ucfhs5pVUbMjWJJQ5VZm1ebcAa/XwTfJKvTr3Gq95Ve5I/SokKfwXVBQwmrrrVunRtdpHIKACi3xA5Ry86heRtyuQkJdWGHK5xdcVKS+0KqG9KjdbmAAlOp/FmaV+ivntv0QQWAQ81eAQenLrXFALzIj7hNJP6smWG6zKQ5vb85y81k9Y/IQ1b3aE3FtJfKaTCLjlZAGdT8k82QeEX/dlI1TR1ozGmCMBJA0AwCDrnbregWQlpox37yF5RWTAUTe2Ab3NCfH58j5e8yckBrjfSrmgor4MvDeXGJa9fNnEOh4mqZ121DH092m5NdFrOWkVzZ+YouNw3aA3NOfIsIB/AcBtO+BnRA8d0qJXY+mPe6M4kaPFuz9fAjRKHLHAtGy1VRpNV7dwRc7Go1USph+7pp+5pvkBrEAvnO8wg+uBm0pcApih8rNXTX4w8Irl4GWkQJncIMPbKV/e+dUBb7RBB03KJPNYY9qR3nmVAqjf6//cn/kiqXc45xNPelV8wdIcSC6jZcz5lMPuzhdLQ9I15KkA/2Hm4PX2tL+uP09GizbUwBILcG8kalUPHmjbMA2keVRbf7mRcwSrbS6s+bd5QIqrdfCKFQqCc65IjoWta0tbRg7RTzMYQ2J7hOqtxqWf8js4zBnLlRF0vL5yxABxDxGiXAhB4v8w1K0V87lz1tvJ7DolXUGDqflJe957W+8tUwFSLM3ONsSizpnumWUIGoRMuunbnXEUMmDtgkaskwKdmKTf9U+flb/VvwoRZHM5unEzlxI6ecwGduLDA5QuGq8ZE/0LaCXdlKBmEk8tqUxoiEyCnGCv/XG2MCWoPyeypVtpcO6jbBmhXRBthMbrI6ZuSahBBNWhC3jVMM/nYCp2gegti71AebKcJO5CXZMDZgOPHuzjhBgtTmh7XtNzboD+k1mZTr+viVpRShQNFq8XJ0joeST97fsUHSXy5DjMO4fBo3aJR2YVYL68eqxJEiQNHrvTSp9P2YirkBeMnutEBOjc4kQk7QodnG2chelz2Cyj13ccDR3YY3woq2ITR62yIMLp9h6fIzmKg9XajbmjJpeEzk/5eYNFzzRMp6oKNuB/TFOBnMM6Ys5ZRVKzTvDdUbikOj9JbCcmIs85uCDh9OUjqaqPxpklKfTJHBDuqs02U08X6XiAa5L+Sr4/lVETBD+7r/AQSAHh+A2r0/hbFkYLqKi7pkt3McAq9pGX8IsHamxI9U7AEU0NiJ7Cq6Fmp8wnSmFg7I6oZxsVThzHOAOjOlguiMZR1r6XJoc67IQh+iuLiECnu3BUFUUxp7/GgRGDqnCiukXZ5ho/i4jmZOU5bzBQGB0qlGENKGMMpJ7GIEGUmEnXMaddf0aNfk2zWXJKwubkNsP5o673pYM4mszfj2tdlMm8iPjdXWBAe3eQioSIm1sxKgWr1CFactUrTS7pYsFV/iWk255Bj98SjU2bW87aMTav0FT2HLS2a9SJDINfqgvwqi7LvnslNFoUbklO1xZGCMMyxPffLLkiWwbGoHweju0qJmRSv282SmdG0SMPySTt6P9pnWRhPjy+A3ohLBLnt4Ek18Z1a1S7Tns75DVwbE6XS+C2MCz8otd084/YCWXBFnts9SflQiZ06nZOWvmgpKuG+ykn3EphQBKoy0oadeuhd66InqopCTlTul7Ve4sp2roJJw7a5r7iZI7i4Dzb39UjCE35XyyNYDg0Juwk1OWykM8zrWY85e2YojijflmPTbegNekaJnD2/4QzysDrON72T5Q9a08SDhzyVEEnkyCVHAZq+Z7Fw2Cz7pAhE3NFQpCrQBVRCNoi8Q07CzGghcmOabZ95Yf50ET6WVyt+2oo7EothSRESlx5M1E+uSkaK0TWK59RywRC1vxwqoIR5t7vyyb3VP1hshbfCJXcqVjaq6JKjDstSEPwV0hbbDBaex7uQeTZubXu3z65dQgzr7ZNzFPplSm8HxGpd1US8FVBTG4/6XZ0NkwVifJLL93R1JDLo8Y7O69IsWKJ3USnjqwewd8IRAWr2n2uaC/tXYmg/boa9mfS9aERBByZOXjR2VQ4nB380ayO6rETPsyrZKuxppQJ05L9qfrBB+ut5iHp3I6IyKXBJaSlZISfbu5GhS8c72SaAXhyP790/M9ODzuHZEy0k9FJX7l76TTV4lNRLP9E2NliiyStY9m+YR6nydg=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oFQHyZp4ecBSLfyf7p5WQwaULQapoemXmvm0e/uQ5oyfrrldlqbWZh1YIn1dI7+9beRDKTUiwf/jqF8YPaPFMRNuMXDoPGgKHhdh3pqdOpwyQfdf3+oZUUm1dBAPvKhRe1rWeZ/qAyLeFaVxspm4gNSJnMX8WKSB+wnkw4u4VbQegkHC3sud4wflfPj3zbAyFVXoavSQoevzWtUObnO0AFGBTpDBhFIWcQFDdZcj6L4cYfA5i0IH6DwxDOe91K5uFbOQE6E9vwU/Gue89YKlj7Ze9toF1Ih6GuYJUG6pUxs4GxP7icgn7BmWtpGCjZ0ptppPo2nj9WvEJncE1sfJeSym1hVKxMLOoRx9+tlm67S8ipBceuGmxZCJZgwJsyAhA85xxJaQn9qzpMGyZeo7tikhpvN6Wl7kx0ezfsyzhus45nqQYcFzaxWstLRJye0IBE5zXJ2zfN8Q1eEESr4emUyFpFRZrFKJWrroKIqfqkOx1gJpqLb64wUcQc8M07eKjWPrhe+75GmzxT6qxJuiSKiOH0CC4Sz0q+T6lmqmUtXz5fSnYXO9pHC4OpYCwsC/tkXpSX3dTnTTdHNN7iMkrSOm1MSDXWgHUSmQeOz8JsP9L/BcadxAR+T/n8kR+bmAXaiqtPNDdtI0TmsIOaHC+TlVnsRt9I08gzP+TM2xIbLBDaDAM6w1QB0czp1u2CsCBfG+mjtBaW41QUw7uSNZOmNFahbtL93z34xAMUA7yOWeo1sYvmqfZbK5Mf6QgQj9tFpY3vN2Joz5X7k7namVYAGDNdSpVZIkxmpkClIk+rVDwQ9OWpMl3fkHXByoGxOU9xlIjvsEWasQiA/rrnRynoiOCVC2n7dKaLAHAqQaJgYfEzIMvF/ncxbo/wAGEci9ItLTpY1k2zMhEfK4SXBJgx9U/emrj5IXVhv2CUzHoxalszTDt9ScIsqFhry9LAFoUvfApyB+pg6MbPztmKCrx0kA6tPqWZcKEJNI6HQ45gfgjtTAl/X8ERFrLL7HBHPNP9b9dCPtbRpDvKVKh73lo91Ikf59VZDfSO0iykUEgxlt5fC2sTvAabmtF2rHR3XK7LXscnTGqWRxzDp0WgiZ61pp7OoDC2S42muxuIZhOlHr2bEYPYDGizpF7xthgOfE7usIvAJBUQR/MoJKdcs/ec71JedoEB9xwJLLoD7BECzV/VCBKvoQcaWMA3si1Xj1C1TOJWn0fKYok//bE+CV5b6Kt8+E+2Ks0bvcgzV3I17g7LjXpuV02e+I8YE8+rJMxOLV0Wxn+K9cgq0MpIx1yH4eEdrXdP4ki3EaQyW/r1avsw2gehv/lKtzZKVk7B7jkrPm8cXW/xL+npXW1lQhBt1uUMgCRYmrYiaxfKQtZ9fpiL++6YPoMcGL8agucdqe850FOJRgY2w1iy6Skr+B1rjpHSU9ypMBB2s4TmwDnVlm7li0IKv5Vq7rb8Twyjblv9RIZFyNw4+zlAWMa46zwdK2kq5HapMSJQZLR6T8AcLkvq8vmenaQv1Vcg856j66V2ySfsnd3CB4Lo2yi1Dn7LKUHhAKmD6b0v3Eirq3nDf+BHv57902H9w6Nj2gV8XUJk/pfEUllydRmbQ/coAs/lEIHyfRQMYV6Met0clkSXqg4w41p8TQbOJZ20OceDle6FsFe6bygSjOOZ4WG0gr3iOgockeTo5nNj6hTrG/NJmo8i6av6z5gvd4Tp+LY1ZOKdg0ArFf7NGUkSfIFnMntspQKciptfwsx3DJtHcV5nIj2SH0aCDEY8HPaV1P6+A8wuxMl9o0IbWzNaRYSJacm7e9VWFXCKVOoaW0If8wPQXsH+Lz1VnXm5KKFqWR7Fz/bM8TnB8H2T8wQC4xLd81O1VOQDoBVvZli9RwdxCg7r1aUKdA7fpk+93yYIU2ODDP4C++j5Z0NjYSmZqPg+Y9G//sEPX6OuhoHBN1shFrqCA4tL5Ug/Q8ebETB96dYQ/UrRk2LOWOENxppMBSbGmEXs8UtMFBDcLXngCOTsmD9v/LwcWAnFTucMkgCOBMe6BuLazKMUKubZeLpoLq4k6quTmh9sLWY5P4+3xy8FTMlZ2jMMlfLbY6M/6j4HgPDkNyVC+cBGGlzo3A8E+x7qOdDBw5yTc0ArWoDpTYcqw0ofODyDOPvfqLkiTnYRutdRGi96+VFMHmUozlDLNB8kaNYV8Frwv42XL3pXcCO5w3ffiW3cWxzM+3FGSAMccAuvWcDswxXbgcAU7x5jZ95THXkvcwqBQR/FaGRh0DQPkd40WGSTPXww6Ksgr8MEoIQCGAY2nJqta67PWtfVNii8gf3EyWPxYdCfhThuL/TSk6X5We95GowEjGWXq83oXVy1LN9nE1X7/iSrWpUhNye32xG10UhWdpOiYPcqaAugbnitSQe5s4yWf2rinU7V91tU5MSVVYodtF9iZuuqSAeG7UCXrNdpHomQfRd2pdaIWejqnelSkAYd2I1pj5+S90USQIEoEN8Q8ja7XTmdZHx8TxEv6Z/uxSSgYLuawjuykr0XohtRZ88TW3aSE2bEKyy0lvm4Y6NnIOQ0LxxiLocWa0DQKC+duymslE8bjstqQukoVQCFGrtrSd6FvWY69flfyAvl+MGgWlyN43YHI/RYSvp4mRNc5W0D59P81LtAdujrWvHHyIUUxoRwXJjPwUNQyBvu9CJFPBiHQyA3g2zZpggIxEw+JHmonAQ6VH8xil4ixzZpGP1//M5RlHLoU4gsWz5rHO4JtzXle7w2aj2zKPunLp+QY/joR8DyufprxmFbAFNDSk3VYtj3ipsxiPBqM9p1BJa0svZUML4QDN0lrCQ/iucwijDd81Lxhg17f8PZ0JpRNagIfTEZ7sjJXx1sf65CYlU9lytsFtaCEeiJ45T31/9veDVzI4JxfEb8wh4lGpzCRZAsmPYriNDQgGYtLJm4YqZyj3B1RDVJ9GAnKqX2KGTcFOLUeUx8mBcTZnANK0dRQlx9oilprJ2NCWWEwmgyIXXBLrXdKDtAHBK/8Gol6Yoz8lz2rUR+4wgQvVv+bY0eKcfzT/hnrp9UXbfH8mXIJtyNf7BEUO/b5bCqI1r+t5afM+JkiowqlHR+/uQl7nGX2SgKR1fW+d0X86baoeyKVqAHlTi1b2TuS45svqch8kDwV58qvY7p1lohLUuhELk70ShmAtR1+/kPkNztVHg6nJuCvCsGKPBOL6gTmgarDeOuq3B4VleE1ckG/B8lDS8VVIcPYQ2l49g0brMNmsFTncCG4xN5ihSFaLYzfySYUcDy2CUuAJJEvpwBF5NW0aKT452XE1QpoY+zeYzp0wdceFTMwDQDcr7G5/bwNSBPElDsduMJl+KzdDVWRWxMp8YrZfXhh0vhawUVUPUxDwZOY/2Ykxji2oGz9g/uBx4pmciJ5HCHorr9ti21D+Z+36k01882ranv9lLX8DeSTmJc7pQlO4n3mYDwFuqyLdCXhVnBgvVtSfFMTmyRNAVQ9Reyaqs0tlA9/BbPgGhssNTD8fkbHqrmII4DedWZNyh4TeJGxMGP7YX1PQxA5QOKYLWtaMyjIvVNykNYKfTYtOZLlAeYvUlmK5Fgfnt1w4TnKc0P4eEPQN/iyj8o3EMCKrKCY9HXUhO+pjTY1Ys8NOLvFv9O1Y0WqYYPyTJhChGJ+6zHI05FXiofsDLYLLLzqKZsQDbnB/ziprjmQLHelOIkHSI7/aSWe28UZ2JCUIFrTkBrXx1J7aSNrZe4l85vAXVg9203hQp/r3TK3rbOhM9IO5oDI87hbtuX8VC05Ae58RwfGdm0t+sZhDxVnIPWLw1HRIMsNF4UmfXRtJvmuQL5U/lgnOSO8J6RqLvHDrTUBQPHq5sjSFo9g3/0ScCjYRqMWDXD8lJRCKeu6+GcqO6EhYCm2nc6FqUFTOOJHkKuh2z7NAWHn0CmsZNSW1joQE7hxN9BL+kHWJ6f5Z78L4Nng3q+h9zk7QFlIsE37lnNJwNyUb7R7c8ypKrdHocaZPOIGwA8eysB+AKEP5S+6QDmjun5GFB2yjmKJVaFCTq0Nplsw9lLFAMXo50Cy1rU8rKgEYfQQkMoZnJrRPnh1l+aLLWwjYjZbJjblqKgU5JGUeXQO46OEqCaJJ0x9S5Cf5pkdiR/qcz3xm5XTN+fZ6x3LtTdlSy08+gFAv3wqJVjVmW4Hqqf4cmpnNhhEBKgbWAk/zuaJ3JawbVDtbsqqCotp1HyhwdQtBLMcy3qdKBA3o5nr4anAM/Kgrk96ERRB2v0lsihthMCf4Sap6BgFcUUO4uck2+X2lQ+OeDMHd6usTQhqTJmHD0BQX76TU/4yOcRemUr92YiK7jbqq3ogvsO3YC8QRW8uYh+zzAovc9FBGEQwNg3bLwVS4BdTPvDsva/fYH0WHjJwRZs9KTBOki7j0jcJV4ex/Ia1jwlgvZwcufOOiTxa2/79trPXHNQDYuMiFykChJAIEwkfIiheatDrrUPnDX8QZLy/Ov0JStaeLWMc+f241nDWTmtpo6MP3doSkfd/4SeNOAydGpfYnWsaztI3Gzheh9m+rBe+Q/xemAWU7zP2g4xiqsXz1f1jEIqnntfkMM7AS8jMEGSfGTw8kXFjjtLMeVC+Ia4kFrRNowmxyqy82Yt19KF4srzafYJLR2RixMX0cujJfKIzY5WKKuN8h3gny8G2IYhsg2ZmoadcW8ra/Mmw+7R/eSj8eA6u/V/87Ghbefh34VBrqrXdnkD51J9QV6ZP+vENWShIPs2z0+SR3wkcvKf8TkXSFOxvKYM6P7OsT1LYvWeNuua0jd8Onr2KHcTiBHclpGwk4qcLLAfikgsV4knOkP6CF8PFGKTiQ2Sx/ikLuHqOdZ5xDVf0DXipIC7Otx+g1eBVJWcfsyMNm2qdULlsBByj3JgRoIiPN8ga4+52PDRGyX82s2VzuTjCqDCM2vexIBMWVnVp51t30KFYJgg5oKxSsXiKp+g5yrcogdcFKpX+K9iJU/VepiWjuy6zq7tlbP3lEeUb4jEerIj9HUQYAwH/V4QmugcxX1IXmW3RM4a3cjm8VhFr5wNf3SsSm4VpOkjFNQ3RKItLPr3lE1x+Yt9URNin839Fd808RX7kWH01NGl1vXcBnBqfGmSFjx9XBNFUKtIBaEQpJY2e0b8tR1Mh3j7GiLJPinXP+lZlfHI/h4SeA0+JQCFff/jKK7FJGxGyqKWWjjiOj3ON7xzO6tQYWpH5nqOrfFLDlAkdb8AMf5oOcX3qoRkMC31y5gwXBRbe8ZkXgAgPJyVl2uiDSB9JlbiYnQhpfFY7hOpRa+zBhMfgj1IeJ9JgkWVuROtG9UdDDPVu1hGNhGM6+Kiy/t8Cd6EWzZoqHJEKqQ/0rx/QroNNItay0b3x4LFpQA1mjECqN9JToTIebQuAGJYRmrVfZNrKtezvx6xXwkg/lz91DgtjGYrctk6GK9NLp6kx4c0ConeokMoYbHV1lSk8GnwdMPJ6jzVgRMLsra3fhysKAK7p4mV7RCtO+Bfu9Q0xih05vTKIiq9r0/Ucoi/EHbPxN53FNL5Anpnj19jHSexuxP8fBemUiY+aZb1qrveYT/PBxQUJWV4Wxh8XxCMZPJM7n1NzEOHuhTXbdHFumnLRann9ye4LK4OE5UVnVtNspE7tHp7/dvskIau0nKy4UBEV1lI0wBsC9+Mz3CEBdOS7yPta/grpakmQTfS3iY46hNDmVK9ieot7ifm5hBcP6DT853yYg0WPDg94TX7fBy+v9PlbbaF/JrK22mdOoTYQtBuD/PRX0PCWyVj0O1GuKW9GAIHIRwNLaTirxFQUCLtZP0M5Lh5YFLeAmuhkeNcyt6fH1AzKEPf52/hsR/6cAjmkpDhjvRz5RGHoouuVVXPWJXdacLA7X/giWZzq6Q1tcVlBwigXeE0ek4b9MpCEbuNMak8/m9A6ZFeYEZqQLJ4FzEAinlF4tQhRlKO+fvaWe6VLh6JyYUgQ7OmKb9g25aholRheTcMo0KLmIU5RI4xvqtPxFBosuMU9QCyOZ4bSueKkJlR449LQUioTkJLvaLbQ32lh6b4rzBzHhTmvG7ZI6TWJ7MUlFegmwKTyeRI2qoML/pNHc+VMSWbZcKVFFNHaqJwTuxm5tZ2zVTNu8bzHfwxHnQUnsxiDTGQSZlX5DCj3pitBn0FeZY2LrbmRpuQhNuBJpcl3B5x63Q5OZxDeIPiYAa4OD0Hzm3PD7c7JpcOWSTAKmXGB/VzMK7FhGwgOwYkAxiKK5KJ1wfCRnkNBI8sR8BXdOE6QR67svvxTIoMr86wzeb4MyXuH7Iw7Evx+sF35+PkZQuiP0VHaI1SIm3z9oFVHGyx0W0kSCFBqH8F6BzIEgwRG6WFmQmnGLT/JnbMICRUa7Eyda8cT3DQrWDcXS5CADrO/wsTWPzYKECLtI8Hv9oa3B4W37AGKtE9UwX0h4nLPZkkadZ6KDwrC7D2QrRvJ+2o69s7sfmZzEcL5PP31mpVH3UspWS7kLLAiXfijYE49SFm8aVpuiBjTWpwEYJIvj1uJ7jJwhelNwA1HZzPXfyWtwXDRpFWg0jyDSADwMDj+R6OGVYt9lOy2iTpU5YPVzI3AGGd+IVxV4iU4e5wP06nTJn3fqinFKpSzJjev/1l7cVfQ59mJqs5UY9MhZMFo1i1o4zutC2PtGaCfn0LIxLYnqp1s0fL0TA/s1AOo2YWRZQc633cU/3nxsMlV++z4wV4z/lbyLCMubKjshQELnB2rsHLboZqt3M0VzUbF3XqqdOUOwINfy79nfQT9TUIl4CFlzxNGf8MZglMdHhE4tIs3FV+px9/zGSt9GVBvkerS8nkEhdG1xBhl546EuZ7PdIvl0TZO2nLd/FVSaL/PiVGAl2Dp19lHatPv13xCjlHEz9PNa3SDX8/SF+dp2joDtwZkqTgzR5Kksbxn0WMCFBNZFCb8KgJJyktam4d2en9o5/ebp+oTtGjdPzoJN7sFv7W3ocGs+fIq9oKduMEQxM3zEspfiCnxSNF16SktwW4DCQ7F7pwRjBpFWKRgl8ceeNQuETvTshyXQ9XlzEh999ODh9CrQbmiy2VKSXifOncQiHh1fsobDiOGTm/9re9bMrpVIxSy1lTrkF+9LZQc8CdxF7sW4gYjxWVJzHv6plCL6SNyfXaUdof6es0X9WGF/GaZMYDTbPYDe21QsafmSZTZOLhBB1+FEebeg0Ra43yqT27KHcRYt6513XZfPDjHhf3+Gh232Gz49rsIXxsFRnLroKNkXs0/ijbgxUJHCUiC2bolcwoJecTGZw+gP1ytIE+nPQlzr+eLH8MYPaHYyBJOmqgLn6ju386ipbBrYGCDx6N6jyddHB05s+pp/1LxavSfxB2vI94qMe7klvT80kVN1G8TToS22ShnRYeF433doS8tCIIlVedxKqFn4ICax40I3h4EjvEL4Y2cZKS90dxTd0pWdkPdKxvcnthR+fwGLeWkirSifAoCd6Er9c4t6JZJImGh4SfnRsYTOClZPVquGdKWbiU9vZ7z3LFzIYmN8tswvqq2xjuNm1RNpaR+SULmbR3gP4ThcelRuWprMmTVQUb6gpAf3V35jnJ9cV97Qkwi/dQrPhkzV5QTDZbNYo7SszmUY8bSjnftp9Qo3TIbnM/6I/YRE7qdcxCvJA9X5tfWOT6cWKSpHt8gxqzYu0K66ix6gG6a/wC/XprrmPzJa0XloH+HbLqZg2Go8m8Fg7OENyAdepDrj5EtDVAl4ReXIseRr+prgcFKOEDdubWb2meztFSjMl2M4eHMCNBFmKi0Ygw7JbpPuYK1J6RxVPDoj/B0hDWQxbGfM+k0UfN40gxlL1iv43Ze1BEOGphEn7hwmxSY17oLacpOaR9KtC+uiKrqvPL53xrhXaSaFcg8k9zKmJs6RmYyv6u20mJ4vZuJrMJoYlU2hV3VLyF6lfpaSIdL+x8yw+0+3AelK57gHm5gSw5DXLXfwCmBVFPtnZ/DrKkU8RLOkKuO9/rjJ/dtU+6SyPu+lm8ZtXskYU2TjPHimk7dF900pRMuSLyI7g6wzW9Z2McrE97zOiYyyBrYpUTsKfYpAlxSuHn5XitOYPte53JH6uggDQSkbH+xcFVmdt6MuUDEKqLdIv6OgYJBnwIY/d4CgP7tnlO/aIV2VwmCPU5nuwU+PoGlBH0ig8c3unOKwsS9kSCjf7MK0y280chs0MuQNNIq8ObI6bO0SOwrtkqN2RcdFIW6p+jaeRImRdLWyYJJw4NLbCtztcRvMlc9/5phSN0ZsnGT5JDgaJkCV8C9Ubkw9AmykgeuvvNSed6Uw/YvTjsyvXPbjsBjW0zMeDcSZoN7ISTk9bKH8iDQpsknvXUMRCR3wsPu2OjBPYq/KVkZgHM6ModIv6K4/sHfRkwsTrOmr0cZuEyPxBQBENr0wMxye9OocTxXwbfS5Y5BHljNomggrwjKSXJtBT5sRBeYYhACPWss24VQUye4OQKYHtCGMgSPkolQAwTmKbXRZMBXuC0AnbOh/B77yUkUrOgaQRUmFWLBDiwGbdVHW5X4HNqLr/F4SYV5D+rRXxzRkVsDS52UiMrJKOTpxJZVevyEteukLW8Wvigdt6mzqpnTqLs0MQeR5bp2OMPCTPwcz/AxVqEcSlP02tmXvKZlgVwcfvfwnmCGr1nIC52VBs97tKhPvR6+H70PV2JrIP7NHUIsYXdPFWUZdDhPS2A+otopqSjpCINEpxWzIvpzzfjW8Ibx1C4y491qQr7qdrv08j9Dfji6Ok7BsfdXc/Pi4yI/n73NfGCSSYE4tOThmnCB5yqfURqc7IaQiLoQl/8D4Kf6Te/xsvqsA9BQ1NJRB/icLMa8mizn+wVKAmIaiWgzkF8+18lZFalVBdRtBCQBKuL7XwKEy9oBQiz0Zm5+Yu5XkKUhYkwVIjFNlyuR5nBifNxBx1ViPW1XlOfb5Jfg0Pl/PJTfXm2FJZeqNpM00FyTVDM+V6nAk5FutICA9NL6u6Himtvmc6D36ie5Sv9Okc0YvfAgwOX14Jz9migeUlZ5y+NyH+Th0PK9cHX15OwA7eeJEb3kgJKt89N+1MSZZHr2LbEZxV1GrCqS56DuuNa/UvIox5Gy6z5nJ5TX7B2/OHICQ+BG2pq4A6lh0yKRFxi+POJs1PWrKHLffI4uXsTO0kdmC+lxxiNH65PR8oC3QbNEQ1LZzF+xiBBiQsQLzzqB5eoCfKOIv7L2B6BZVJlD/Yx5G8ef3E/BRDwkcT6bfz5UaEIunjQBGiD4NOWwC2ZZcLr4fw4f1y9UZSBzlovMBi+to1aCTAjGFPnoJFgivCgzfIvIvh/RyXuAW5ZjZ/GrvPgzYfDje8HMBh1nSOHzLRSsj2IT3KYjNVVNleWWFUWor9tEjZZ+foUzNsWV9PqD6BsCrm0uWpxweyoEpR8azdiL7uyF0FWYSK7yySr0JVPHtNxOYhnEXw0hu5RvFVf9YyAW84S3Hce2KjHxuPc6Hq7kvzDeiIEsCrwdgIR5OIMbnnn1h0bvdZVERUM+68UHBPbbb9fg1wgO/DqHkS6yopIiF4WkwmuWngvOKGjg+bk/HiltRnymvtk+4tQfkvYRcq0BmK8QsaUeVTegtuysj1LzNQgk31PVGUPi6udv6LUuc8hiwaRQs25JnMM8I7+1QA9mFvxR+xHEGRkmJkiBOk41CFim/Wjixnc9W8dBUg3fUhnmQqbFNDU5j8Ig1QYtlyU2TwEuEVfxWzOOklaW08Mdx6ky+3W3ynPf1n4vdXBVskdV7pMvPzkRsUpfScgcIj4Pj/97XrwLANCLmXMJpR4MVd6euCzjcSFrqz9/iq3OPrD3Zc9zl8nBRzIo8rtBrB7FvVrtn1eoq/5msY7/jDsP1alSNSpAIyJklb8nBAEjKxfMdoOrvYyyP26AN0ftL3qurMK3wZbhZ5T9tyP9WMdXVbzC2s0tjZbJiBLLKk2DBB0Kmc5XUQvxx37Viqp5C/bYm9x569009ame0/ouaupcQjvn+fD/js6j1v8jbLdE7dnZ8Ms29M2Z3E4yWIa1RAGQpu75a3gR5Kx2sxBgXKrfRZoWrN5rhXyH3EeqEVEFWrCLWoJgjyfce+qhHbxRZ4zWiq8JuLv8mnCc2Y4ehI6rtwliyK6lKWkAkAgpm74Z5SbX7rpEHjroH2KLZ0dRaPm3Q5FgIHfm6ExLX9qF9z/1AERJ5bp17Ibjl6ddMpoM9BsK6I4O7rV+TCen0e3W/dUS1L5u6f4l8sonpo+O8+h93ZWU7Njxd9lIfpxoPi1tO3uu5NeMYMwynHPDnFPsCZRx8jGU5nfeNLZZFam7JTsSuKdWvkZfAH2Fnnb2IlgDilTPMFAhmPuC4tCSvWhXiT9iPLWZRgmwLlG4BLE3WzlvHCNczg5CgU2DIr9Y8icspuvSVauCfd0i9GSdWJm/eI1tsRKe5MWKFZ4G4wYhF3Tmq/6OZNZxG7bPyIvtauIt4lzEkaOKwbXjn1G6Ga0UKGStxdCE9NTJb7y+0d0xRC97gYhkakqhdXP6VPJFv7xsVhPRQNcmZKiS0jInogioUrGxb2JdwwzxTl3gxw7pjGQxs1wEVR3bdUYiZyceP21+uWN42q1Jl9tVZtEOo2xBJ4naWVZE/Mc4x6ZXU0zT5LFvhvngtAR9k6r8Tqp5GZMPAR0oK+rE+bvh2Y+peB/NBkQGxEdhsF2ZNOuUNwqroUAZHVmbwcCfHLNGIsoBM/Oj6EK6kKDtxyXYWaZQAxnFaS8sEnQBx2NG3g8rrepEzXQOhnC4Oo4zAQKlDCbQIAHHaZxfjaCWbEGrvA80J7Yx8ArivaCuBKglCZjWScPMkR6VrJPISYoxA20MD4n/d3kxZLKQC15fZQDiw+rSr6hUuHAxY5nXJViEDtZ6/fph4LO2Flh/92BBZQEC2kDf0AllLehql1+MBXivps+6oI+9kg8ewFj9KzD3sG5+w4l6fSV/ZorcgxTwxmfRr5E5hshyIn7vNbupUeBj9Sz3fhAeHjT0GEtqvUrU+L7OpJyP1Nj+LgGo7Qgpasn+igTEzzMRLFhDQUktbozGXEZnoW5lwLX8p2yDFXR1GcjbjPItJWjkK4JvFHqxJoGiTZxZRZCKr2j0E3icjEXhLqTURbKhFEVGaFYVmo/WolAvdzTbW8YHA2p/Z+Di7h8eUyO5kvbwtT9XcF1yLdpuggajq5tNbDu2mYpQgtbxThpEWY7bhnWi/H4S8tibnIacR6sTNW/oT1mxt/3NvrT5e3vlZx6M8SanjFuT2M+nDT3hyk6EL8KsWqFxAN4pgI2ql78M6mRBs1OU+nt1HyXcWSaDQf2vAiYp8xRkgFGu5YWuF59oZwWKLx+YBS2kwkPa7bUlXz8dy1zol8earyWCSiOvoY94QbLhvhSqbq8MVYXo052wNCRwAUjGPVHkYL7DJkCmswa2/B8kxpUBCqfHtNySQJdbw6gJIM5O3u3g4SQyLeNkHb5J3gST5VrETZphIMMs9k8jYrRd0/EZBeH3bFVkCFAmF+XmGUtbW9omg098bEtDHZT5vvLvSHOCE9tMULwZSSJCiKhv2L4nkO82EvUI/WX69TnY54zAYEkVzzMICyCRWwwiGz1/9NtR5LpcFCjj9CaRvrGrO9fCUNTm2NMGztyqVl09Y0f5C1FPh9gv558N7rRILVc+Xk/466duyyVK+MDSSFll/0JTcxZ4e5MoRWolpfkwRDvBFwzuhb7J/iOGWmTyvqshJEoz028TTGz0D7+FcW5y/IVC8QgZ8lwRQjIYd7UE17bmQfpf3rzKKwVgU7pE0869fzaqXypK+3OtuhY3VjZAwZanz9QXbh6l/u3/FLJPBi7DEXMDpKQmk29jsq1scvQ9LOQdx9YShrEX87WdgywmwWejOVMmv0PmqcCCDYCTMvvTKk/TNMZ7XF3eIZyNIQ2Li5E1EfQyE14zt9Ga02+jXxXFP7y4RPFGOKPHQ08F3mu0CivsH40a7McJ8MT1CdmrgGf/JsZF546OPPgBMNLPjF9xC3YHTJr2rHq93QnY7KhHHlj7S6F6iu0xV8/LmBalafF6BL2t4856DDK9ur/QgYYRczOBBGo48NK27Yqg8I9qgZ8HKgK/TxFb8PuSDo2JyUdrN99c701J+LKJFjZjVajAsNn119QFjtGnpUL9yYPFFplIwH0K+EwxjmO+3/SCzRYBQLNfF0vEGzK4hlPYf7IlG3n9Cl3YyasL79SbzdDqusVXeInPTdLwABinOf5lvaCpIgAd7+F1Qzf/TBiC23ShLYjcL41PeuOejGESjC6gnqIwBjjMc0ANXP4G3YJRQ18uwCArdet/mkLTbQEkuSP6Mw5kGFqnUNRHus08TRCYTXMU4NNN3tQAVqFxBoZycu4f8p5nNh9dXKJAtuAQMYsF+X0aKvq2Li09CRtx3TSF5hQyezx9L16/CU7uCvRKAZtOQ4cCD6t0c06Mf6f37Eucu1HxCbdQROhi9djWdT4UDsdV5y/VCO/can8kNBq/F1tXoQv0FW7tJgpkTGhmk+l5RlwoXHRfaM47o4quZkHEbQrJG/BnkwEmMPa1ZqZwE3ZFXXqfcJn8sFh40kH+kX2zypMwRbZ/VSavSDd/XGXE/Q7pDQAotdllZlIBG5qhXZsYwlrBCJkjmoWysUGcGPW93W1qorKF/YUqYRJoGZeDc7lVtXC1qM0nJmj0DwzYqhQOyOB35TPhUYfyqRzUbqDnsJICU7teUoYSQYqzwjFO+wkRqx6hbPqk0Ct3E4dNwK21FRGjATuRatPiRmiEQ6gqQY8EpIuCtnQZd4xdxavjRMWjkGsNBpBRf4b8FIMDAuvmmuRQATDltzuM4GtWvgXhpPgZ1gC8fBP45zRTapJADsd8RE2E61N9lnUS3xFz+glXnL6rLb2BDNVhzvUsncikaWMomxfvRSPaFCenQbwUkVxXeTERGPKAqtF8hVTZY+BWCJq53SnxeKImT+Ea4W8OxoKx982jDibmncw9mi6FDd4eYrhjhFOPS6lkOr3kDskFcqCOqvg/vSd9T4jvKEn+5DPtZokiuX/t0KR5myydPWyANj2NjxPoKOjU34hyPL7tkY6zdWztyjTmGIczSiyckyjRMp+PIzPbrStMQ7onQEpZo+pD33BcG4M3sejHbaKfc6zcRDdivlRT8mLjuu3mco5LZ2NUGD5DlW1nIOGw+JrQZN4WTssa6GrtrUHyuSvhnK+KU1XPQfkW4jO6STgPSDOQs+P1t1O8r77SDx/eWexDwJGItG0A2i8JFBEMtf2B4uOqok8h+6ZyWGyN2UZd+zg1PQxXtELniFMhN531O+360ir8e6CTP8ANS92Mn3lytGNuisvhsezjqRixx3V/cavSs1/zJfXZaoOpEGbNdMthxn6/OsloxTwpZsevKTVSnGCs6vBLl1RZ21SrcbIiQ6Bi+hZ+4Q2Vq4pI0fRVF37oUU/EARqc76m/xKJCbCS8EnSi0jJm0hfnqfJJjaQjwG71lUjxbCeHvv38G8KL9PDRC73lY4whxxIQK4Rv7qI5mAQIWRPzMq8xtfct4mdhC+ntAiIkR+Arfeb+pINBhOPRTRWa0X4vMwXe+PDXUICJyPfQ3KZEEq2jd4cuLL7e/aTy3AoJgfKgYtHNcG18Q0ujTjDTmMd3eH70DlOiJjec++xd7y8fL8qfiHZq5Ubi5mloCIous21CzrtlESAsbuEp7XOmSj5q51pk9eZactIaitTrjAUmPZPxyHNWmkb5a2p5xagkSYHeV3jSwIbX0oAdiIAsVbuaTmz3qWueQPCv5kk6FwA4B9oLmjvhzDPsMbewHc0vrlHDHomxKbRgqzmCkxi4G8iR2RXfJ4tWf8fZBBkldUeU/ZdMRsARwsJKXTtS9ye67SyEOV+PJu/hmFxeCCOvevsD5tUNRqKGytTgYVqpF44JzYrKzbpxCSBBccrCWI2e9Xj+ZhV9Jzd3A2bMK0QS+klr/LPxr629Pxj7H9LK6pRMyipks82HTvDt1uQ1ooF5LkLu/SBo50yemKqHox2KGeqkOA/MFpZk4wrahDvKm5R9J/ZsrDRJVukx33gOkEmSYa3nzl22qmW1elhh+6Z+6CnSA5M+B+vLVFxZAMvbFwRQpaSw4sTG2lemNEw0iDCNxngh4fld5QiXFwCTmz0AHyD3pYVvgMgG3EUkqLCXuyV95Myq62B8H4VrcqTmAakTHwG9T0wkwVMmEwABfChntPNfwIdFGXb9OyDdFHLfxmP1fb3/ncFuw9ErMDLBSj+C33vmQCpwMx/i2Lm2YfkeSM1VNvt4Ox9Doa4GLnOMBdsuSgkAzur6Qt1joPn6DMQQYl5dgSc5DH5FFIrTBuFdWhDGRMzkVwDlNBX8GUWOqqmm1aRU2o26OpvZWunodxLrOwv2JjCF2hJFOq0ctxoSuHiBMeCGUvhIMWqekkNQpV0YyckbXITBuS1yE+VRLpvSV/RZFVY0edTqez4ZeQC8+NiuP1szkXn9irHRL7ARDGjDtAONDapMGLZgo2+FYrYOQLOay7s7Z9dFa5LgmnYtqoK93KA71csUPluJmXYxn7uGPoqr4vVjG2hIOd+4GjmSr0kUhlABocFlrrLChJXcIVz589XsyNxO/zfIDCpmbYoF4Qm9R9mvGct7gpStc6BQF0b9T7RvJbQd+1cEi5nUq7dtK/DzY22m/Lt6TsmZmkTyXvWNectwY7G7H/FzM+YViCjDTIsbyF6CaXkch0FkH55GjdegRnQnMb3ZChOmYzRo/iZTpxqyIwcUUnXQ2amcuf/x2132wa4vJk/jNvfFYtB/QVBApu2qQ8FzdwtVH8Q1CtWWc+gy585g7HGtHyX6Z6bs1rdtawLYoMmPB4urKNesTzMmL+yp7gCGlXE4QFsfuV1CY3u1+/QipVEw0Z0KdKS0LNOdF1cleRWzStXD5GsC/OdNxkFkxAbZXIyYSe7IG2Wt5uzH2uIHD09LO5M0qYoG5p4opNrNQKyoyiMlD9D1wiqu4qCgww6O4PZlL1wcGojUo3BPmONSXOktOgy9MG+n4lfgYXPcdZNlUY1RgYsq5DnLIlcLWTKoKXfYv1nVLHyaxbE9aTK/e2hOS/U8r8t7q9iWz1DIR+NylmXNpl2CQb/GtImxz5zYHm4M7MnXKdchk69u/boajjotZ/Ky3g8Du5VFgKOb5KCdNrfM056bbgreB/fTosmhX7Ej0jsalVpCAv2aJJHuG1ahTd0CH4yOmt9J5SrZEZOys5xGAV36TpaQ5ce02BoTJulKn4mkmNskDwwHRn+GToQoQKeZ2YdnyIdIV6EALLoFRPkpcpCaDOpt5FJBJgB6X+tdlJk2B9xVq4aNvb7xPHNfM0wP6wW9ilZ+6aDNNnBtUXqy1JAb78sZuXHlrnNhc6aV6fG+HBZPsbk8y4KA2XIR40r6mRmC0ksBSv9xM4xn+zisDOjTNfd07Wdc7hCMWfMuDe6EFbRR+rdAPQRd3yS9F2FFh7jR8V7atpVXb1j71YtbuspW8wVkTV9LVG5Axk+T5N9GBEhsJz1zJnTdAtFKDJj1mcjM9EmaAaJIjRMtrJw8NqGYigcV/bPYRHLpBNQQUhbzX2RFMADEpfKYQyCM5lSiO1hUkaBipkSTR/wtG7b9OBtw0r4irO9XDTKmbJmVyitZwZQY9ZxAep+ZqJi0wDQLHINvw64jxlDTe6LCrButm4MZmEMyl7d36+pt4JB+4pu9x5A4QJrr4e7xlHznpvCtlcCpBHxugY97ONAe5NTVUZ3l60lg+Q931AaifNsPntREhIZ1j6euPTu1oc1fTYm7EYi35N4HW6gzcXGfbIitON01ZTXUaYFx1TJed8lQPjulN4kHzujRNoslvDxFNVcpbSusfdT5sEcyvUmhh00vw97MBpRjEIFGAGidjdNtqVS0DwCcR8MQK8DBKUknERTfs5M6TKC1v5lUbEpQolkK/7v76tUrW9g8ZE+brLWtY0biELhcs4mvBNHW07zc1ZlTGcs3FWVkleoiL48/Vq9Eu5qL5itlxvIsK/oWXnMwd2r/JQKjpTeLxOz9fLjqQY/4VKBF4bW9q4VdiM55XcB16ckp7/b5tDRcPQKrxrIr5JkZlITYY5fmco77/3C25+/ZxPIzGs+QbXD6Vd8yXe1g9EaBAQT61dwknuGy8gse0OIMybJX6/hh8r5pZxaBObWsBo7PstAGi+w7WgnbH9y97jkXOwPb09tU5pnKbvn70Luv0tiy8qKLAa+nhmszcV54iMJgdmZOlv5mUKZAqKUfwfWgkQNSImQMfqZryGEgb6/RFHFn6ElRKBEZIUeoNPJxOfcZ2pzXUZGRqzakMRox2FfiRcpxvPDvT9hlFs2qRbLoYBiR7evEtABDL/LBWPkvAUBhefs99MBgBKj4+zeTfUunyv0T6k28qvCkogUx1PaoKX8cCiK/E3kCwHsWxF6H9/hGrol1NPAitIpGh0xafAzJdf/NgVzkNRS9vebaJJg0hWJ09SjpTsvggi0VaxYBMby/pCF39P+nMVDeEKOJGZAhjlCaiKahaY+SUks48+4n9vqHOLHmUhXUwgJjVmmR1TBbj9uT2GT0PjzwYhu3qs8IjS1kkJ7yW3m+Fd8Ps6aseQ3ajDFTiOStqkPwrPQtUF9ZlEk5E2mJUokE6kfXu3VBaOCD/pxaXA9NhIlZfW6bpVWkkgnnYjBB0U9esPLKe3AjK4qWjuPHfWpSHolSiMq3qt7DO/ohqMuOMlFqpmGd/sv9T0I4cZnWqJ2eRhixDebU12ZLs3Gm0yTe4lzAZKO9Yyp/d6hQ6pistsL83nchsk+9uLBJLJu59F1LGTFJMYp0uW2285pZXgjkkBU8/ld+P86gvVDViZkmphBToSDwUHOcmzCx+oHWfGroHVFhOQRu0j+BEMomby32SJ28OHuxSW/r1rs3WrVmH8FHTGloBpumL0+OZR2qaD4W50MZsUZ4mv6asHdH85WfqCwmc6LLX75D4itx6v8AZCwHH3aG1xeZZMj7L3BRE4rct9u7r7yfbFnziY6rQzABAhL85pNwCwkf+7ZO5Sx1q9hVnk3uetm8uY73ZdU03IXg3j702Xe85pJV6t5zvse+ZFVuMKfETEI/CmKvGv8lgmcThKTF+3CfAUpXDiLYwxUDmsk08CbDqgTs0ZDUcBEqmzJefnGrYc27UZN69O+NMiAumApT0azl2uscFVx0PYC8xBZcb8n2I2I0Mj4P0voyS0zqgdaBm8s8e+LWaxFB+YQGTCdpoPsOUKBS/xF9sQPIklranu4NdJ7Ol8euG+JT1aG0leTq4Mh6DfpLINA5lLIailoi6+hEW+IWdowQr7+5MZgArNmUDNOohvMG4CqKldI3E/6K80vdx3MC1Ag4k3mMRc/MsCFpgdUNGCO2+xm/AURwMQ9BeC/0TBWLZCohj9PFioy6R9BkgsANT512fPVxRYw9xM87lRECKIgNBsBAINDJzX3C1P1MFYB6iZ4HcEIzYuy9deOAhX24eIHzEUyuT8lvSyT8ZEfpSFjNOaFEJ0X2wJwQjqDwuLLTsGIGIvzjs0WgN6hkzeJJ/xNh5An8LKzsYyYjwCQftnU3XBbNY1FITUHruHByLdanRo/x4QuwjNpki45yqE0x+3pBxvnnRAuB06NjVm64v9a5//pZLPgUeTx71M/9SF0quyKMM/92zwAPQW0L2J2AaILRT4TTURSXLyhB9Vg9qLGPKmYvgZmIziJv+tjP+iCCyoJ63iuV1V7908NXL8SimsKpZxL/2U7tX/tU2wGXoNGypKYxFWkUNowQfwxNF/mbjuviCyK2nhWNe1IAygLHFzxYl8qhWF08q5pYijw8P2vER0hEinLpqzmqapNLgy9tXk/EjGKD5Xvce/RcnKy4/cAvXeDOzsEuYinGvwtHykZtHLhKeGnB7o0qfKdJVQspvc0tPaMNF6tKxjiogMwbn+LH1B65D04KoVlwrdNU9t4+4aXFZE+pnoBl4guF+w3Fau90den8siBPdHa4o36H6tbi+bOD819Zr1f/P+2wZbesNBcfT1W72UIgKFmB8oAuolynKLTbPjIakZtgSPz94zbO20Oek4WG0OswInVsCO3RP7wUbZJo1CrBEjj9SGSXuzkKJOlXe1TMRnITM5Bp5VzpWjz9h8zynNcJgKHceYiJBKUQDkmSWzGxcHM4wC5sF8UBxn/vVnlP0092bQhmyPwQdsd7bi6mFO0tUXqvQyBdo6597ksrQdtH+7ELSud2/6UgNbrCvQC+0TXV32qyqMVdthA4nJ/NQ4u509BS1dvQN2ZDPGNSVE6ZjJ8rF3KZZxIgKbdx9AiXZw+tz6FBChA69thJiU8IVqKw/5gl6TwU7nFq84VYwH5SbfyDxtIhFvt9HT7Hv3JeJjauzAZgC/tMsEQ+j0rbDLQ45wohHPjA8B8tyNhBC8AB4zmrlXTYRnvvFpTog9QdgLA63tTXTb49hbKaNckJp/mQBBUmTHyaua6Db6T5P0Bz5ZpphqlLncqBtqjcMvKjLALZo7jYCyqln6jY/Ve8bCJ63ShdlaI5HiOxWyRp1j3DRtJ5NGXprcPg5vzOyQ3THVVUKt3wwkiL67CH4dDmcThxy4bgkpU2+hBBganuTla3fvkBp6JMPwMQGoIvAhGo5SWzT6zkX8gjAkQygtUHaTKiYujRCbwyZZeNena3cv0Gmysoi4QPineqvU94GUZ5FkvP2jolfjKo0CugYbr0Nb+Nwi9G7HN97Fp/iXudKgMMTlr49a67z6yhzivoIHxXlrxgOqcoBW+R6TYhDHCjzv3d2STVRxtY/jQrg4jBpZe6In9p+DYmhJ7Amd223bD5UtpKF5/5XMh0JeE5VQVDONzuF2j8Qj/YjffpxeNag7/kPn/7zax8k5yqV28RUfpbwqpi2sw+NPyuZ+vR7gzTYhWM5WqVLx59enoGr82Cpm1WDqiH02p00nBUS5M7FPlbK7G+jdBMUn4THqQPM0MIVDnJTRovpFT6IBl6AsrWMe7urRQepsc/DicTiI21piGfd3I6jF3VPtGuVhLKeWjYweK6oHw4/2ovp1dZmdwK+I06IWgtZgjMAiCqjyy98dlZG79jIlmOrBgQpE3bo0GzhTckxGXNKyWMByyChl6aUrRYslyCIoKZNxoHxl+qxs/XejSUFzQsA8rwpj5dXEHMoqT7vZGIPwUOMEUm6XIJWfznteDqp94PnssZ+ywzENKsUgkyf4Zh9SfuT+8spOAeNjea/6tLPK5LZmIbkqIroQxRD12pPuKdF/tMhN4qcpOzZ93X/PflbflmioJF3l8vx/wyFiWQH7bhmqQRhdRjnIw38pIh3tBw4r0/sw8DbGES8L1kMPNmZIEtm7nFVdc7beV+3ZYq0GY2craiWuzBSzm846k1zSgTl0XP9nMzTG0xFppDcdEVzsfjXuyAYV3lV6hYAQwA39PLMFRrd+LZiqPe6r3cwKa/6mf+gBqM66bUNklf+nL3XZZ4ZVuaq9XMUkKkQ0qLd6njET0EfDXYvmIHsEROAvK64h0Ezh8ailQuDzxz1+nz+4aDmLr4uGECr32wtyRVWa9X9YwqPviDXArw16gRb5sVEelUtEUK/laLRSlxkM9CGvUk1Eu+SXf2Iv6s7UBzJrU3bo/2DXOgrP0nw8Ge84bgcA337/wLaCgSaCB55GY6BtoOXNzsbXMxcS+u1rei/uEW+ThJembLIwkh6p30alYiaH9xT5KxoKyj9ulxP1j23EnPJxrtGcHwWF4cN4hO+ULKMWjSK0ob9ixUZlgzCHxi6+KiDLOFi0v5ylEjg9SIm+tBZjB2V5I54TJVmHbPiXV+8P8cLyGX1LZ+kVcuRJ66QI9g5ZzluWUd8G0g2jJjhLkneCj2FXtlsIUk9aTvGWwtDDmDyIcNr9UPq2w4N5N68oOpxPLpfs5oM+hwP+YNAdcoFyiMtBNAe/j7c1XRtGCoYiohYyiY+dCsm0YKujlxy0IvUmd5EEofhFB8Rll860D07D19BjJa50/QdltpgOz5C7997myQVg8ZWhdQGc4S7aA9WWVr9B+VIQSgpL2G41+SlyJUuKyznvdKVa1xPDDs+S2mSWY77jNWAsm0Jyd06eRqggNX7kxVoZga/2+YtdSI3gZtOvCyMdHzXzKQ0wfXGCbxKWAT6n4tPP3k58TiqmQ2YnosorBeEJ8G2BtCUZXjDn30jxVjf2m23f6zixdPlVO6Wig72qVLkWMRbeCLeN/ZrXh4UFjvNrzMVj1rH4nuQSaL/p7VTMeSLq9vqNIYFpR1IYiYvLDCdGVjCjdAsjbC10dBU7g8fYQHeYQyUdMD+K28WcubvQxv/iNLcDmHng49l3nTUZ8UZn/rIF9M43+HOirwdZrywKtKHPEzYwUd6xQsRB9HU0rRNfRS+nrMiuOjGbMQ2VSuohWD4ZyPTjKF2yc/yXcGrpnefpQPJFEUhVil65NTNZdnT6o+nNA2IShi+UO9nMngsV0sMtsHpj2Wxj+sQTBw7jfo2ghveSemZwdKS/Y83IQMGvRFmDMy5SR4jKAzJZtrWf3n2TpKCnLYzjKeSHGBM9UZnJ47NjqiipNanMDc8MMfe8kMV2v4tOecNSCwVYB0hTYtZcKNsmXQ2RoU7T7Xn0eagYpZ9xOk3kaD0pw8Q4ugin+O8PBBf40fyKKo44XVmTauHa1B7d/DrRjMYBlDDAlxK/xQ5AWu4fS9wU2HNAOHLBdOu3vkLM9JYvlaQXYgPGYZZCFguFxrH3z8rYZdYU20XqlEYPKMK9HUndGDa73FNrzX/ai9bxcnqGqNkocPWDJWjWkVsHEGsJiGUgirFw79Fedfx3e5tUyc7ZDsEQ1R8Qahr9jxytXmlm8K6XVoadrS3JhYuroD68am/lQfATDEyg/8kbEvIBlAQScSViZSjc8PfbCFzDt2siRkhbhVthAKxirxtwGYeR9udsWXb4AZFdMwSzLW/vGZVIV6gugqvD5Yr1Ea9C/hLg+NQ0odyFQrlIDOOJQQ2rMEWGT86gFP0Pk4CJgrFp8hWuUdUpDODiC/juHtwz4JJio8jkVbPWlE8bTLuUOAGDZt0r/5pu+xZc/h7wjRUK7DVb2yQ2+frxy7wZj7mb9x30u7IHuSeWjJ9a/y48M8jkHF5dE9GSgQXp+FneYZ7+oREA4f1rw9oiGsrSa9B+OlpPrnj2jFbSh+gc8BrqWHUhaiwNza6NeGLQVMDNcL/yN1uTWOlQ8l83VEU2XdFS2OBcED43kajWzeb9FcTjsOwf5Lh2jArVUgFSl0CCZFEqJ+aM0sbsfaqt2mpOdGo+jMKoEYB1gMqegxzaQgFh+wM1ojvk63OBoymbIhffLLLu6DRCCPWY+Guime4E7AjnlcdGmTrr7Sxcu3g7t+qX+sr97Clb6oi1wnPe/4oBeBRwUbTe2JfuKaZLui6rGIqz5aWdNO6Nimboc2rJu0pkNGeWeHzhamM8gdICJ92PcMhA2407GJZ1auP1EtHR/ZaCY2pOngzVmCCcvBtelIS0F/lGY3VQWl9Eo+GMkZabGkC+D8bOPHY/693MaydXhYDJISF54E2DcqQ7Le6ZE6emVJhU2dEJFEXtlwX740Gv6E1+X4DxS3BHmLmKDwAR8nRYKtHvFIBNhyLq2YcrhOB/rWtamPKm+kDCYGy8/ULGOC1o6XANMyJs4RLkz+LfJsiCP9/2/T9Pd5TOcyzGREG/2i2F8CKm6jRysrXDQhHxCycGY21o57FrDGU/+ZIPwu6dw6m2w1XWlHfgwBcbCxe1cIERdRA51nMwvSqEGDTH90xNljVQAygRS6nsy5FU9Diut/RNCss8xntpOzLP7bp2bObakDkz+WdgZ4w7YDuP85oNSmA/o/KkTVTKZ+tTzvzmObFE3UvKuTD4MD8c/Hkyo+j2AQ7m2tgCmLQvE/5k695p+c7E7B22EAem1x7pSaOaV/G3yJrV4BXN1nmQRx2FoIdtP2RcKK1GcaOFvaRK/llgNVNGuuMaH3vqUvnC7WhbJwGGgyWPMAdokbQtTSZ42UX0c0BChwTDf2h1Wl84Fs2K3XiX5hX7lRWeg4g9g0xrRGUIZVQcv/Cx4+YVldQs/1+7KPuBMg3HzZWABEasgvTuDv+TAIA6PZ/QA4gLXXM/mf3qsjRRxO2amcynHXqlGrRvXFmnDwsalBaKHRlRsWXEPggdJR30E0Cj0OSr+8uXx4RpdKXDfQF8FO96Tx+Q3yhaC75Du0EK1MYvBZgFpN+BMF5Z1vuD89ILmbt5gmr0kBA8dqyCfDJMXTMA2K52ewo5XnwanwlCEPeQ3AHVRjKwoy8nucXIHfaMP0E1m1wrUbQh0PS/9nq75uT63nVmIQ8idDBDVYztjHNxs4GjfxRe+CGYb3/Z+kGkG6Hott4VJeOAHxjM7tOK10eF39JGzxrp+XZqpvwxsct0XO4l0HanIgo3AL4Ne5WkhUA1Rhb1rcMV4jZKu0ahl3D0Uc4IjhNyHqm+ADi9GxEakIC8ZANoGFPuPW+x44KA51Y/wI6hFasPo7a5Hrem8LaTMgbMuROfx7PoGJh9cO16xC7OlC8FzZiL6kNXEzpajrFVzhjVzoLKsnlvGoY3NwGwEnCcChsxTdEW24bUc9qFxoe6ewvCZ6Kt4jnuEeieLMwK0uFYIGis2dGaAuF+V5Qp+ulmFcZ0yKuHsHhZDiVRHTBjRwL5orUxPS71aLfa7vlPaXI8Xxka+9SAmReK+KNgysfs61N4RljghR2an6LTdDj1XBQjTkjPEtBB2fwMeNO2wnlUiGXKWUbKa6fQ3xeSJLegxWNTTSX9Aptu5vxWv3IaI35h7zKaOUGnZVJwjHldfqSg/xC/p5kse8rtc+dVIaAx8UWN+wLolI3IFRZnfgfoCDpEntTY70lEhrVvdxj0f+xgNTKgKK97iWaDiHxhkCj8+Oih1u0wTY4tUnGftankCYbPsu4JiGHq6HAhDUa9vEDnPpJNqtHm9VfnOVucMFWBwST3v16y5+boTK3PPQA6+KJheoJSQCkekakOny3V5C4Tyi7dh3/yV1lqtel4NPy/GbGTeAEdnvuOFZBJRrQazqDin8iZIa5qY5o0PrHUOhE9+pqLVP07QVTWGhLpkGJO/pjgCN7Gg6WUwE8Yz5jj0oRct2ZosmsezLKo2yMTu6NCg33zECW50AlAMp9ljFPogFhepuPPfjohzA47LGkQmvqxN6yfu/JgIKaQ5vRmvKok+GVU3UTYhr7TK7E+W2frGg2zJQGrkTlyuDlWwmJu+UP3+hsrGZHtD3yeAUtJ5ymMcpOpqzSNvX2jB0g3uOVX/+KvxuMA89YOKQBNLAxpofiTAd2cDoCpNjRWtE6vcgzL1TTgDzg8URsMkix1dWBJsWODgD5+vF0pMMDk2+BLSY7CSiNIhlH0uaL9/Hqa707HKkp17GLIPuR+FnSCtzdX67hcUpprPfc+ObmvJoURkoqg5IpqGTrMS+v7DCi6oMsLPLmK6fvtyhv5Ikv10gujjUdBVvkYSRjyEXYA1vAiSmmk+5lReYbUDWLBYm7XUXmHXiypfFaFwAKBFzlMNATPHKVbXDKCXdPBwBs1bpk3bAdigozLMPNg/OlJQVZW+46SOqyg2NLy2Ll72QB6exVjANiwbkHIh4weHRdhoaMYOaxBL7Hl0FCxzWjnjItVUfV+IFvA45k44tpvAwl5ygFf8TodDv0JiGCNhOfRzPkSXNDaoedSa2c2S/d+8mZKHNNxQm9FgrduNCPlNsRy+SFrNeR45Dt3daMC/ngsJA/D4UbVr09bEafZIgFYTHXwh43mbQmxuQSapMx2DIOHdeF5tjrim2P970mbXzWZvaDjjSsmpYS4Ybaex4Bg4e6MKRJZJK+rGHgPHemTq7LKOaDdde8RQ2rzYtwtj6lz70VuvlkAh+GPmY13xus84+f61Znchdxl9YfALMX3GgBcfg9vDH27MK5vPosr3+wrxJQNrWohnz5WgFVrp2barMGlF0gPsfKtGel6gF/W8zz/uDumLZIez1bd2TrCuvN4A754PVMEaLApxGR2xthAVnKE9BdDJAWEtyyCfbZTo2dzH81FDDcDJjA+7N3ytO+8kTVcTLIY5UYW40khgIC/L3Pa3ZM0ceTCjHVG+Wzloo2khyg6ztYLV8AOVpie9n4U+vRMxuT4F0udJhY8Q0t/5GtWxIw3TCfkXdaV0K92FHFnDC47Y+kjz6Xv0uZz4ZIJPB+ZOAdMsE04RGJS3TZzmRgqqYrNUlr3uRUxoKHZQqpkcy1TsFDpZfzaKI6iCdd232jdyAmcCvAY6ipQkNwQlxBzJue/EXh3xjgNDDinF5eFIGZD7xvaT4ggGm/G1l6WB/T4LomCG3uJUYTOS1GPUl/ZdEFnik0hTQLhd3vP8CbM7SIosQECadRNFlHpYJm+tEOfxWulQwnEIeXG7Bk9HNbTnQWxs6GKJ1DHHt5VYUmRjysqKyvA/mO3yJRIkEaAVTsD6tCoT7qyPQWRY/5nuFGKv5e95YrduIf5qigWhrpM2mlfTeXINnIuhSZ71Xat50AH6sNnL/k0ql6d+EJy608h5gOqA9kIr3pAvcrOJ1Dk7cK6B9aWH5TlSsJ3AMuBbeW2l/+OHd2chn8d2xMRez7ANWpMQFSchvA71WdHasYdA67VBdf0JFUYVfOOkcs45X5TGexWCXk9/uuB8/IkyOj0FSvhLB1tzdLAjF6g/ir8fjkV0Eto4YbBjz6MUbt3KY1QFKLVL+nPLYfWfd/nTL079iDE5vMuXuw4xAeIS40m0zArWvmnnT5CO2Ho48AizsbLuOqLe0vf216AhZ5+FZ9AgTSva/5eY2hDp5GVF+HyGjReCq1svjL0zdwJxO/ORr2YN/F5i3CQOVOmM6Q99hKBf3YBb3dH8TqvP30Yk9Atx/H3WFOw34XKm6zPvKT59u+TGH3cQ7WrKuUxrflfk2Egl95ihTOOr3TeabQkYyo2Q75SvZAaUAESncxZgBcSaxTkefKIRIpcKAYcpQaiZQIt9dFHyQry89DIZEhpKMMlby09AfE2zYHR41nlBd2FLy6MXfUO1aOx9mBhjZCu4YexI0Q0de7GWmQulqLVfxrd1X5YbYh101iJnqpY0diKVBxVzgyW5X8KTUFRyE5sQupekszRWGX4VCi8dZ99b5c/1uCdGEfytyUwavnhjzxL76R6QkbsXSUck5HE0aGGoSOkFKuqv5uSohi3KjKoZffdNANacKRdEiFQxxi81m12jBb1WS4CnOVvWmpNnxzFfPhS0UqeS5imG4mdPz9lPBgrJcA6Yi99eL8cwTqJKDPQNHXD5dZlYg1Vt3/NY2jnH7V5a06bK0HaABrUg8EeEYUKcTBuoYcumSasuwDkes8lB9axiGSY3hH7S5U2EHkYZjquI84x9SNURSqKKriaQrbv5Wqseq99CPCFZ9ZvR7YBU07PtYZCYA45vo/qDnV9u4pAetdHSdHDiYa3hx6OBpDSASpueINptn6XA7elxqfJUCiVcxB9V0lnkm5bnMBtsHu4dqwTnk7+MYMRW38TfoE7sj3Vl7yqGk1atKB85WnSybh22v5oE1p/sNMGVXYuBosnDDS07sGKelKyPzQnuG0wAaZO0zrBx+rsoT3V9tLvXfAtbHSHvquYBgZG7ZUuPbGjS61vyVch/u5rXkWkKgu42R5gp8aiB6DWYyhfgXIlDvD5X+S4gfch3fhkYxcMftlWgmfcai7EoZlxw372Dg1cNesMaI/W7aagCfFtKzt6MAxTjffVWyX9ugHYPZYFtd53BgS2C3u0sSRQVOCJLeo55y+4cmD/Ci5VXG35XDwVAC148TaBYmDEjJBGaeUrw7IXwkT+jf7JY09A7OV2bQwp8XMA7zs++qTYMRiqO5faccVzpvSsDxOES3xijDOWamMmxynkY/ufaJ1OIDwZ3kmXaOCM+k0O5unKORI5xKAp05Poz6wOaDuQHZsnim32dZ2/dmVwzsbKM6n9KRHox243nzKw+4OlPPTzvmnfn5+NwYWS5d9tQHOLagB/O5PnVs6HENvIgI7s+TUgWS72RIkMfBe5b5ntn7jUqXtiSlQOWBeIWc0W0TPkMC8InxiBlErcQOFl2UYpCQnJd3XwhKMMTGBvaoNJICzZ+DNVO5Zd7qf+2e0P6hf/E13yoSdBnkvHc1Es5EPPPDpHqiB6TzQGuTkKzOjjdr1yUDPlNMTiXk7qssuWvrzeXa5T0roivVbPnf9FAPJKK6oCzqJYJAzN7R7xOHrO986iS5xikSo0lMVJCio8iagVpqLC3cEAyLgceSPASBKHIAH/7ON2xmNhEcj5oIFfg0c8JVORkGmseaQW5vVU3V4WC2kMSP1ypF6vIAXFiOnP2skk/bTI0CMztRQnrg4vG60Ur4lKoC7/GCwRahD+NC9FpzTOT5idGduudgsbuj/DjFL3kMwd79DYIZw5qQGqjzIjzRsg1PuEbNiqRHtfIL4RdDW12Dcmp+ic1QIjQliTka760zu6sVNaEjCiq8D6POvqa4crlou9PKzwKBOHeRfdjY647nIEYkUr+6Jm7B2Gl2NROA6GPo765O0xHa9uD/RqjE+1b3WZoPsEFqM/6iXaKhyu8zvrY/3riftSn+r29QjiP7q2lvel2bgcCO5YlXnkqTFSF5Xpqa8+XDH68l6Cin8Nb9CeqILBCM9qqn4eesrKrQuIT87j2yqhDgXsD+LRRQENDf9XEsKAhP+aUcHF3Xhm/NnzIRJ2ib4Vg0fxEq8pFcEAFUv82K3Rpg/LIvSub2WlOtQhtmJOeR9uL/mXEybX05VqibkRHIzXBQQCwzjPzgae8tU/uf7NFxhmIcIpOElkqxZIF+v/ui/GDL4mBSpSXg4EtP3/BBq31bd08aratRnl5SpeQ9hiVAuxFkOHPnQVFiph34SjG0/Yngpu5X0HstNgL/QWQJOEHPM72GASTaX/YUsW3O+Iae/J+jusU/pPfyBb//XAwA0tXKH6Mr/5Z43X21ac5njUbWiavoXtJZ/FlsUzXm34xAvsPRmzQlqVoVESZyTDW45fuE+OHQW8cq1nSo61StYosDEUr/LeC6qECYFEbgyw0GoGxzThHbjltZAb3jIOZ/Soe5G2fJ0yFP1ho3ZPzObu44deUbSn1jFXAiXy3TnLz90nJJSSNgnWUA+iKVF9B3Gl5AvMRNeY9mN+oIMQ2DMPvOVu9IDad+P4GreFhG+BfrE1zcRfD5VHtmhwBKCZzpmUpbr60R4L1CRgjWqkDboG36D/SB6a1+yscTmA6Lm3sEj+sCKWBS8l4TfSZCzqJ42be7Nh4a2YHFSvOAmeU++5a2994h5DsJ1Fx5vd4g5GhRSra+pCQxEazog/FnpZK3fZqZ5sWjc+fYqrRygrMIfoL05noybp3dCoNMs0fLF6zDEprUWwDTnmBHiuJYRre+Sw7o1XuPTwbBnT4nPE9zXEMNVWc680lX+Q5kKqwTEHI3IHYkBZcCGVOIKkMlJ4F0nXIL4/gEupQIAF4qlbuQAHSjuZABPcc9kc0g+W+u1KzmEqTt6/2cO2J8LMkz7SxsDyl7sf+fxkFcJKREgKi+Kcr1ccTE939LuTNkEOWJ9AlQAYOoT1HJTJdKmctB2ToF/qe82aMLC0KImHd3cqIjjvQe7/nSILejPBiBjU0kFs0oZtp7Npo2n9WlH0h9MKJl0u9o7PcgIbCep514OnaYBXZZqteWZEJ7SXGmF6J4ji2b8cIXAHx6HdHyB4h8Hg2C+nAT55S7TxTmd6nx9A8dt5Y377uQQUC5K4FkwKBxWwSNolWq3naOcTptz6wmQVSrkJMylru2RxrCs3zYzlYO6+Aca1iB9Uz/zzp8FN2dMjp+RB2G0kEjTIQDeMUKnDFIifUoKB38873GUySQRtFzMvCaHxrS9n9eKN/pU6HDNc5XctVaMCzkiPPbT9XxIcPPlQFfpL9AlRCIb/UiHEDab8fdZ86+u7xzRsXpI5XMYWaDSkUnfvKyQmLe5HDWTs2MJspUT1uPn/pauaAdvzbn2/l8n/pu36IGHtQq4OVPjz5zXXtYlUNq8HvqCRf87iKXZVhlQy3oZayy/iajc0VaDan97Ad8U0C+NP5N4Cx/UZD9CkKfsC2gBJUnponwsAjlWy1gmhiGszv6JRjIwzAqEwVFUDf3tvFkBLuK/+jlK8GCA58IHFvJqyHkBVv6u3idfjIqvOafCjPjq9s+TFVipnR8XVTGc7LGNeCMJnk0M7NCarDHYPpMqQDJLsXbDWpD2/VikRgsGxlioSOSNKX3LfY0z7v9RcTOgQmP+sVjfpQI6jQJUGn6P31ws+vFiCXuhz+KvylySAJvV7bY191fm/0FSwY7u3lLix2eKlYsxPqtZGZUE6kJLLJolzXUDSaDgR6d5GdNcMSG5pj0J/zIuE+nPzRrFGO8948CmpKqe8TN9wEcr7C31/tYj/Jumt5uBU106wF1nMOwPP8r+nap6Zdb73Pczdx7ixOe9+/ZgohxY8lU288U6ackgzkNS7jIVaugms25aoXio+NpiAn8HMl8SMiPuyQeUYVPc/64s3bQuCFcbEOxyTRIvPTnekik+LXoCJGc4Prf93hAaZ2KmJI5bKQMobPaynAsMIM+eMhGyBAKldIEF+AhnOn14CkgIPufpA9RFYDfHQGOohhNSLFtFhQPbufXPMGa1FQxC6FBVZoe+2qK2KNksvUn4ZPuL1ttwWLr2pCo9f7QoYsTqXTuiGWLcrFV/CZ9qzFiHtggAr0pRPQk14L7ticDWvwQ2Pb+d/PCMV3+0svdNTgCQLu4Pt0mvY3V3VlydS4JTyFlbmyZ5x1Fq0nEovqLaabUbHQDg0/nv4m8+iwHWF8PmV7Fi6mhGR4SY2Gm+/flVoTXFnn8EBQp10MFJzwtr8JiMdgzEiBj3sOx1jOcmBDZHKJU+5lapJVVLbK6oKFDe5QqmbpjwLvkzQ/F7LFKM0jZd5dqGFS+VLR1ycYVSpJxKhHFIH6f6JD6Oo1dVXR1MgnNlOS+TyATlz25+NL1V83iq3fJKG8tsNdHUov2NHChEHQabx8yYh0tWR/4ASJ5No28e8+u9wEPrmHv+XDPVuJE2/PTc9fteCVe+q2/yYX7zhanyVRUQ3kYeVaACaS1FoMq/xouS8YhnIjarO2gkkFKhmgfdU7WodcqgjmRD9nrpQx45HmNqfuOa4vUq5e3xrYUQ2Er608L5BKp6mCEqEJ8gc3KboHiROHxWhEmPwCvOBDkVtsfUKOOBH6LaV3/Tz2kdDKSpdA/uHI9AFqje++ACx7dlQadQTrRH4zcPLcWIPorWuvhy3bTjG/wGnNMG7cdN1fVwrYA+e+JzodQl7VDtKhxsY/NGGrklsJEpjPElkvL1Y1P603r0CIYY7hDzBwEnBhiz1mcQeUrI68KbscfJUE7rrGfuhK63zJyYHHwUU3Bw0IVjq2SthVizcM7ZnDEafUFqWLNMlsB2pl1YEGNYCWPJe/YyeGdM1NZaK2Scxfk6pl/ZAZCtgU7nP4u1aNB4oacqBVqxj7KIVo4VDCCxpmBtYYbldnABptGrrJqx6NELP1lzfvcCtojE8Ss4fLvq9YUQU2L3ba07d2zX3SXXrgkU0qw7bab4eI1kDbDjATAaFHGVhrR0wfYh2LwcBWg9+VUlCxLLVEOnPCjy5rvI6h2MxFqGDYBkkRuyzIkqzl6bl0soNTaL8GLJOtwv0xXxFx3IoqaTVVvXqjsmyKspw6CkoIRA9ocO8vK8ngE6XG4jsLv817mKpw6zUQXCeUjuTjpesDbfwsizV9IUsmbk1ZH53AJGKzDUjQeyNGDmKw5HjEogPqtsV4VuiBLI67E123fAAuYZiXkCidHT/s5j4OzrY2AsPffXotbgpeHrc0B+Sr+okSNAOz4Kev5fvHQQnUlHppLOuBm8p5Q10D5cgqVyoDjXoNeNr/fOIirqEWe91LrzBfKSXG2YDIF5kHNcIlyrGF6UUQpZC9uD6al+09n7k4KNwQIi7YDQw8PwNQePOeKMcsiDfrmGXZhjQcKRBNu494a33+lpIdkl58S9GWcWnoo1TMqgO30L69afGnv8MUPviZybEsHraXN2+bCppTAmuw840nDDaVv9tPOM6RfMPeG2YzqFaQCO6r7/JaMzUfwT8xNci1ll16owvEEvFnhKufvh02FqhxV37HKDc9BPWZktMhqKYsq+sLBbO6v/9XDrQ0ECoAydbSQ9XI7fPYT1LRGHqMyyIbVlu8BwoYVQUmGtgCfZLjjZ+iciD9+mJdh3IMCQtZLjOnGUBSUp5iZJixXUSkP3hqs7K3TdZU8xrvRezLbS0JmBmESjq1I6Sv9e1TpJdP+LKoGjPeIcKnxH5VCr13K5+BPP9r4m9Bq+zgh/MV8ephM9sJaTmxNu3//9CeLm2TqpoxACzG7+K8V1NbHLUMWGKmS8AT0MEEJ/0zN2Gj/uf1fnpfx966eNrhPO1KitGWD/r3XxnGKuvsrYnBxOid/TVcbY1KEhu4iMcPYj4l8zn2vp5/TEXwaqTAj77S/CWq2ZjQOUubQqz3FfH2gSWaOi3naGfhX8NWgt613eITO8GlpMfT1i686K/f9QSTr4EYrp7RxbIR0dGDekWWV/Xxn/DOTowLDMv+TT07sUwm2RqO3fByechXpfxPx/pKWur+pTl26Jyw9FRK/XQAYVHiljJQIqyD6WXx8gR9YLNWj9zXc5gwTTN0W+al8wv6PEcCTpbHBmbQCmUjVBacG/9FnkXCqcNrkUr51DqS0SkO/9km/qspPCvYDigBHOuAiQA42PrjSViZiHJm5evH1Yc+2ZQHVtaGg7XjxhKRvtuSWk+wPSA6Qk6kvQoyuB8LRvQZCtG/yOuuP4sa3q+3V8anunI1ZFaDqH8mEGK6B6PNQ9ik+xvnnmYZka/and9f1xqiSZD9dlutKTIg4jNNQ9nl+oT8MEt+Otv1lzGg8RhheK9HCgXK/dD7rhLDAUtPGy7C+qmKXR+9iGJ3WCLYDiBTdSIKz0QCNtE8GLtCIOp/Z2HUlssAC1MuWQM4ZdRUiMC4H68n+XoKoXWqQm8NoOXkYjbh3WtduwK2ivIG7t4eiQRYnZLQtDLRhtjSJEMzzK4fRtM2ayGSfPv+IafO7UGjArwQ5aXCs8RB/z6QCt7HQbp3pk58JYd9GASag6a2lBDpTVOeFjVQoOIKvQ8eWF9Qte7D2eplLNhmEWhmqS8tDnGiOneyju/xqFLUS840DoeqvAa5eR38792uUMVPQGu6pN/vDoHCnRqLPirlbU/BCTjjfb4cfnd1GV86c5fcWbMMpGB0B1AH2t0oX8bPo/N3chyU+SiN0J/WdstDg3Y2fckEvICXGf73DIkS4QcpiorntTzgEmMiM8bcKOpEntz9zpZ0Lk3k4PX58OZpGVQ4lxCPfBw1Ksb/2jEEk5LbVuSZI8E7y4xrGOe0AL899HLImKjgntIqmhanCntwozpLxxB04AuVJVjQM56JKYfcPnGUygyCJDebSGaoWQ1CESkyK9NN18sCFVeTdEspGPhGe05RT6an7WBan/wIPXweEoPtF6DhznwO6yTM468ioaW5T4fuPZeLyEgN1B/lYj2wTOljR38cQQrDPqLenHQR61DYV/mHuiBPI8Z0FDRW8N4b3QKaGU9U7yXRrCCw/OqDhBeYCPeCYk9su1SJ/XbQAHZ/ZZBV2qnVLvUV/GNM9PZlhjUu9eiWRBwJAQLhoVpiwv1kVpGH/UAtxNFdHh97OZA1tNjOm6cLkYZ/oc7LSEsmF3FvMCDkwuL/pzlh7pX6ApENsZeTw40qnNl9ADO7xNAnAwQ0+ZN5pOWNfi9Rr5gi+ZJMS3tv57s/z7yZYRMgx1sEgrR2zeBt+PtcjkCA+LUz8DO1xNu1Utl+uQoLwULtpzHgIeuCYyBrpcx/Y72EK1ksSrrpU1OqZgs6mPV7mKfSgCZ5RVbyhTdZnUrzshXXX2uU3pjbyUIZy3B1+J40QzdmVi6ZLknp8N3wwKIYBnLfjUJ71s85QFD8/l6YZeP4wmpB6faG4H1y89jeuz4jVxZifCPEdyul/CZTcHKBb5Oes/4fIRynr2oBgHsZKYgB3Fr97YiDj32cl28+Ld665aeryt5w8d4qqvoReI6jH8+4/prpro9mHAe0A14hG7goU1xdOm5N3E80DGwPe12K+thOMIhcv3b/+FmbhdthuCf2Me713lPNjQAAhjyW0VOVdZ2T6hHUSvssCzG7ThWfz8sm4dFvYqt8AyUI1ouYd4+21HnFec8ZAH3OeOBMq2atIjaWS027Zm4A0RBW1OeytDiOxkIk7KOJjslVkpeEhyvSBYM2bg3N0mPuyfC/WjSMcoaUbOVMEcK0vj9+qg9Uq57ncNx6z1Zf2lwddyXxzJJitGLCgWPWR2bws1lUrBYzytnRP2UaUDKAt7XgQnB9zl61oC3/8aZz/00RggT5aRS/xC4EGTJpq0gXpZygVOqseKPD1e7ATXeKJPZVCGfB3e54EWH9ALbWOlevWgcJyh1Hj57Vvn7hSVEzSmRA92buvMXvIOFHrzdBaRAQn9tzrqtWl5y4wQfNP38yEn5vQ6KLpY9EDjcn2Pgg0qFgu1XFv7wKlOCyJAnRgFvGgzALI7BbpilygBxPFmFvAjF1IxC0k9b7OjRn4RqnPAtFZzdAE6xLWoct7/5JCf2bwtkGjjDOb5EF6TeXMvdCjrFt/RUMDxHHBlOkPK6ejIKi+wkbB32nfTazq16uknt9axa34rGlzxKmBQ8ZmjV3+pzkMyxfuhmuxhhq02i50iHnm+BJhzq4zx1z2xjOoDftUC5gNipENP/44W3EUDA8BhLeRTpyimEsKgfX6G1ufpnvNj8VvBvvLFymvyEmLVDAc1Br+UGeM5DU/DSBiCLXC5Vj6zuEC0hA2OTmKhZkHww/IfwJ6IgOIkFgq56nB2ry7IFYROKxCjXYwIDR6X9C2c4NKlpdvw2Gf6lnIQPpG9ugEwFcUm+Govi3XQr6bjMwi7SqtUAuEudUOUNI1Z38QDHSVKinPx22BY3YYxliNA8bVk7o9Wwd69rixt8XRGXoA7f84lGKOU5NRSHfCMFMbA7FV2v4QGto6H1xT6IZFyBPX6T+ljPPS23wNlvZiHPNi9Hs7eiFkOcRcRTSpWdAT9B/muRkzKh+PlCXnaC+LJGOmrvw+rVxD1wz++SUBow9pRz104c8pnkU2FMDXTtPP0AnVw9bKTq2x81JaHBBrFQAYH3+bXR4pKEr4I42/Je8Gh4Hx/8XIq8xmMR/xKxfVWL9grafuLdH5d+N+R4GxQxMXGjyHFTEZFl3CJWTMU63oz88vTcQ5W/G74HhA+7gB9hWQfZby/Txaf0MSynfEhBNA8Fse1iGB4LLPPeiPRS8sbRMTk53IDT8t+5tr4iN23Vo0bm3fyvnZ5f6MBun27EoeygXlV6eZ2rEbMZI7yF6NxR8IEndAWRXMshSuTiefPQ0F2Y9x72sUgfuf8ocZ+We6PR0zUlksQolbkMV1XxUqqcGdrNePXlLo7lmZSbSIfQ+tJSkhWgqoa5kwVc8RJD9UJiqkkqbPJx9YjI6ucwsy6//G2B1NNiuluV+xKqW0G5a1wJ4J7cA9gbdW9mnV6bmHBvpaWn/1RODjmh1R640MwwcoRo41+OP3pSNHW2DVlqx6SLst3g+hS0yAFUyg1HmR408ScH/lI7NSUVjAi/sqqBrO4w+VVSiIe4la9d3UK+9r2AyjPTT/qFLwEKdLbKgvL4/GLyqMJ24XBEcL8t4HXKPRTUyvsnERKGZcCpabbspF6f+56p9O2T6voyXUBjDVGi4lYPf2EeEv8tkiOyB3FFsIH78q3/L1Zcn2m/dDzT2OJgPnO5TsZlI4QU3gQpWgswVePHJ55CGso76rG5NRCSjLjCQPvElemiQTkQLDkAd617hXf9luwaxPZ/aTkzeRfRbkRWQr3KduYUHu0azs++r2R7ktxBOLZVhIKcm4aUXITplH+n8VUb4E4268v8j9YSJeVoMO+mV5RxZEs79U/JfaiUTmRHwfvsWWHdptvQo/B1pzXC8hb4olaojl+56WUQ6DKyXL5GG4FDcze2IB6KJ+l8ao/zY0khpMCM6DXZQip6IXuypQwlwqdQQqucGMncBFbctGE3a7w+h8gGPhcb8qn8bcRtuAOPgyVp8eEF1Vr8RoV7rq+GES+g8UBXHGNDZWl4rmsD7Xi3vHZM8PN6Ksvfc+s1d5wMbnc3XA6e+fsjuNVBWWGSp9IPcFaFszfU6io041NPRov4OVqJ07aTerMYkOSEJ/5BuGWCOsBKocdpBURU6XNwC9yAV7rtl6Ulm1K8Yyp46RME5n8hPoTSC5yXO1LN096W+a0dcU2SkHyiwN6ul63JAZ/CSYlwF+DhRrYQ6p2wW8h019yiCV29GOeo2ZT4qSXt2Z+FA00mjStw8eydeu0Fz28ng0w0tTZJoEIMYJsb0ABcS5C+TTkUo/I3rP3/v0ldTuoawj3skdCauZSUpaHjR8zEMLBAD+6o0njKGd6pwCuJlVhgBVB76YsO0SEUK8yq4cOOyGtMA8NJOPMmqpki8BLP/MMem3RD6HJQl30THkgYhT+0bZAC6Wia4XATDK4zhdDMJAYMM+AX/gj7x4QAmJvrxny5hTGT/cJQSdsHW966UbwZNTfKtZCVMG4OGFtqUaOFRam7AUFbE2O8ZkaaVKTfzZ/+nkcbgWQzf2GRgDSX3eqoizKGc/DyvCL39DFXScqKWBdgAc1Lw+FQtqQ0VmK9euiaMFuzSzBrPiPF6Ww5B4b/JU95bdh1zp06fmRHp6vnO53kzk5y9+PsI6Q4VvT6RUsPOC2r47Exx+SMUV1U1V+vYdQf9zTTugGXDO66tISTxIbHiG99RsG2WLmzbYnIqlGyQRC/rOWKv1+X1NpKHBJfek8FvWjmAK4tvUJx9Ggo9o6fLCwy4GREDXlhUsuxo0egBDAI8x9V3nHixiuzzeRjsLvF/3hmIVl3xqREL+/aIO/yEPJlxBsjhAEd1xliQC7IxUGaeoi3VJJZtAKpzn9n5x0mK5cYGMhXoGP86Y1+tdU/mzYtqWl0sgZwQMxGdg70vocZMR715XakwnFw1vxHK2/BycjhhLpxDJGoWw59FJf0MVQolAl1/lEv84dMwp/FHg3DKgBQ5WKGF2Os7QEepj0Lq2b4Zoc0gI9nYEXqk+eWD7Akmt6cDZtrEy6vkzC6uLzyRzvlgnXnqJUa+skegSTM6CZGPDrHDKhpUAwrqaywvTyxK+sN9nx36hGF/P32dl1SlqFM7/wIRRU2P2UiSG3L294843Mvd7VLbOrMciCziHMlcw2PomTlr+k8UYspaDPmMxE+UBzQNVGLbZmmoDZ1DPisw68DdM5G3fIXZWQXqJoZOrxJ4U8vVTk8wYwMb7ybDW7CNDtLpbDtj5AuREnzyHGsDaUDRJrK/V3p73R0hqVN88SxkQ5yLdrTn0zAe7G7CuoeTGTvLMMnWqWpoz/MBqL58zbSHLpmxkScWgYGbwy7owWwq+4f6c0/rofZe9zO54umvEiTwcydsVu5bwygovj6nshHDYO8lq2RMxApeSiPYXFPejQiiRA6mN57BtBRjJIaKQ5Q67LdpCc9EV7gxjZRel0F5/gYuRJj6KBQZIHD8c98qLKbi3H0cem9I4CfnPav44L6PUq9jcHnEuu64O8mpa5NMjYavbO/qFtJO9TOyrOxNBrucNqvY3tSsjxwy/xyhfZJ+B+7palWo6PMNiIUCNTouNTqXQJDTTmfbK5kDFcv+dJc4MgFhTxZ0rbWrw1uND+cxHLJ5DYXoofA2Bc/ybw8NyUVUJ4NekNNoRDUnEBwAw9a3PyURC09NF1+jyIJt06bR61QRrw/xiCB6lcU5eeBkLHFn7uIDphlHy/CA2PNdPQ32555RPpYhf7mn/g8efYDwA0U3RtLwOZrkfSmBd+zpLGB7cfWN4XbMD9t4M7tQQoFe2VMnPCWS7amow/+nFApgoZN0Qqmcs8ovdD5Q0QlaUivO5HyLa2WN1KLCUnQoz9qVWAiKCECArMPaw0KmpX1z5gHlsiUwM/D9a7Ud/RjtYu9FEHzPBl3cyd33HE+dXa4mDqNEwWCBV5BDxeibxlBUngX/eFPiZH7AVdZmlUX4GyoWI0BXktw5f/6tTS3DHvZURQMaKQiyIE+bcwXKa1OQMU39lZI5NYEapRx4QKsAVOkk4TWQtHWU0o2jLWlLIQ9wEOeeRvsUeG0cO8OGG9CckpumO/s8Jny51PB8gDhrE2OBe4L0XoIQSdEzRmnlmyBASuiHhWgcWUCZlZ6g5vqxU7V4C584OAxE52RuMiqgiLeb6vS2tz9nHlLYJOC6rlk86nhaAdnKr9oHb5iYsg/cqufAsNfhknQEJ8jJMtXwpLDmtcSWu+stwQFdca8CuxcVxkAn9mMUxuJzJ5wYfa64XejpFsExF5I7f55lZVBUOOF7WDN83ObVJgZj2UkdtLmQ6JKqcngDMOofHoBBairWviiNehnE/q2udYonPKDKK3RfD8gDZ96yAJwjBvhleSP3HGntI63zNV5XB5Z0ZL3hogpJi3rUYFoNiq/N6vsGsMqyKiYRKsBRffcpFohj7QIMI49NDTdgYcMC431nQPRp5cRt1WDRYXQ5hgQqqwBYczCV+ORNf/DSY2lphmwrRuaMsqYmo7hpv/4pAxmZ38vylnnVu+lnJlNAHhNychafeUXiV/uO1ZngKhU5soqKE+XvMNvvEZVA6z+OP8Q0U2OlG3kkeuK9THUJlyI/SEqkgVFPwQnNnBSbWI16XTyjOLIKihZgK8ZhLRG4P0sy7nCvcjLu8Ithj8QKL2lptR8qBSlVLhPRR8vQr46qRTds+7PRI8VtuPLQKx7W5qWYBYArX7NjzjHXqdCTgaBgHuPk+SaXRgJuO2c13J8s0Gxbw7As4SlTGyqPx0XHAFEUEv4Z9MCJjwYAX1y8C9fb+0my4QXifhxvMHaynemYkxgRCFoxf+h4ScZ1+3ehB6A2Z23DXLcJRC1jx85Kt0NSJqHqtpmlma5ns3L6cW09EknYbFwkAXpZRWzvteTAvTqb6k2JArVCso1sf6gxMT/OSirPqDIKIWC6g0QAMsqEIs32q5svshamAGit5clwccqIt+LyiRAgUoQqSOZg10vhC2j5V7jHd1wCiBfJlStOeHvJDCPDPoBogSgx4gmH6s/9+oniW5WLq8/q0Ic93pqcsO4+fmxV8MHuAS4AIH7OgX+bH6pvNLFDPo/JGuaMX2+CI1ywWVYNOl2uqEUtUVLXMDiqqnpZRlEaeIwLwW7cmAlWSkL8+ZJyy8neyPa/r1Gqv2vfV77+cuUn1djCKIT/Zpsld3kPRkQqiLRdnvPnjAm+bpE8MOMqAFOzUQN/jPgvEY+CAySQr3jwQt5iWaeGBlF4xiwdIbNbMsAyc0TYTf8ovO6BIgA+wzDLQWDLDqRt5OaYEw3dWqjaTL1mwy3qJ9h9p0Mus1Onv1Ca0U64cJu7L7vE7A39KX/UXYeIXcax4iKaGpJU7/hStO9wKHRmjgP+meVWDeTFvcDhgQTky44aqiO1oraIjE4QJ0JQNirkwquL4njnZ32aC+1vLl+NAesAlUf+dOhXs6SJQ5MwyJplvi18SSrKX4OMEPYiFZB0Nshp2kyDyywFeKfCxhgX8SjzT/1GmN4JpqHKksNHHLsqlqn9GHgG8EbNYXYVl29uxUnfYnEol+g2x0wSwlPsZ/M4FT9Uj7ctON5Y7mURlEqE3728nb9oVRoVk/kolSE92jj6GP8A7QRVSh6Uwh0QBYdc2B0pxS2mRxNWbD42TTJ+rbzOZFIfE701n0F5rCh7xRlisZUxmmK2w6lcQ0Nd+LVQ3NtT8NLFvzTqLt8vjAhv9tF36jsm7oCXz70aHoV8nrgoMgYF2z1hwMg7oYB9L8N29cDb5n8Od6bBuvtgPjPeI/1e1gt65+X0AnlrWPsQ/kzgtYLIQFW+O6gVyrEOyrt+C3k3oHfH/YNYer3iZzPeKHCjFxTJJqjbXyY04HtAMw05U0tapVDKq8DPwi3Vy8R0r4fbiT7gicTnYDWFXKrCPfIpAjNLY1C5EalMI/zXbDv/SqhZVycvgthdD/Px5DrZ89MmZbnjI9ZsKVT3Gg4i2Af0fEMEEdgSDYAmlp/3Uv+WdCy3mkv9EzQO2FLWgd7lsAYt2KPxuRKFW6/eK+4x9bGx35nz5z5+Tt/Om7CK6evGFTvdN8tOwhFygpQSRq8dTLe/D3z9syU6p2TCORDIBRidx/XVUSkRA3s+2sCcsGcp+8F9sgRet6P6FhuLqWqnjy8n2nanLOoc/W49W6uihrM+A9DCLKAZbGYYm0BhFbHQbB8JxSuyYoy0gyPWgPw3yd0SdM+/9yIMdh4m72hPiP3DNhLaXwjeLp4cpg08okMPJQxIrZMxZxNvMIIK0opBDx1dF5czrATM37IiE5QSZxw3+MKF8RWKTAS+KbWJotPFAE+VkH1zCsc3kLz22DM9nl4oxfz6reRa3AAHpSIoC0Vl5xpu5TfunuDJqhNStfeqT4ngNRM8Z+l/emVKc33NgN/5AZVaxjftXiQa5aA3qBp/8pqj4PlEFuXClnBJIr+h5gzpxnhdNIc9J8UmUyDLIXyelEENUqDYzx65iHtnbrUsVpcJnz2oVtWxody/wS7aB461KM6HOuU9PlPbuzv/Ja2I+MtY58We+3ejxfjyWh6+pgwI46iW3M2o1fmqWfCw0vc889HChXvP7QX2FjJdRLa3GTWEhDxPlDw+dH8N3pp9r3pKylLAGC9qkl7G8DgxP1O1Ok6OzB6al2+5x7nNWTvAFkLZCLs/vUoX3pSnwW+QOEZx7EQrTQ1RYsfqMmyoDirVQBVpr8N0cnV+NGAWy5cNZ6EdS+Gg7efwX2t4DtPllt7SdBa8o2M7E2xXo82DSF0MpMJrzyrwsbEY1OKtHn5v8RmPNw8I/PujCjQzvgZEyk000UkQ6Okm0HoGKOqnYsU7gP67MAk6VQ6QupKM3hA9RaQojbKwx5HbRnKanPOQLWA3DaZDMsM4lsqNjha4Ml8TTZB3xjvPCfAuaQqw/sV7HTnIYUhnCFoWNA8LlGLo5KNR7Wqa/s/ZniBBbd8I5hVfAkt46XFUVhTKlmsWlCungrv9dTQ6fWYN29fEXydLeAP20ysJ2KaEjhmpPzLpyewo5lNxCIZgB+DcK9UW3qy+M78DMhvi4tQlNzyFGrtcCfOZprj+fHb5MMe0hC3S9j2Q/oA1tzV9FFni5lfmza1yCk9aa+VB7BLhLMRHPFKR3QahbQZCuGgSQzxKZvBVF1Nds5kaYxyUYCmzCJ3d6lDuA0sYHbFUDrsWX3+5inHN70cJsf62OnwAYerTPOwyZ0yg2wQ9gmAJMr9N6cFkN+LboSBF9X4fssAgtBGbDe62DABvJDVQ/iUXqjSL9iVIpM66SKOmBgGPS9x7qjQCP2tG+QOZulCNpIoWPk6UDA26jdimsx1bZZQVKlwO53Qnf64vkuVgnOwJn287fUb4yKWZGfXOSzYjFreUlSFAP17Ys238pbY+vAjvW71KGJtMLsx0JRD6bIaZLm/dwR6Rv1NJqKzMsZxDU9KdmLo2RBEXj99HfhDowNL74egPy/S1zTy309kVnhCVuz7+/iI77IM8VKd9YVzpTav+WxNhdJqhtMafG+6kg5zpNhIgjJwG4Ng8thHUxUc8jQFb/+Oajy6oeKifESgQCO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qd+jYKGglgT5XD/yPkKMTHv7ibnaLc/eeiLYisdnc2q8JMZg3TdNupq2Sww90yA3tAPHP8zSJE0XcFr1c9oP1hd/sOifyG6GpbVXlbdUidEww7Dn93HgUUHHNlSfgO0tMTBfnmrpHjrzSQF92Prr9yaHK5wnrsT+Gi+yRYXOt/Hs4m4TTnfN9rQgBCvGS8twBwEl4tosF3K6Y+nFcb9pCRQaAoTo8xx75GqKDaXn5OtI5oBB2vzbufdhaTeL+bMUNAzsaN0ta+cy9pdEioslrY9wpi9sIzCv5y2PruKObg/tz96BEiwzeufiUb7hM5xbEDdA8RQovcTcLdFHgdsg0T3ufuD9LBK6jUlmRoPDvm+NI0oGxP2AjPBhvM/ONU9F+Ymy/F2aPLVPhp+T/VnMevvfjqjxpWweAQfGsXg0MGP+RlLHy72MHXDN8HSSv/tzZlwJ8kkUidXrYPHoR1YautDPGH8mggI8zPheF6GxZF10F/rkRSCRrI0bmnY5AjQ1TH7c79aOzHdx2p7bWHc/1AE5wqgVJbbU9hfB5QKdtRvKSeqQuzOiHijJOD9pcGqEACkc6yNqTdxhFtYjr6Dr7fJlvDbWhfvJWrCww7WTy4u5vCArTKXFj1FEGkdmcTg08m0a4mGc8weVmOjsAbSbmJrYEGPC8gWdBAn4oWP1nBgCIopaRAnpbIHBUikmKWqT/LqhzZnZZNd2xqm8YpvONPAwzdOaoczwd3WYuk6gFoVDA3kzVnm7GrCxK7xuzihbTLyt1jNo89FwLeLhEqZDUZlxl9yy7JHbPZwW+EgY+V4uvHOK8IGsjTVZWiZ7C8vCI9Hm2qxW1zwS1k5CZWb9fvacooJXbPnWc585Itmu9sZJKilIenTMcnp1dMUnPIk4jTo60I8Ivc+3GVorQuydFFUobe29NBp/CfQ7Wrp4IZneCKKLlDF78SESb0fw1IjDeeBNzCwmaTFWOwm084II/NvwQ9UxFMwy+r+BwgDaKgXaiPdMZS++2G4w6GN8nW39ZKBvZUkZBhzYpY5YlAR6dT+/pWqxpwgWc6QZncZ+05esmJzQ5WQnoUKyoZe7fw4N/R3dyI6Ya3Qh5D/8CozNnZadQ8dD29CzB852PxA1syHi7Jue3PRfQwsG7sBBfRJulAzmOuNMCdnSr8yTxmB5QH5i95FPjmnrCLj8Gy1VBx5PWChq6U8NIyWc5V6b2WnrAe2xtMGE2vwoi18OAimysQMP+Yf3eHa3tlgxIeajrCrXm1+eE56Anh+tjjsVGHU+6msSTUCp5hPOUq0zlGDT9zR8A49hLSccxk1s1LxMXSF+Z1rzMDBEh7+fBWem5aAhmm8xdD3XgAfqFxCeC8MCTkLU1KkQAHSN4k8m3aY3W3XZoJEfQdIlBvWfuw3ucjGx2MhXg72E+y2yVQSli3+6DaZ/H6j0ZgOwrl4EmUYlnypTah0rbTEk7UVox8bcqgxRPWQsZqdyrAbKpl4Ag/6A0LjyXt/DMCAH+5eZ4Q3DpcYJBs0jcPhYkp+pOtK9NVM0rO0F47gCHMsHaDWqcSQ/QRqAE4ODj/nmLB3jrYsjiZRcHilKjazWeVtv0NUaG6R8/grQNEz1+155DD3P0ZZSGvhXJY4lzOKAiBzxAqR0/vFwEHAvMXYwstHGlGl5ayGlnz0gWViGELYQNOKj+373uCeFIge4qVE+pfb8i+9so9BDi2iStB3ciHDY/xY1QxvqDh97Z89wkGV7ZOPYMHorb0AxWFLWj/spjxTMz9yr3L37Hecg7Q3LhpIp7B1VDAiLCMnNdtGReAlQuw1P9maxq6uJwkP33NHfieeaN9wx7P3YapNi5LyCi7T3D4PY1mH6KUX5CilcSyKQw6avRqr8lEkNFaxIbR0fk4mKmWtzi1AtH5TPcH7r0xIoAAL68EogH+v69aBkjVgjT2nRebTPgNKMGfAgXXxi7fBSyXUlLRzAsKpuFnthgFDwyQifOpvHuRK2sI8u2Ju9aYxfFiLgGcCNzCcccesytqZPVPF+E6N52V698xp+Rl3JCto0/iPe2i67wUC3vC174hlxxd+z9oQ6dQjtRT16wcV/IBKlzt7z13Xo3BInEIcY1JxTf0+i10HIOn7pNaOJ7nnl/l5Z6LWjgsHUW5QNRjqk5vOrnsarRgJYCUBq7RYyCCU8FZTIt/yrsOcvKlqabX6O2timcrka8OA0nlYEKsd6SAszRsIxpUCqs8JGX/COxkjVQQLtpdAz07T/LnovoHBZCQcQvuxQMZ1qIrktQfUqnzMO8JrXdxeaboqw0+aHssRuCD+/6IpfH9ujVH6t6kpRSQnhi75iaJO9j41UHG3PJgm9HFmYGvU+dGC311wzC5TlrhKPwjjqxP1JzhmRZouEKBut+F/QomkHPCzIROZNUUAGSU4hDAdtfOlSTDLRKWvZWMkhOHOBgNKezDr/9DFBd8eCQKE0JcZfnrqdLBm19OnjvWGogTGCQANtrpovmeytDfmnulwY5T8jGnbM/RKEz0bROz1y+CVuY5gqU1O1KaXECWncsJ254NQneEa1IvbcFoYjAMWP1etRpPhRlkU1TEv0y7D2P9Sx+7uPGq499+bT4ZI2NjkPIR5Yx0jzsvoEUIFn5LBnoF4wQ7E9+0xxOxjiFkSeyK+BIkf2CZZJnq+ZxAws1jIoGanl4k1Wgb6+7df+oAMeP8TpcrPN5MLH+c/klW+fbI7sqvxtSrsC7RCQqtB6+hbLwsdZZyRcdg+KyqxP0LVpShyINgk6lRE1L2/xY+SPKWPcb0oOUJGkQQxqww6mQxSBDBEJgtuWKHSY2iLOsyMDAI0qxQAYWD5GxgBpXIM42amHYEk7OQcpBay+wuJ3osaXx6vj1Za2wKM5+AGT36BiZdSRN6xx3+e5N5i1bNNFOcVQLdPD6XOY9oKpAWJ2HdauKlqOlFohs7hSJ6IgGdR128oYzWLNbqdjHVO2YdG7VuraT8FVv4rZxOgtYGUrPP0qhq4xIG2yxvvu1mRW6fuQSZDjdlj2utL1SN2t3mmprr7Nsr04XOLadnEGoaHEI7aKtTWI5EOvUpBxOsjYLQWCCHWSzpszFzLfiP8M0d4I3gEd+cmKGm4kutZn4kdyNvwQg+PtrNQ4we4lEG4dBZGkOLjzdTovOLMH2MS4ECnIqRhZ26OosUwPo5geqv+KPPlmDnD0gIbBPQQEwzuA+FSIEmHHx41MNjno4itm2FVF5zUs6mD4FOQ4L49cT+aSiXEhg39dDIt/m1BJ64YJDnePr7Be4zgx70K8xFmCOXbeZAdVA9t12RJUvWj+5Iv9ZH8SOwNsAQeuxqpAVqem+PKhWEmvthC4d/g9TlbtiKnnsb6ZkZCVy1koIAK14e/Q0jv/6JLdswbwJBj7lJAyxdn7F58jwHje6TTnKl5AOtCuNTRGmSuj0ciEr/+hl2PpnFpjImNxQdLjWu93nNwkTzD6rmk4YB97SS6x3cuB1Br1BTxcRZMOWbbwfnvxC4EqCUcXB9ecTZErAzSavigkKKe87Hha5jGjVcVrmyPfHWdbqNulvXXF2BYb5LzW7g89yqKCC+sm4Thxhmt/3Xp/cbZdLEDejjfWb9tPxFEbdVYHwGkzNloy6B5rVLdHRkEYRrUhgzwYmzQ47gNC/ic1PbJcyRKMDARtUpDMaaLgGz1vUnN9aqRmfCx+aAEg8xqhoCuGXCPwojTVs3YEN0sBXj3cfH5RY1nxcEkV10fLfvzSFAQsGv/Gyz7kAWihGmnZlAPsBHY2c8YdefOvmIeFOliCfAZMnZM6gxHVobGEwdyu88W2GWGOcuCiIM/gM2DmE6LknQj4Qz0khnQw2o/EEZn7XqaxR0LMeq/I32hoRXphbzWYYWbI9tFOYyOiVt2br0kO32Ed7eKmHy716VBnIZ8G0h0f66/Iow9cuYi1Jd0Mkm4EeE+wjAbTRjKqj+qF3BMC/wZ1i4To5MSZ0pj8FVDl4t8pM1F3GDFoHAZJAHWAvAhQ7LpH0ZVZ72VTT90HhFBVXhGi+Ji+xA/ug9wcBEnDXA+QdB832wktwDs5O9XLAARno1UELHzkOTBLqB2G2EUg8vy2tG9ebUwafVGStm0rD5F3dqw4Wss+lJ8ZjIIZsxvA1Auf34VVgKz2otBnG8yzBSlqvi0pBZ17ZAxmSIKzY+VxIhTxPAWMVXTta45G5GnWaQaAoF5qPTlSC1ki646SrJyT0p+pfFlw+dipOaOmM9SdZODAf7GOa16reFIA0rCecMKF5E3egp2HNiFCZbE6aRC7yvEMsieA3QZthAK4G/Mgxad+nCb5gc4wouHSA5sOthEQaqgVEMfnA9FnHRzGeKSsQQzqa+AFTxoUNS7p88TldZq0DBKTzkeELV5R3T7UgJxR9OprpypMK4RjP2V2+Uzz3Frgz9aynVINllKaxZCCAZToGIGUe2ZTvU7di55VLwHALNM/T76WU9oXSGBnjRidXRDuSzo3wTrELZvZFbE8gDLbjjUKp5ZIO6O0fP2r425q+Al7eXlOP2jSzv8NXsf+zfou+oKCQybrpy2bcc0mDZBhWMQTCgURUFr2HMvkIafk7h1YPpAct4UMxXRZ7DRRa70JcX0X4HVh1uctuZlj10qvZNOnN+kBchSmX6tIxHXcc6a1o0Aj031InxBuoazMhnbyfPvLzWFLZTQAwRGR6YYh4TDxQUNAwmDEzQZ8by+gQlAoWYXvl84dOtsjF2T+NFy4Co1o132gRZuByAA0OM5lCsijmId7wQSxgMCR2BcCpTZtbR8Im2SvuXuGDCRS+lAD/J6gZx5OsGUaRK0GEzo5OvzHcQpeL2JGylgmc8x7iAOG+hZ+qTIPoyAkb4ypnUERvpGCSlGP7d55jPjbwvF2ZKZFQAKhLtB7yNSif+M1ld2l/3JexxoBFiwM092+q+DkoyrGB+wzGnHFFiW6MEtTvdNykqrfkJRiipfXOE78i3BOTVca9fgsANIN2Mu0nWi6mIZ41fX9puywWe5PCl34hGqGdMHrSDPHgs90wCY4p+WV2/y6+BC/owkQLrlvDHj5EO6z7Bk+kK1B9f0YERYNiiUhdy1R2FxV1R1TYuX+PVs4oFoKfbBOG7p5E4aBNZHPu5y0Uy3HpmXJt115HtF087B7gVDF9T4bnnM4TDekJSw6Ljr2MnvVjqDl4KDowKcJIUBeKfUICskOEnOa+2zRw/Gcx0Sowioxlw4xVRlNaGF1HufbH9JvIBlhXJKmGoeMBPWQMa4MaEUtq3SRXrbCeMhdDKZ29ZRPKVpVcRFR36+7JfgmcL6IuFWDaDY2VcIY0let0RVTmxMHAzUv+bXBPUGB0/X8/s4oyJGFwz3ftViGksLSO7Ow50Qr0Mbl2j2qowoKvU2eB8QaOBZe3FCT8DuiMvPBmgMLpkpblBwpn2FQXd4IjE2psntc/emYMuBM7EdC8imz67JTz++EeYyku69SkPNRtyH6qBtM47khgxUxZaRBJlVAqZjq0rfKggm5qUvEJDK0gHevy0/tw8W+Gg+J9UlN8n8R+6RdYJJsJ93fN27uzDMPkwApfffbePEJuCz8Jl+VblT7NFrU2jOQTkwZ+qvckf77zJZUbFnZoQNZM4cfQxqC/zfvCTDokkpoxmVO5OtWQwf80gNS6qDseDzYqh8qVgc8LoM8W9hGQRd8l7aoUQHbc7kjfgBEStdTC33rYlU8WUS2eb38NVMICRCv67xS0w950/UBciREx3tUxC7OU5PB/zGGt64ulxupA2tM405aKC114jXcdlZ0PuUWc2stNT7I5Jk5REdSe9gWUaHSDwFU8vVi7ANnb1Tmtq1+PVaIF7zy0wWhW0dy/moevM0bhAk5A+IHlLQeiSiritxIouFqJnJDkhdi4m3pZ2Ct9iF1F5ZpVFnDKsdbCzZDC5aQBXflExhG6rHAwGa1FDE7YWc79plQbsZShcrf8rw9qPzAl0BeSsjBxCJGDffR2JKmB4fbiuQkdVpZ4535Ror5x/I+XIhc8p/7cT0KygPOAA/t1SsULxVbMEWVhEAzaAPrFlccxvB3KHw0JvXBqPf8VjqLJcvntQXZ7KXQwJ+43bC3Nlf8DxyvFbYHJMK6ZT/ADf+ie13hTlMssjUMOQZjL7V40C3570DCd3KMfiASF+bBN/Uog90ghxdbLtimq5UaJxkC2ZKyTlAqB7w6tuZFqUn1HbBsqia8JYG4EHuCZo8hrTpzlAsS9AjXR9EO8fF1LLohhiyydymOehqcIKJxlhhoxeMgPiEDepcsRQNLXsz/7jlomCU7/8yGUWOomb45Yj6ddjAfS04VsSKGZazMQJf/hFToek3hR0FES7W8EvddbfN8sRz6LCMvaEbQ/QNhlxiyg057hPJxwDKt9FkxgpCmjssnvBoDP4iLpTL73NWM1ztyCtlJJUB2Gb/IiAMaLgU7IjWbaM259RocH17oZ6LO1t63iQQ9hDNsakKFLQ5JnDpJk5bXYsqPi+9Oheo098Eaf+FhVEigZxDVpB0927/XkpAhPO5vzuoU7D+0Zp+GnrJImabB0wUFy/mHggW2JuZBYeI+pbC0Ob/QD/LY6iJPXBbdg+iR/DyLIPS4ocXb/0AuACYWXdBT4hwRHSHj2CgZdZWjAI2r5LtUlv9VUZyLMmaHVo0mKQWHiZ8tFKQhp3sAFWbmdArCBA6HeHjwwU2k2QliZc4Y/W5yNoJUFJ38hhda5deOqElfqa74X0EqVPiZ68aM/ld9IK0mMsaC7dnCaP5u6PYO1RdgDedo4QatdQJRBCjpAMw3Kw4O7PaIdy1CG2USBj+10ASEf6se3CCPm1eDOwN1O0iyBU4/opmOItOMuQXEfHZrQiWU5cj4UrUSUhVKC93D/Hw1y/6dCwN5ICE/SdnOO5NHJZ6v0W4FPXv1IKolFygLcL+P0LC6XCVo1l/NWhof+GhvaopTDoQdljSAae88mwZ0AKYNQDOdLv8JZMOAbALVFj7VerFh1Eok501/YHyIy+JZB/OfjtUM+Wv1aI9B/vxAom89SAACxAs3yZ2r9xKwJg1aEzcmcguJfPTm5mqNLi9CYGNAdnYVh0C9P2hB6nHa/VT1m6JMook8+NKRAxKnhHe/2miwBZ/ZSU3hyuCOkMFslMONxS71/KP5RhF+6OX+var51CpK6I/zDEmyZ+8KB2nUT28uDDm/LkBNUTr8sTwBDkwe3m6DbhPQj4Lxt6lU43T47awfmpSafJnT+H7SnIfWX2PpjTfMHhUvSSNOj53Lb88VtDtEN8g68thbcWTBfftHAe/DyS2h+tPV2NNHvCSEEL7Poiz9+bjuC2uM8OUAwo1KaPFduWMqZAh5A7CH186jrvkyuxa3ChFpbg3ETfnBxPKnr33TAVciaK1LlI6NwAenZIlPFz6W0q58rJJ/s5/JE1jCgiQp1/Ix5U968jsXDmTN/tViA34apgOjX+dOB7lEWyoCbmWJUaGowD9oeC8r1zCO2KevTDbupSqw6kOgqF4wOKJfm/pzi4ofMcM4PjL+fYIQVpnLnxP0Jjuy21Kl3rfe8xDGRrqoGvm+TXGQWW+8hW2CAJ7uYZjum6Zrv+qO5xdBWBym69V3ZAB6MmrU2N7Qatao+vz73IVduBR/WKFNhYzuC6pMN+yFGPiRt/BEqoVwKN/QFJTF3QjYDafZZGXOp0wLfScllFBq/+KfqCcPvrPy8UfevtHwqP337PjabHmOhS6vnfuGkTBQCdmEQ1v7bDZZNrcTU/SEpviRhDJZ/ADnMWE/PUAVB9rFp4D6IHiHVnTNHK0zn+N4Ll9s8CaiDPghAMJWepFf58QdK7UfRGg7qIJpveEhfYMy9BnzlzZrViy6E+yv4Fh4BUFB/lVrU0l6RePnAHmenxOFFVrfD+zUFl2Fb900DANfxJSit2AKE+b5Qdxoq4kQG05oCEXazOQ4fhCLNZgynkKUHrYdt68B1uh3s6WDtoBa5ffIDvrptPiTT61hR8MC1nwpnhn4oOP8QRlQBUAll47WD6se+WYZbWHPkEfLX/f+3XZ781kx9Yle+ShyoXrczryHStGTxQK+q3SzEqEA3u+o4/PF6E/krN28uD0bYYo6q5HyQXs9x0Wv17aKgubYhgKni6na+qVQbWh08gReQC4PiIDN/Nz2u+Yhgi53KWw0jECxAXsllu6LLaaHFmd49j8gzwz61Oiljp+N5Kfzb7XwSUzAznTaFl7y1RlhHHXLqNirCzFTqLbq6Sv9amZUYmg57LyG8UpRLd4+NCLfrVLmeXHjenpB26QBZKTcTIdYHaEzDNcOX1BnzzkPHbstZ1W3zwl79jl9+IqrQe3CpVg27aa0bMQaRbrMApqLOHLojW2JofINVA5LxnqzJAWhY6Mee1/RKCoo16ErU4xr4CRGfxpGj92C1JWK3hoKEpsBwGXVqoY8gFtPFpmgmzvARw5E6GUrpBP6o0Rm1dSzHNh3FY/lDd99hc/g2Pe2OvlVb87LUn0i+n116jMAOafRRsKB3WNlvwCtCO1waxcSuWxsystyH6ukW0eVfOZHr4avl9xz5zTK2l56tbp4HHSCAfhEjWMK6WY8MAhEMiza3bedaFJwXbyig66cl3n7Wx0V06XFqaw+r+uXu+k81dSppI5Hhn5aHjI0KHrgG02zG8SAZ7GEiFBdxmvRZRJQEZAQd3lP6Kn3Sv/ogSyvuhsZXeJugiEirGZ+dafMlbBshgddudKyZj1RtGrv75oyu1rGpX+MzyOr4aiul5rq1JzpZn48hg1QAJWuxZCCoc4SavI5h/0ToXZb8s3jiXmTFyaQbL3PSggZ/vbXCzXgk2snqPUvORn09QgJStNnzkmUOHHVYDip4Acfv0aOqnnpyNZuKIHtNQB4bhvUA0vzmV73njQXYXFyvw39yQyh8TG6gW6E0LY4JGsvCNiH4GiEZi2s4jlpYfeEFA8EEhZ0pBTZnLjvO+TlWd1bzrju5wqUAYABrDneW9nFTjdqxSuBQ1+ZoBEo00OxpqrwLM89YpXjcXZrIRuhOwy21P2NQrHSgWfbYcwlis08V7Oin4RtdvjrEf1/kqPV3L+p4RZUPoU9VnBDsXWOGPMJXTLpJtNKbpveJSmSbfTuIRf/UBsEpAcvMA8/xLNNH6EZbxpRNxDeXmPaKc8qSyJErVPghZk8N4sMZAlGWfxGBvjZ3c/J+0E+qBtlPWsjkracTmtDCRfni8Dz19JQoqunNilB/s4ePadd2BbjEna5MNYnoVnVXnHn13PuktukapIzRIoAv/8MybngGhsQ799haJjTPJmfs2raBUzEzaClJdZGEs2rCOHK8x9lYL6xbNzvVRb/gbdXbCaB7NoMNIkzbzsJnL8q6tLLeqr8AUZ1fyMoutq6Xr72WvCf3XyqBwM44gterS8JUQLUNsCv26NlA9rlpcTH99R0Zz2iLFk07tJFw81iE/K8Xow4SW9/kxq7ocGyu3gYRilwWthcTF2OaM5jzkOOIVUMI/q5x6qZ2zSr8DZU+FuE6MgStZYZ8DywEnFMFgVdzYd+Q/Z4rcVAB1W3D0sPTN4mC5s1FcGUq5UzAdXdb21vlxk4TSEqEp4c5bMgA1Go2WVAHp4+kHcD3NjEBz6EK0M5iLSotduhA8OSt5b8/0mUZX0L7jvvZ3+IcZ+Oj26xAunAkr11y5/JER199y/e68gCx8lxuIGEuDHE9sfFHSWcmVRfpLWFyw7wFqwQTM1Sx6THZs+2OXxG1FF5X1rj/qhjZtQo7ktSbSDLkXxK6rzLeBk3EfEJs0W1LRY2H0GYxK/MXGLpUJjDQFo9vwBiehI/al9UdjGGe4xR6NUiFSkBTvdnFcoz4Ccp9AK47TT7KYSMNX2jOcNtqGZw6eYbIuN5OLghSFTZeMDiGLC/MTrhAibSyjdLUpgBP7l8JvGRQN+SaEvKnJIkL5PBlXH+qq+fjrbCmR9Q4uY5j0ovHqjxR8kJOEF2e6VfWMdcHnmbsEKuPlwyz34mjf2DXrxYJyC2IHr2pI5+uKz+hkEjjfRrR7ZIAPJYZY1BslT1Kf7SKYuNUugz6JrEgmGewzqfDT8wTKSzqrWM/8wbbDp4RkyA4emmh2XrSg1/OlGJYFGcO/hg3e1XYNz7Qv3LQYlTSXIV0TREC7ghiqF1RqHt83B/59PcrRrwCvCL2ZETC6CLMQCqvNz8Lq7I/sMCcYy7nfwwDKyF1hMK86S/gI7eLkH3HlLOQ3GmK9fTU/MEOmmKODmVuN8DKOwbZRwg2pSrGmqAvwNvVAQSNCcLZ/ZxQFcs2uyUwLB/Id6+VZjzvakZJ+XAydvXf8vEeyaJFak94fKDwPGlH9Q6GDGSe8EAmQm7xw9We/a61QzecBahvfJrfLlzpmQ18ecgLIRRBcBU9YYskD+GLgXBsz0RjRAM7pTnX5eE7u+tekhGpjWgWmZFwoYW8jJF/oTo32NtPsjhsgiCLY3uuheqwxiJD8zEzyUitJBjUgxpdS8z68SvmeeyI+xZWybjU+uQwPrOnbEv536MnD1YPGReEC5TwQz4Sl1ybcaZYynB1eW33N1XQdR2URoYM3BM888trXs8kd0uY7OOKZAcjeGdJ9lJHnyyqLAaz8TtYp3/vQ/sdHP9YZww09Fer98xc49CCEgphSKbu7gYZXW+z4EzgQGxUw6dqpPHgv9srXaIF9SXCLl41ITsuOHW3qSXAZwm0ZjCQ3C3ccNahxti7zKFE8rNb20l5ETVsbNzeTrzFBEotgCiDHDW6dhDNHKNIzbrwytNKu5DEZXZMbPCGVJ8xG/bVbcOxq5uSSuoHu//3VA7g7I+EZ4ivGmT/yt/bsiMnRlK0E02esTe6FdgdDOe2H4UK2JF/MWYJm5NeIhXWGkM0j9Hgen0Tr9G7RhNfBOwSYsbbqaV3f/d5LGwtBJ+wSBrVz65nIChMm0uPTIPY99TYThhtNgvjZW6Nk+oqXX40bZxyPdgpiV5TX08nQXKLIgbLq/eSttRU9W81QaqNrrTLdM1fShJqF2DIoZTiyxEIEcYYuGEj8Yw0oPAmJdChXeZuUVHUVow6NBkAFFneOPOki8yWavSACR4UwZtilVnMFOLN/mnnaZBWpxQADxi4gJBtrpbsscsoJl5PMrxHIzTbQs0XM2IWo5Q+QPz4NGRZPSMnApMtR8NpJKa4w3iJKXWzN4k34x44WthGhlGNyWefuu92Ll/KbvV+paDjjzIRF9HmXJGcrj9RIZmjdHc2+kGhi8393OyruMYX3thho0o+Yf/M+xALVX4WF2cPlEe3w5JIreLeHmvNmQQvUABO4+QiFanhKCovE4ehHKRheemZ18GpUklvwzVq2qcCiCI/RMt40W03+or5D/XALBS5eQnc9U9yOYloE5B99mqhVnqlB6mMoSBcDjxv/EJZlMCnDHVpFg/zLegPGGGJPpQJX0IoCht/tEZo/OU9cLCm+3TZzOtBRXPoi1TlN8NpeA5kRf8AekC6AC2uLidzwgQEd2G+EpVY3kRb+zumXzE3VF4h+Gx1G2U3fc+hBxOVk0t7mpRC66eV7wDw0Sl4Vv7iojAdbRLAk6pJKIQiAQ4adU5KTF/Rp4d+oA5KFKayrcWWfQg0cszm3dE4uuQkyS/atatWoyQ03Vg7o8s3n12RUZtDQCHy7KR3WoNRRbxQm2x3PKDu5YGot6GYWtNteYu+lx0NCxVvuxnoJoV9nLQ/mUAwATTY/ODAyLC5LHjL+WizVSv83R7udCFECMBiM6Jn5snMG68etnXv87IZK6VdPD+K8I1LkNs/UQ4TE3M9B7ytGhtY5OIGKs0vkGdtLU7zt8kDqnwW/Il8g+LqCfuRAIuy7BlF8JOyYy4aeQRzkPrAuERa6+ZTan0iPv7F1Fd8u2DETLLr/xVeiSTQOI9ds7QzJUfAypp55zWKw+xE/AIUs0aMrM0X9K+CgQ++6VPsJ5rLZsljN+OIbInQbQKYEp/jpnotwEDIjfYU3zzdqieh766LZXHdne7KyQG5PgJqqt1UGZOnDrIRNFQSHjuGZYXFzMbBGrJDs1G7ynW6co6Oo9ATHjeOXwur4lf1zuaav+1nUIEQc+gasB4ot7dcFPCm9jETlbkaanCYZM30izxb+oeD2IKAJAq6dwscW2g9/pnjmm6ovDacafvUda4VxaSHksipJrnSorIApuoICat7oOAwDa3SwXDm8Bu/eLZN6sBM8YlRPbrHZbKfFc3xrCjVypagl7RKKaCF4acWckMvCsKC6pErV//pwpV7Hj10bcODt2VRK7JujTsfyYSI38mHBuTLlfmSiaZoeRMic8vHWJB9hEUeir2OQJxtmfRSdKVf6ABTSQb5j/LUsGbBuYPOI9Xt859yp/IanKd5XPkLTT7f572XhVEH4T7s6jYudHGAH7kkEm1e8xXgm2xrmbXmMFhrQbodfffYxygfyyYxsIDT/zI1m7tUGopQFta41IgRbRmFKOHF1OGYegaza+9Z6jHsHpDxJDbnB1s3K3jw4w4bmUoe+qtb5heTltF2NPIEeOtlURrQ5YmU8forG3CSqx7VCPaRHxJpgIaLpxhvJx2zt77edPSn2p4atCydAbcVflkJq3oiOlyaB69EB+y064H+3t8WHo3wmc1VAqDGArUlN9094JVsSYCtCf15WeFwUHUl7WTyzVkf/Mjd36IikK14UmYeM6F/KQOdpfDEgqVyNr8Dd4eJOBgkDiIP95jsatrTRBIofmG1AGV/0/3yROtt+xQPkpq1vvqxo0cBNsmjALaO/tq2RoJuPEmJ3FV48wpTMh0su5Vacq2IFcVgG4+DDI6u+CDX4mF3AA9KFbUsLlQGV6Gu6yqJTr8v7zmUMNgejFELLodT3G/q223PcM8NuXgrJEmA2rIAkHn/bgjnNJiPROj4HEMTP0uR4zqDatCRlEiXFlSJUp9ITfBDFEKcQNiouS80bjvNcoSp9yx5vESwtyKlPu7bi4R+jw/uRCVaF1F/Bn5FFcW2GYcmc6sVLfVIsnWvrEo7Lp+F7y2FqgqUmbS5t1a2MgUujl45aPO4/2Yv573A/dMx7srJ96IlRYt3WVV3ugsPDvjsegZ+Q6VZgMg+M5k5YgLXwVOZfqtSCsSmw70kSBZ7yroRg1UiZmUfmXkjg41C0CKzKg0HcaYNK9WPzHjk+A6/AwNzvMO82hdNnLUTWzq9vO4MB9p0MqbzrPR60mMFwbsXgY81cJAYdPidbyeI0Y4QsF7XR3YSix9Mj8VRjKx8eyUaTE7H0tgvO0unGMI/OWDdD+kEj8IB1lhaAeZxVKwiq2pr8/c4fo33gg3/5OaWyOd36Fb/RPDebE0+6oV/i0etfy8/HcV9hrEErrEPYhDIy8wM45ensF7JgHJE2trOPSD8ILVSBMQYVsgbCvVa59khyzL5GzvLKKE7rPm9JjAo2jxgVfmColylN+FNjJ47vGCZezzwi6Rch9ZxeC/i98FqVX0qmy5FadhYwM7086DUOLRdvkRFjkyDv58PJUwL1gFWzcCFrMTCG5P9xrc8lUoVq9DPX5LEdS945txIIc8WoLjJDHE/Akolh0VHnt+opTA4GOO3mdMJ5zgWv9vMFnll2oTe3onh7gzCDC0PvY+bgcOmfk85nVfm5QC3XlaR4/yvTMw0lhWxFQLKtW6f4t4RPXDGlXOvfkLP+vvIufuwJ1hVgQZP7ppIybKFdLkmxmvPYBA24p5oxIO+mBw4q8JFeU/EMpIM++8aSP+UDKT6goS7CdW5ycSQ/KORogYNotU6MErE5D+k9EkY0zhgpeXDs0p5B4jwKZdhqziZ6QbWN2KCUGEpuYt0pI4lBMU+7nGW5HW0Y6FqiPp37HqKptm4llL7euPG5fQVVMYvIXTkiwSz8fRb8Pgufr7GIAtu1/nhKLjY1HlS4XQDQ+VHGmeSgDWsANXedZHLAVfqdPdcly1dEM8+GjRvjEd4i6RSALbkIy67dmczuWmKWf1JAovPFNJgt44HZ0+laAya/WE728Qo8mly832tmGLupKfOtcaBa5MNDtHNSkI7+Nn9kiSp4zeDs4QU9+HdfBymmU4rZ6IU6ry+CmLsNHO2WR0XPvQdPBiANwoWglRity/9e+WI+5vDTDKs2s43r71CLamdHR4M3PfPrSM6DFochq1SJ9/W2GMAT0E1OYqCk45YQZvFEdySujpWgKIwAfaZerQOoYhVOq+ctvvk9LadC+kAgT3wGl890AvyrQAWhmtTbPFBfiysy3h5d3CVw+KekFO33h+l1rlKjYwAOG6mTgNyIyrwmz2//gwBtu0odx9xeRJZasVvr0GGt5Aln12WvG7LonLL090f2em4zdkOwVrNXErkAC/olJ/SwQl2XeKuXnkTuMZHLgHlinAZMECXJ8skr1600U8b+3ORuHfDO+btgAmMvJ8gOP84Y5vOVj+HumeqnxFi5yI6QiZovgu1DT5bwqWo0LSI66kMs/WuMQFycpIthJv7Db9Tssimq5aDSIpLq/8YWvenvzpvUv98DC7iXxYmz95Wj/MiutEu9scjIydSBv1x0jSchYVcsatjjqkKBRpSRMC+oRm5EQjZFx/iD/7zwLV1/9C5eghnawlXbJTAAEI0ZmCd0ym2geHGncz6yC6n0ne0EBxLMZ3cM6QS3K/amP9uH1dmUP7EMTTkIRgQXcid50GpR2SsqSYtWlx+aJmbh0BgBuuybNzaoSyc/xYGBqf9Npsab6d+eoKNVlKBEfBHxJ0odgCFR18Dekc36JlyA9dNAB77Mu+/11xVCW8+oAbW+ygQ6shNFnCbpJs6up/wj3SZ52sxKt7p4DX4XpjGNeQtkKOAvVTu1E1ypeLZubmQXYRYk7KyCDj2q6s5xNmcjSfflpu7iEkRATGuDwIBhtKUgRS7yPurSKLYfumkgZ3JSzzx3Wj7XzFHfx4CyD8v43I+mkH+cG4w86SUJs7aIKw6zLOn/FLER0o/PZzC8hexi3UZeTTPg19yNaTYIET0tN+1fh7V9xb22LtzCeE9kIyr9MiY5AO8xuoPdYlo8dn3t1dPWcj8+Pr5j764p/mwA8zO6G1SaZmew+kYJc3OllJ14H28/yPsZrCg4XUSPqlLNEY4GdkvP4iS1l9xMe3+zXHjx7SlA9TWIA9RwMJ8kC2cwnHI7yj7vnBNPwwWcx5Qs91B7wcwLBRwiqZPZytKMOwv6g6eLsJ1WLwo19dh5I1i6+ANiYvMBrH22TMPb0J3FZJgYzzLFeNSzUEqXuyNpbbGom5/A8cH3Xa49fz+gSkhN74qg64V7LrQrCxZC1z3JmmiAFep0ZtN18sf/4WZeF7t/SeG+aiKTtHi7QKvJNLWZWcPcllIPt9bBfYii5GVVTom3jXfH59lRV3LjZvhtlQ5ZTTM0bMtEER9LCPrYdB7gMDm8XRufxYPjqXzK7OEFpZWylXHJo7CWzcdns7EakTPbW69Oei4fGwGfB0V2LG7vFuDAzcQwtCdndus5iUjsM7ezTjYG13Hp+dw2eucqZxaRqb+p27wFRbxv97pdOU62R1zZojRXOsEqS3D9JeDoRsfyfOKHzadW8zN03h4oLdVi71FEQX22plA7aZgEGUF6QQY4Vp8ZyHI/zNZdILc2RaIMWCXUBmSlJsFKLm5Z7YQEIaVANlEKLk/CrST9WaanIc8B3aHSC8M2f9I1p2Kn4ypZ71UZuGUmCzDzTXc5BefQcEbfqytJwZA/KrhoY+HG9EzxqnCcSHpnzT6YvqAL4e2/KOPITC2PPGiQwry8SuslFjaQXdxf4azQSxmSbDfflEfbAaDfbpb8oJoxRpyVfbmrA47InKdSIRdPe4+cdMuEd2PVvdOnVlR4TaIj5zxn/cpZe2oTDA10a0uqS8JFMVxf3Yj7uqLI5ekDPRlDg48nMi5u8dySy9Gszxkmf4wXBf5RTP7CxB375f7G44V57MI4BvX3HXWd65ZOlcCjLuQnQm9YHae0akOWMSg79LkLVP2M2gVGnqDpCYHAOl/B9FOboXacO4HZYbb0uvznKzJpp+D38l2vzgoMPOm7iO5SCJryWbpkzNvXrkgCIlDCSNBMbBjY0CzdHHBlUIJ8NCYNDJWXtRmAtoSp6WxWegjFpyG4sUkvYDAX5G+4uf38mRVrMOYDko6wjJmWYu0kUOo/cU9mi5yKlZrNMg6cgk502g8bNUePz6/jyKVAFzkoMr4osnWRMiSTgW3Zm+z5KFnxAGMT+/8ItMQRkYK12/en05bU1QRw/nDU6g3/Jxaf4xuP7IaiP8nJy51icaXxjHnuGg+gS99e1fTGpeQTATZEQ1vFZEWj9+Eku5/5ghkc4f1Qnh9fB5My73Q/rEkUbGNd19/fNnQw4O1MfZ29krng5qy1c5K9pj2u8fwBMtoTcxzua/GqA0AQIojo/Y2E2V/aNCNDHF94PhcOiLYOJJwZ+fKjwD8C70VRY5KiyZ4YCka1+WMQo3BvWBlBQMhkox9nTuooxsB8vrrjZW1VcwNZzbLoWDh436wLnpM8XJbTBzyP5KNe9YuJOKnGV9aX5VO+f5bC6gC2hdiQrLSieb5Y1Eecz6XjBpnhxgFPMcZ+qUpRsWOxw1RY0EKwjIfL4iI6i13yfy8VddlVUMkIa85npoxSZgInPIHtYhKkoxlFzc+lJmQ//4bcLbtBc0lCekFbKmQWYx21jOR9x5i2d6i3pltnqgIHE7PUj8OuC7RmI2lQrPzH82JjRHL3YA3ryRMAMyWxOGHLQULZT4u6df+AQ5CehkKkQwJcKFPHsHlEaEfhBMmEVtWQRwOYiBTIhi7WKjKrFH7HkQvfg+/wi3bZPpEq+Jh4wlBPkNAOgt+4azbfJ+mf6U7GgooVQ/94LWKGuJPhshKGLapHqigMQjwN/8/Q/m0QPe38hstAw1fn6VBm5JSWTcRiDVoO5XrCO2itVSsd6H8qCsoHEsxJUgojtC8Y3vpW8HuJVGMCEykQpM+1IpaLoP2M+cc45C09kUYcURKeEWiQVtiVrmPZEpdOlS6U7ryo8W69/e5zJz7OiiUD5MqKFzzdJqdjKVrzMXHv8QCOznZTeeezFkU/LxyxARnBW9gL2Xo+eYk4BMogGydpXOub4qW/TiWODqGHwcGfafR3oPYtO3mebXX7tHfNq/yrZptDqDvF+jew5kI1yLC5cZFv2NJE1+DRXaE8M1xg0YeGe9zay+Rb7GAdBpV1nxUvDifKjKu01Tp2/FEDX8fSIHmYNY3vIZmhMOhX4aCgPowgVd9hXeg3q4uBqZp7lmQQPhqJ3qaWecqvV3vcCdXSEFPtqe5+NwMyuCLi3ct2cYTgr5RORQ2Nvf7/KE9k4z966O5YI6Mv/aYLZ+4BkeaftycawvNutjFj/4AOb5035GqrsdJi0RE0l7qbzXwowSoS3llGnmx+URdzrGEF3aROXhlaNPO7idMkh0y7Ja7wLnOVFwg7KpurTTAyILrAv9Q1s3ot4VqP4eWUKJmdIw9GePJHOu90MUMB1+n4qzqr4WegLAgRiRoxLUp79kreKPggItPRa4mZ4DCORi7GavDD7P+5iaNCl5ck9YDoEhizd73aYQUu513OWUQyK1w9qZ69Tk4ud7NZqAnOHos3fzbBzvkpfahJVvu8VOz3RCDm+AD51GpKUq/Sb2JjVIMXmYal7ecflIJ7veYRnWytUZOyeQgweU0SfH5COzfhAm72RvbzbIHfpehEZpey0rgL+MZnPG0y+thYBC3Ak9MzYlCn0AjW3DEo2JLeYqfwqEMLk7z0Ri5woc+PXfWHIoPY0raU1q14MD56kcaSWoEfsYw4olRFviqxvnwfJo9jQywGhainMezJWK2BiNes9LRIzdzU5zU7ciSjrujgSAgnFcwcFs1PpxXIJRYnteQq92GHYHM6NxFvjOB3C9jbFDiLc4Fvg09CfGt6IqnbZzgeFcKlqLP8FOaB3bobyEFt9gtGl7wEy7OevQttdWEMVpqsS3HNG0J71qXL8K1YC1XM2lIs89jK48Tj+eMI/YMU8ckIvBHbVdmoHBMulFxwdHfCzounH4fkHSqV+xpLNzrsRDpv+OEMmdovzWDPDtj3+CB0cssLjig+9yOvu5MwxwslIl3uR15bDt9xFT9KMlyOBntdbBz5InhZRWCAY6y/EJjxsyP6NJIW1i1up0nBZioHyt6BIX94an0TCzt6AloflkkLESwEMcaEwHk9zpRHtT63QXHfKpFpe2kPDoTCgAe4i0DJniaL5ni9HeZoRvkoAZfTPXRdKVz8a1lZ99rfqHA0N9nIsh5BvHupPiwWDjDpEZuiagvvdEEEMdKxHU+5mbvRAsNjxoKJFvLgQCgSKGWYcxuLjI/TJ0qGj7rvBl3GNQh7OxF+nnNBTa8xA/8MWL6ciIkW3zn2npTFJluAb2SRgBGAGRkIFwHfHDcBxFGAAmbvVdsQEPd3K2faSuP3aT0MJ9XtkW14+3/rIWoy2a1sdZVRREq2+oDoNTzt7CR3ub8aa3HPNCJhQ3iYBOQWVbpO51H68atXoLjIrjN/Oq7LW2zgHQmi9MPX8l0joHDn+Q5e2oTiK62q4DTgHPWmPTnwr9dmXUirUPe0ehh6ya5nfSrbrM8kpFZIN2LdsGK3shvNAX+zbbE2xor54PBB0cFLDBfiBvUGnrUL4k37YeoIeKfhsFLgVPeDjerEEpcjH4QW20x7vG6dNR4j6m53bV9boMjIQBBTqBjqOn/VMMeGk17bgwxCf4+5uxfUu4AnuSpRYKDIGluQGDZWEwEctue1WwLqttULY30vjt19KKpPUaHvfmlkpzVMAyDctO1PgbgMirRm616cBqw9Wwldm5dO5iQYsk+FsvTt9/wJ7+5eNLsD1byShW3j/fNmbtRAoBCdrznBpP0cOyM2BAZn3+Wu8vJ9o4uRPWgAbPxSAT19sc75LEKcKCZXur7Zmb6bX9KfbWa1FxIjsSC2c158NkODgTbNHIMIjhzM49kpEk5b4idbE2Llwato2nJLzk1FYpeGmuoR13EvpGZMNAIb9tL1f4/K6+qPwXx2HFs2aUh1aTSGnYUpCeJv6xzydSQB7VwmW8khMBRhpClWMQb0PCYWDGNCFa6hUGzGB9suAlzJBSGwh/Og2EQDvUpK1ih6Jfklp2/nU9Lbju+Rx97beCsZgCffzT/W2XaCMweDiT10u10aixCyi2cXBNu16CEOmI/O8UECRb6ps24VCgcSIWZuO5yVA4TjYSBg01RYMHSSOiAHFTOMl38h/1je91qUyA7SICj02Zh7V7lkm1jkiiTJbyptZcIDZj3PORf2M6bf+AvHaElqi8FUmf/3yzAexEJqqkSEDlANmMfT9HqN7yUVC13n08UMMKziEw1whFOwQVDpKGIhWAGJuKX7qeabVZ0giX0w7hNprQRd1meDTE+M1OZo5EQMuOwiUR5FjEqbjOK6BKztGAkJLgXmeRYkw6kHpx2L/Dcc8VR+DqB2wSzwKoLh3L9BsEA/dEWUTOWuqTVqERIjzZ5O/Ck+V+jzAu74tdlLWuSACPr/HYrofwDOMytVoxf/WAOJXKDFHqYTIef0VnVtMKMQigzTUqe87PG+zRbs3GiDqCphZWVO8vNtQiEjg3DHVEyaNR1C/koFutiBd6NzqKvqnTQnnClNkGA9uMnaOPOBUIIyMaOMc6vKh+oHZm2fARGacUsdynBtLB2lg5N+eDXzAWKOCmgRCUlaW3dYiJ2R/WauYeLUk04bHEoWNRIOaZxgorZXl1NiFyzY/Xk2wNbGBeLqca/Ls4oXHNVsTKXdu7GmT7zBLeCdlzo6brnlqczxTsVUdokBPgHUO4dPyHosI8nZWn+gbBALQDgN9oBKtcNP3OeJjMkvgFoxjbQD+L/mdUF6e3pHqn1TOpLasg6PnFdjsojYXTex1heuaBRGUcYV3qPWCzlVlfHz7ueqXIKKmy4XYsADvpbZg3L42OhN5JfCtNchQ1KOhZrNFbqOCZlY1UXNh7qCCXLXmroXydJXIB21+drYt7apWAkC3j9DUQ78xo9bIJ3HXfN9PgJU/zVm+KYzCeqLs7U4K8lIPxR6fKz0kpknaIfvaArrt+cWXWozIVOJWjgk2/paANYSQZZXR2M5O/01qwyB7TPxXo7FtuxXw1WJM26K3k9ZcdHCqJsPuh9L2scKZazuN02gShNzlyuQA8V4PhGRIFDzzKGKjWUhiF7/LTWyif4sqmWXqZaXMyky/IvUYFLYS4lUD2VAZTAQuwWVvG1kL2ggag02fwoirg+/MBonLDNbkEQtyZTATs6av444DblhH0d6Qd4rko6mBHa9FX3xpzyMmD6/9TLX1h0Au/TyZm08BKxXPn87s2+Q9HgXfCXaqP5huC+dEQORgfK40LUNoy62DWVypxxPq/3v8IyEr/f0QnBhQjKlRGagumfYI3aSlUeKGDkEjGVRuM+Py97TTaAvw2TkoemChv3a5Jpp169in310BrM5CHKgb6KPtHemlKu66Ju8dERNFWS4Qrg2vjG9uXmZDwRgXL8m3882ZWsFB542Tn64Cn8yWNJTvslFDBz3eyEgVrQKPnWpmwNbLcRt9eKj+Dc14wHf0SVMf5MRekCwKoqXaWj4ZuRyBSxyFov8iZVsepCGtPQZT4TcGA85brDFD7G1gXuGkd6lznsQHPrKxNiZdQfutGiYY0TZcOkFdVbvwClYMjxXDF0UAQxI8nu/s3QP2ihmp7M1Q5ILMigZYewZBy1oNo1WB9veZlEnl/9tSyr8MMDf6U0GBzKuvZqLpgXqlUGdxzh5x4o3tIzpnUYWgbTVowf7MsYfCFEiO61OAhVgAAfWiavYsj7llcjirRyR/mjNJZtYDvT7PW37rpvKsmSg+GqQOCI3NeIAwAIkQSZXXwO6x/eHFSON+QXIv25iJlMnBynmCS9edbQBKcVQ3AtKDVQNzLAIoxSJROdE42QbgB4OqkKt7BMv9DvifeSr9N1OyJx9NFVZkMt8tyEJIzXTNO7Wz7XN7l9C4QX+Fmr+ouVg2kShuI2DbUusDJ2yQiFRM3JDH3YOySXAPjIdQaAofFaUZvAFIlHDm3+5SbugTzfkebKnVWyQY93gweljxKhmJoNN03/ZVTV3+zpXj/rb3K07OwE1tG07VRRW9cMvB9SPqM41XcaYo1fLC7tlP3PEURJnq1FR9jwhYkqRQmTEWLjheZRyg2NTZ60S2dTjmAfMY2mgZ9qnbdxQBMi3jaZsar81dNUhQQ40Koyl7wt4euxDNXKgZcNgaC47bjWv8UeL5tgsr2qsFfVBeWIUUqwvmC+j/5d2ovZ/coqWPTgQTgtmxqZO3E4lxB2VMH+Skm4HdYkwuCyI+h7/XvbH5cEvzO+/vo9eh9Lj27kq1TBog0dMoivOppir6sszsUmuwHGEMS7+1y0cygulTA9TwohOrG1xNatSsEOl+e2+epejWlsZjk8G06zT8MnspCj2Xdc9M+YHgK9bfMNUzgsZdS3J3W+eN2HniLvHQQQVaVFM27s7eDQSA3I3F1o1i2vhaaQmnSUCzUr+xIMw7uGpcdNUK612/I7JuYXKeBaVuB1GrLjpLEGSPTDGXOlBjDvR4vWVPP3dvcE/DTroLHhS8l2vqCScPgWm+mRlY1QLD3Y2Odgywy1ZIxy2lBPXBL5UCQ80HnRGLjU/qCFJBM4C8W+EwXu53F3VUvyG2G9Od+geTqZ8wXxIQb/OgxEoC0D491zHn4lfTf2uUmJ+ssEIcN77rjwe7D6YJXNmbont6UXBQ7iqDkZhotal8dKZyKs4xqGtRZsIvVTBJ4hvEt6Sn1RGvZSkDAhy56IZ5ojQq2uOg0RMwLipd4ehUGJ2HhTorqn4Wv3W03/dh07JRUgv4oSfHuktHOBoPyISz2ylcdu9eXwptXF5HOKtAvTf9bXV000jjn2/iHREM5V0P7dE2+Ux5xA4k5kdlBxjKNHCbng5FLwq70AzLrRJNBaiET468SVDxaO8HXVbCLY0leO7PfaGYa204PVuoeayq1nV9kKiUTqbWJnUZei4lEVhVTHG7tDpsoXEtJeFQjAO9ljugAlQV2BKormQn1mKgHQvRGwWelUUYgjQA+xlQDPIFjyaHWKLZ1GWjom3g8GkAAzKHIP+IVR3nBALR/picB9HSzE+Y89N14iT33kKeEoMiHvbU9O0ttgjjL6faCxtY40ngTlv++Ruofbh3kphGEQm4FoK3xO9qykpPeb1okK0Pz8Wmt7VERalr0g/nrzlHDpkd/vmVTyD2SZ1bZHipJnlMfWz9k3FwPNGToLSqXJqdLjEvKbawhn/kINF2eHc/dwzvCTAl2CQMTsoPVjRvCgJjXtdsFnKC/m+XHqNpdeNCfgl7q9S1Y+LWLTsAhIytKmfb/WBNP3gYg76yueYFTviuN5RgyCvYgRNCIt/TDv00Wz6/8ActEp6v8Tfl+Oq7ixZZCPUb5txFYhOqrnE7t4f7a5oRm/mJ4tzqtUa3LQgmegFj6yK8ykZLnCoolj3nvFxaI4QVLQfxN3zEKYx8JseIDo3jcqfSbceM50ZTKhHVsCCMSgESi/ajJAUuu7YBeiqovTAQkeb1t6iPIBWyJU31U62NY794N7ptyxLhqdV5JE4VASGLAlj0wWZLIdR6x2wIY4Q4ChB9nX+GGN/jEqNyDqPEXwRMdkBOkdUK4b+A0nNWAgpv33qOXYECj74OSb9MBaAlsrpJ7WkiclyLlXhOQ+LR2ckvbdH+c2wq6PVOQtRHjH87psdpNAfVGmu8RiSuKyj0VYmkUmm95N2A9COYJ9huNXKTmjsxW9tbtsXzwzfpivPC3E72mDttLt73m+Mwlhi2lA88CQl8MDbT1wWmS0SDeE/ZGohtfIqMRr+aeKXwj8Qe1GMDpr4E+N2a6DBAz4i5ecSdLRxNPug4Ns1J0t/vvrDFdEZgQjIxhZ1wb0hdpDaJ15eEHitJYYox9ISt2mH9sYuefyZbV4D4svtX9vPMWO+hJSXHzQZlVRkAzVhNBVz6GZXxN47bp33PAEKEpuEl0WP+GTSTVNxZ020EKgmDjjK1aFqtrNNuksogSTTcbObxxPuKL2JF3RyhOAT1s8s6zn5OODAMvujgqpm0KmFw+c5t+5VgSNOvxUNXFxcL9GVmj+or/3zYb/4S/IyUE5hZTm/DGwfOr5qoZNJSJ7WBXP1MG8rYvJSPZNTJoUESo2p7Kp0gnmgga5v8WHmNf9QUB3GoTMKZm9J77YUfokUY46kZ9/soz/NgZmFUBepldL4Kt9UkQj95ectIMdsb8gSqvRtWIy1QMsuiiwoYg84ABrBqIu5wuL8Hsf7cr18OsaC+5bE7BP453EeWg8QyVQ87Mfv5DFhCyYWaN77utzGsUM27kNgpat9tiCsZkaujAkoyTPZsi86tVNv30Cauzdi96nHVnDgIm1Ik9sDvHtY4DW9Ce+KD/KYRHi+74GACg8dermQVvIKhp14vk4VaUJ4cqHlO8TMzGyZ/cJ8scJ0Z7JoCCHv/PkDxE6z8nosmtqoj3jPDZ0hNd70MvVCI4EusW2iLW89ftFCJ76YT1S0r15CRHCFiuqkxXdn2cJVojwiEvxpaZ/dLOMrEAUkm9KuP5d3UMTDdq36EHZLriXMdnyjV849dzrKAvg9/1MVXJtsX2wgctaJomK5LEslb1hHJqGy+OkRz6kHPai4BUtEZVtZGRS1RbONl8Ph1yWeO2vp+5giqm0+/S/Ns/+T16F+uiscDVkmlhKxw+MfiaVOl/ixWPB6hbtUgsbX45J/FZ0icp9WHZxM59w75vrcKiMSQvcb25+WQykGYJyOyfeDspOHw1G5BTGjGgg/mkW6YLh+Gks4ThZmFOs54TT/vBmDmLpwMSePmWbrxwyNhIzbWnu+XCwQvbp7l6kdQHFBGcob2S/a1MUY/brDo/QcLcg+Outas88c3LaJ3zM6EW0n8rx7w445KPwbaVbO0on2fikUmRr/2gweR23V1q/bwCaDGIgrUkArB6cE76lDoL3ZsH4qKiTLQBiU9nL4tQX5VnH2Vo1Nsc38ErSXWi6umH+Cck+Dcp83FGzAOAeYXonVvV0Fx7/KZl1P/1my5MESxLurvMfUAqHZLeeeY3JY3Wec0Azm9g3RIDFW2ks7TTiEQf7Ev7gKBkbVuXiAGBFhq8kQUhjXAVbozWIk2mS+toGhQtFgY1BcISKcu3lvdKxPdEZLhQ1VwKeG3xWYL/iG4FD+BGPX88TXxL+x2qq163FctUpvOPychqYRY5+LfWQ62xJKz0C1P1XOnqDD9hLiJHTFcHLaSC6O5wb/0W9OQ1Os1mKHDyoKdWEe/siFZTyzW5gILszOwwGkeuG5MwmR4W+gk0pdVNk8mrqAqppG2TOoI1ZiuEgH0/KRtKH0CB8MQhk07wtHMevpRoXXZsynctxfR5htNhGg/XKYpFiKAYV0VWg0JoLPbGv7pEx2THNCL8CcisvyYccCiotkp31THgWgnoGk2MCqkwYULrjDgZOp6BfeTxYnxJUkx2pD4jugG08nlhwey8Nlftjjf+sh0gJ0Q0zAGZVVrYyHs6EGeb8jOsu++knYZ+m+qN/phIbAOMistOEE1ovsgUa1Tn5iqDk71csPWNQc4Kdlp70ZyWvPTxLnL9Rd8E5tmCL9VaDxSLgXAYhHJH8nx2ImcI9asJgPu0uz0fc+k8RXpHvvZgmARADM5lDvCgeygXh6o8NfOcB20t50y0LHmGnD6Yjvmk7ca7EKCv9eaK+T+fBrOrEC1okkOMe5sRKPAuDPugW7entEShCcpy8Gw9IF9IB5FWnvJ2bfHV6tIzcxFqjPH18q/ZTqVkfdmmd+hK9SVcq3hp6sts24N4d+BZDnM0QBgmYUSABExf/03tlR0z/n16BdvACRp9uAgtA2kHHeYFgFExWk1rOgrU0EMwEnfsMfxYulv28viA/iJ9MHgxVAVzvT5V2AZSNMPRVyEzwmR5u8xE2GEKP2/Rbwiov91hX1QIzAMaCGppQDhVBAhWWkhbcQyprnB8Oujvb3OwZ8hR001eI4pf/aB8u8C9h5b5wZU4Ip2MnCAb0xVA0JDDyDFs6RgeAiLX7c7tBtgr6rg4c33kz5zEn94n71LPCr+yIE2gMPK92zPmjRMZZRlL2r7/Ji9aF6bH1Utek+Vbmh17UBG30Ebwnt9HlmEUKhNmeau9h9xLn7AxIgi6vOruNl4F62uaV3zyhzAjlSLFrO34lEAB9oo1yqKbsD9TAj62Vo2GYUaZztxW+AnjV0KmdcLA83SEu0HgpHz3teugn6hgUhFrJY3Pdk/FEDslZDUIpfA3rdtw/cGOjCgik1Ker9A/sNvbEVZOcwNVT+nr84PWD4wFCNgDalNE5GqmfL+wf1rvF3wec/6uD/bR4FBO/WnveVPZkVJ4Q0CBFfSBib84rMrlRXUzcSN8iexPTxAsuZAYUDul9hF5K9CMamqYkxhQB3Qv2ccVf/mzh64jS9fH0pp54RAWP66HkHQZ1SZJwHVLEcvmjSnH0uDz7pdJuMY6+icJll5HfT/ZQrUTRSjljFG6EyxiTQbjgyVOJO5kqrZkhCOH9uljylMOH6YhC5gileIwWur69TBrBL485yWMG4jHImR9FdHUxXc+kqSeKG6Z5xpMaDgSOp4e29aFPYhDqFwLgKx7N/mggVWrFNLK7U8X2iioZPcWTp1IdSDzTyPRMsRh7lmqZ2v1gPm83sekD/l7XBMXYTNjU50xnz93x4+BL58PwlabZijfwbdfwTvzxijqIp762q5lTMTt87uC1xpOKlSOe9KCza9Xm0VvIZ3ZjwRTnCXvbdZTpHSvUoVvzrwHEHMW4paTbpzzmHp/TuaALoswrFooaQt+Lc/yR3cFoV1UBgq7zEdki7bkoH+wmisjhcmlvsxPcsjOiFymumN1Gd4mW72VJBZM+sEAEcrGuOcCOMI9HYpcfIVSwdZZp/18ETSRoTQZqs0atHFANFxbUfXO8SlcxLSft7shPrBunpqew/xB0q0W2qa7mlh3Ycn3z+8CiPzmzIzHhL42cShMWfQZ+VxBzup+2XPiaCxr6lwFhLiD331y9GS3ci1fFmyLTjPt5oS2QfY92Cf0+k+LCmX626E2hSOij44i67CNnw3diU7PYDkryT4tCHOOPaCyLewOHfiEUa7AL9J/VhGAIjr/4GoEKM+fEFMhcZ08JRMFQ4KUbI3Tz3l93Cjk1cvHljFzwSi1M/h0g/noegLufMRv5aZ7agARqM1O6dMHWkaSetKa+AkRkS/lJiMe8/D3WPkiT9N+96h4L1dwiuh3coU89Kwz8ak7MhSk6vskAtrokQIvij6+B6hvMQ1ZYMbwkw4IMduigmyKZ7h0LZv/tFE5pq35MjXqcgYPX9orRRyvazw7FnqbnAwv57PZFB2JJ+xU6chV2tCKescVjCzmWTwt1IkSDJiFkfG9Rp8s3usDwmdO1ggZnKkfAP0rUlyl3dblbQkjzF0Q6MR8gN8XNzlzQj5JRVGf814W/jTO4NHlv1/NJi4XK9GMga8wzW+KAioG3nu5IJBCbXwuIzl1k05VtjZBrPFWcwOr2xmuW9yK5gw6DdnoyxHl0jKq75Doo4rEzKVZ6TTqCJVUT5uD4fo1HbYvIQ6wz6BD8dKO+1h/Hkw8PKaCZu+OpVeMWL+kOxSnmP6ANSubBptfEkVomCceHx3NElSwfr/w5Z6ckvzK+g3yTvmpmFW01X6NJW3nD76Z6YxJpDR8aTqDEly2tIGQGMpUT30Fg5oQ7AdukbsqhE3gEzRnMV8hSg/OiAhy3J4TI1CFCb1/Ns/fqTWb19bkfRWQ/6+1ItAns7SrVxzL+QFnC9KeEkrGLNfLCzme54502cY0u3FzQ2AazuGC7Jvnz9ZAQCABc8NrAoB55LMlX7auGfYdwQW2LzUHUBd0rZnO4xFHFTTC6QbmQRMtJ/cUb2ftzMifSKSRz79BuXzySp8Wc0vXlZ9h8jCaQhD36+7Mw9kv1NDWoeWSDZ4N/8UhaK3KJR0Uuxohj9q/qCsbmO+XW8qitLujrSR5YzqPeuT0qHcj/BZF+pjoz4I7v566l3GezhkEMORCgflQMhP+4PzeSsVIBVy3hxtqkyb54GsOBhOz20Sa/rlEPi8p6sfYSPjjekLMhn7TeInJHG7zwMva59QJ4i2rHrEB1MkMhO2UvY9w2qKoHEEXXdF4iArooboom6/18t/fsCl2r1j9IwtBXVCsqFQFqaTEQK+zspJqrB7Rn1hnvbtUEXGeylDeSUMY/fuONY+oxcEYzDCPKK3RQ+hZZJFLuOz1cmR6JE0LWWGbNZSWHHdoVipfFhyAZ049FU0n5NsBroQeubRttkg+T7XfqvkSb348RIN9ThAJMOXgRBwYouExkqOUCnj9rqXUEbmn+Ei31z5vPECuf7qkrmn6HzHVKUUkfRexZDwVwoKTYPN2WrMaa+9oO19LIaDmy/9yRNCibph7c7O8b3KTkEpF29qXHlcYr3SiWD4YXivphp/3bpvH2FMY3nCKsDur+Ws1OxSVdco5dSdFLuWZnM4QUT8Ikn/WOgG7GV0iicigpned9PIrcGqPIekcrZWD/DXlQ5YCvdnL2E1rahhI70u4VhkRN1iBkSs1DwSo5t2ad5b5ssEU5xEqPq4zeYp5iBMb4Frww7DziPCPi6uWjdacF7XnUGq7QdnfaRDw3WTaHGGfQRcr6WNRrM7nX+hLMah5pwe+hTAkydGUqlIalSRE5xhh5/PqEPsinH/d2KRUIkP31whsRNbMEDBq/TmRPkTv6r5N8AuhSyZMuSFTOx7SbKTeev6kAwXIvs5Nz4/cBo6QpHcDJV0DltD4niDocaWk7znyrHfDBtM22lP/nd/yiOBGrLkhHOFAby+kEn23juKBQTm558XS/guF9Qhve078FnATLMeutb5Y9YMYp265TSsgyhFHbON5RJBZluNBBu17nj1kGeJp60XMSDOvsGVi6aofniw6N9fyGyr7k4H/qMzK84qSudVorAvkgm3xZoMTV+XMe3SSHc+aonXKMx1QXqzrG+MgVZfxKCd5aW5OxmRg1wZYzqUHFCil7FFUUa7fRsYjAho1OeYptsD080IUcdjFN7mMMz5gFPwfWywQ939aPHnkUFB1DHlswsajFjRrQ6YJutad+IhvHBtlJE2RkGMFGxZzNCJPgFMbS6xSQRMGahNv1VykE2kPST2ty4rSRemzDD3QvnJl1zrt+ewuwppKAbSRScQYD5QsBK4WjfbYg1I+zWE3Vl3GOfHHueMMp8GvC5l63jEgUA780IuL/4o8ha6nwMoCYhsimAYesnZqc9i06oLjqgGWQKEkGdCq/nK+ShHlGCwdBfV/sraSPuWSuujHmsQSd+yX89w4Dr6xqf/b5o/E6b+atRb6YSRSI0QzJ2KOcEB+lOlR4epb55y5pCQzF7QCGp1gUkJkNvdMpKA4LrhOboO2Zil0erNr3CXv6NImGnU3PUxSlhCLhoOlY+retjKJpBQrkhxUW9xSW+M8NzgyDOyagL96myfeO0n+SYxzbgqNMAIoD5n7Ha3zs1ZVo0TFWQczVRh9xnVc8aOUdOCy9FPckaRXT7fYgrewb3SrxCR2NhIMAHagj5MPsvS66ZAdWpa/tsuFOtIzUbuCd6txH5maPCTlTjoPS3kuPvI2jequd9hu104B9QxkHCVrI7OhTAcCU3KeAdw5sa5oRSTnzTbEOmw5RFRA8gaPXpozQj6bor5gtc5Xcuj3dOWzoAuYg6fHMgAc6bfQsTwTVFybZ5PaJrTDx6T5x9tWIsmB6So31hL6ApJ2bn5k9mgQMsRCt4gRbHMGx/cCC/H5nck59CGlxXrEIeGOuBo01jnet33hG2D6GqjUWbiOrwohbaREOiVg9j9TsLhCTggWNshmacP3kJOepYRUUDLNGvKKg+VdVlh90OtIpS8oSjupU+0ePPPkKEm07Qhk5ROiQELUJoF8suJbyRV6Gxk58CY3arqwhOvKusdbWa8zogoTI/i6Z6WAdWwkO3X21iaN98UF4eD6vHJ0B69vUdc2tYhpPccDOs/4Rco8TSC3Xvm2CIEs0GNWinaJBE9P9CjWQrYgoZ3joEfTrHubnyR0B+oDG9CsNWijVT+d2jQoqMPDl3svzPNw6CMJYjWTCwEWXIgMeJ5ilN2xq6SuOl1spEuS339jU+bFjo0a3ekwrZrEXljTSP1c6HoARiEqHhP0tdfp/2G8RBI98qcPf4ViZBdyFRD01uSe/0SrI3K5s3erC/s3AoCJ9VohpWF7rmF7z74avJVTZcVqnW/2y8j/dfpikzgnEuYxKyFpE0X1iLuDcLe2wxZ3Xt1ipIKUTNoI8whSyrf9NLIOgoot5/5ylWDdKYxJpmPQUrK/Bix+xdNIJSKVNtmW//MtxHlPrFEzn46NdvORhrKomn2xBAPaVJy6msmsKdfrVZglX3K+h2qX6v8JXER1DORQNWl5RQ+1FyW2VEzlQObBpGc6Ygm8lY9GxFldBvm4dfYbrAO/6FdUp9wn9JUXf205TrlTwl0TlryyTcZjtszlhbN2n/od9mpxFkcTJkDk6yE7klb/MBJ+d9ajkreQutEtrnMWcSz2VZSlQ/DWcQ4Rsyva7b9Qj/Jr5wudCmJExaXZuEo/E6OGAx7YJZ26KSVEzffa4dUuNcNGUfEoSHw5eYxLFA+F+jcmV7X0+enkZNebUd0uQa+KiQ4CNy6drLabyYLJvR8ERPC/JbHM5ecULb0gabpaSqTSaYIZ9Sl6/LHFJiwJ02IDh2EF/vVCkTXcOe/PIwAnpJdGnp1nPef/qkT+8LsFVfpkJhQsSs80PRmDZEAQRWZF3PHdAMLFo4D7vvwVvBEcSBI3EMiAQKiEwl7xrTLDk98Q37LZVhM/mX8cRhTyj1QYPm1lkyPNgxww8URh86lxzKnTD6ITws2noaFyzFq3hzDvXX+OPzL60oM4VjzmGj42QZUSnI6+58vIEtDYm15rL1fKR4smmqGymLOWI6Tg3zHtGATbMT7I8fDD3o5rIE2Ntf7ZAVX3K0931ZLSXXve8DtaZcsJH6j3xelF1dlDiGT/XGiJKvnBlxBu16gfi+zqMM3VWY4onJ/y6Ofn0ZItDAoRfdBVI7GnBg+9saXhNMkZprFVJAW8VFXpmNx0MJ85nPenU3Xz0ZoGbR30qU70eyfJmuNovNhuZbIsYqCWg4vbSFNs2oQGBUq+bTfHg+OxS0Hj7xO8XepyoiiLfEWhxcGo4hNKFPVmnZx8pt11KNfN+efyL8vRcnEQADykF1krVoSdzWyNwxHHeduRTIpKFP+1oorrwUrxkddfaqYFdCGqqxCRprrGp8gj0KCNHSDT20TTpamjHW02AjOhxapUUKNofYhc/55vD+XXMbbuZyRSSD90zFqjWd33VJAvO3xLefR/wnDvAMS5RpyLrNDPSTbc8CNd7zG1zYWSVSXwOcmJ7s+DvkMY1kEB7I/FcJSLmHGE8Y5Dap5ZcX7cDJWmaLkt+qGU7kxGjPYqE5uoRE15jRYbFyFspSJ6zViI7ZGugURM5O1mY0CUT2pGoCwJNHwbovtezGF6jHnUromjOQkNNb0dtcApOPzo1ine27fL+ZCsto3fj80KhrHGTuWXZ1f+JxXLiDLiQBGHzI4lmfNYvX3Ji080+63UBimTx6sW+jhAnDWFgs23iqTfDfkfOcsDyBl6N0leuYwuzo5s763s/aOagSihCMBFSVrcjcc/etE2/yTGZYy3yK8YCBpm3rT6t9lOuQJJm/B7NyKN+kf8T7yA66McYlVUMMiQtocmRm5rHNNJ3M4kKBgi3zdx0GFVNEEDKajagOp+hV7e9imEJ9XBTZkzBJN7qhGZMYiKaZ0ZXvE7lhAMAeiGz+C/OuhiUUPFDtiAX9aioOnUepJi4AkMM5kbpmVxmPKJ80H4ViHpQZBeGwv5+wOhky30bpmdhX9tvXnOTbqyvCVtQyoxOMLgenQA1kWXCGoRAq3wmppkU1i6+spMtCnQTWOCEHHiYcnNO6d8JIyxgrjgnU7JBkk8AXp+1ky6HQ3uUo+d0wHksNsxjveQPxKTcWNVb976XODA1/9/i2TmHBOQhVSlLkNw+9E2gR9vaMIlTY47+Ubg3rVGOfol0tSFqA/N3F8F/J+HfgV/PQRzt6cM3egSvqQ8RZmkTdyDXcpFOVHi7JQmUad4IbWfSpav0kDgQggb8Qh6BzZQdZG8/OI/NoGgIO5sgBf4EbepJ/x+dkPZElf6eO5p2xNxV5nrhBtWg5UfZjCPfJ4ehYO2mACtqYTyubKhoaFLUxHe/ZqI3Tz24tqqMJgORVph9jaBptXibV/QQq+/57RH4nJ6hS2yuio9DLfLHgxxaJa739RlxBVO632Ww0qFX0Mj9PPsdvysJGRh3enPLjnQxDGVG9I2kyKY7bJSBjd64GnDu9tvGmjgmrw0Wzr1hlKtZ4C7FEJSiwOY45TJFMS/GJYbk8TNnHM2D0nwS7a91HjyX9GEtQ+sXvtLfof3iJQUZ4+L/0D0BrHtopNlo1XiqK/0g+1vQ071fXimbHn8D2UhFvR4wc+utl9rI4nuYDGg+JxYBl9EAut3RKI6mPlOP+1lVmKslYHk/juDwgKYk5qYu+LVsQa9PaEIkOwgTw1jRe7XIdQBTVGYT1ge1mEk4ZxPbtAasVXr78WBQs+t/MjPbiJ8kN1f+8d18YiQm2OCr/HKPpGLBimm421H2Hhv709FmbY6mG30JxOAEuzbVRuucN5BIPeq+q0QPvAGy9GJKoqTu7e1eZrbCfozfSDG1qQBYjHEQazXy/KRlhwrgEXDrLceKeJNADh568+EP8zvkMQak8TkVShsOeaeCq6jgJ4tfQHxPUivDisHEG6Ufbu1+NpgaMVyyihocNd2W5D8NwwTQyozuGMmw/f53nX2BM8wIKNwDUItVOtvk3FKCrOTKBDhJmKlf0iHGjBcNvs0AEjO9vDnO3hukOKW7yLedkdEd6QCmB3D7BvhXZeYynZuCoCSOD05EapmT1oHmQfG9B19UsQHK5jkhNTuWt2+r64lSDqV/ZDAq0/V0SkmfrCNfLWrahF4libM6dlZQ4xToPFrBD7coOSwbRyCiaF+PnpRVJCuxJvSWZ9Cg+ocTGmWLZvhPGQYDLQVY+sUbNG9vxikwSiDbNHiZHE/98jlLqKnxCwuDII0R9VflzoxC0Mp9PiQbufBhvuFcN4/3MTY6QoIRUrAkj7bSSjq/mYGbeMICYM3ZxHxRkx3gwMOOoWu/uW/kVuDQbVVdvZHU3bopQHoXqJ0fIRx3D20/KBlAq00Zo2bthJEsG6KrlcAjWcYG0sICfSylHvdjs3peUx0SNhj/Sx32D4tbS+wfzUsvS8lI8SuQABNaypqp/XF2QKXdJ1eCYYNfF8eMOTVRy8OM+N9EvUtxYyz2x5/UNUSdGvnY6PjIzRcpCDszNEPRBXZgMr0Pw6tvnyLIP/1yTu+LfHynYKrFbn6D7i6LGoFpmsQV58w+K2nzVxzi5tI5sk4rt8hR1rVZDIOgC0q8XWV60emK0T1f/Pn3GzRd/xr9jj2cGHtTASftv/+UbrtzppAx5lHN4J1FxkwrdvQIqqQenR9eWY2sxO/I6V/KK3Ur5MWudLebQTr0X1XbmpX0bQiCffyHVDhgnWFp/C10CbwxRhHz8N+JoeEAhifgBFqpth5qPT5FYl0paaZmHUvXdjGZRm0Yx6o9BjPuxEimd9I36k7zl5q0rUYTkAdq40PmdawDf9VkpGfs0OynI1/AUe6jVlvRcvEYt/rdbw1yO8mVMlGFGeCLoXvnQOOGDDY5h4vmEFzi8tAzPCPj6A/Ix556JN7cSqctn1rkV73DW94Ua9VCakw7ordCuO+jp0H5wRjd7ZJXPiqIgt2mWNUKEfbgeWPx8LSSa2SVhcCkKofUoc+0t6cdp5sMP+Y6IRUT0mTOoRsU6GuAxuhBzoGZ55q29s9x1Lpl8iwkOxHAKeiODLmk0rIpjeHjD/kRD5oV8WiKfg2azb5GM97cJ5BkMWJHCA0jgvr+nesDrlGkAmDJzoPZiiIowQOgqo0tGOE0IQtHg6WCIqyZXe5QXL0Dq9e2PuJhG1b47adpfe7XPIQ4NUpyll/H6IHHPUdD4Dh+/MXduKupR4lRR4waktXcIN/hdTTkCz4rGBLYyQorlV/20qLik+Dd3IDmq3BBI99aYzQChECVhomzEOuu2s164/UblBRf6xtQPPo9YRtdKkC864s2jQPRxSqCcSn/IRGQqScHR0XJPwyMjy7YfCEcWMIcybY0b3BZVEZTVobSzlXWQTvYAkKseDdNVZZu+ocxo3FeIoAJ0+KXArkzWEpq5T0+NAapzJ89PUkB7v5Kc6Bbka+9TfA+m2xYEaYZF1y7k6LdadGzcppszNsP8Rj5CQeyzX4BKkN0Hy+VZm38LWifGuUjrOfTwWnyYFB/jPh+Mhsm7U5hTH3q+pzz1XilkKDf9z8A1yIY+VJRXwcuA1j5dJt5JCDVHW+EJtbP0eX8GY14gj7HJrNXFxXsb8GMm7TOCPXctN5xRCgMPF6IZz77haB2kMdTo0S8gLEcdBsDBuV/d63liiy5ijkox9Yiwy4Hfl8TFlgsQ9qtwFn05iy7c9wX8BhPh6a0D4i258kJN2897rP24Hwce5c9xMj1FuCR0GEBAhB26GfiiRrXtvfbQ5kVBKDfs8ctZT0KzI4M8tmFVLCL2Ut5/92hbFcYu/MjaynmZlbPsg4rqhXDGmqSrJWOPARCub/ayPmYyZpS7d+MdY+cNYIXc17HRel4eN3AWwk2BTWflJdnFWCwMBYrqW1EmHR52vZ8NjM7zW3qO+oSAmUbsw5lxBMeA3tM7qrgqhQxT7Ya7+Gnd7mPbgxn6jIacP+/tFOX5Oiq+3qiiqN1A9Rf20bs7r2TrfHRby4kPEzQQDpO4KT81dSuPx3Ll3/vydBZcr7FT6A2wjPK1RIeXt+lmat1YqLguOR6YNU+wrn7VJVoJ6Lfjb7EXo/rHGMA1Uh2pV3PBrZXdrQF0/4evpUO6zeGjGJtQiY1sOEY1rs1TXWzNQQmGk1ANCKCl/UpnVNIHsZR6n/pp7JkPFMTxGWuliQ4zer33gzOba/KjvQKmVDunid4KPQnVCmA83SDBKd6fqZL0dheTbz5KryvhdbLWazFKkseroXM4CBHZnHufCRE6sld0RVKQ5y0UlNRZV9jBkyKaEE2kiKtlpJhlTtqNebnk3px+CFsgNzs+Df2V2K/8IPiID62W4aGu4hiTEIWs1IF0S07nU+miwjqjTmUjrXlkD/5VZUL+wlblnyhZ7W5p7i2EPhukyHvk6Rl5834rP91y3cRkZjxY4e1U8FicG2QjoiIYIIfhUnDEGPba0x28pLrw+RKQbPgAh3uN1lv02T6qaj1qqIKqbV5LfpQGYJP/wevC+WnAhHrRZFz5iHQ/p9Wbi1lyl857JNtdihkSH+kXHACCrhD/bM0quVnmNXp75BMp1qemivvndmopf7bpfD9gHvdslpLFJPV+seAp5RMeLJQBR5PYzcmWPqJtvzru6Ehv3EqmS/R0QNDPo8+KWwF6uTebKjlRAV53MqHY8r3BWCej8EwKN/s6M/yWot5zbNY8p4O1AYyP3dHFllu7NzOdN4lf1La61e7aBIzRnS2qiJqUFLMEQddYxcwTHyOvRuSaSMpBSqX2+GwgGhMoxPedqIjX9B1YWfm67bxWvryNGYcFRw9bq/yLjOFa13f8wMVMPpYfTbMREF1kYtthudHLlLozG1CKklsH1PI7OerR4rNC/3FW1/MW4yGTgjGbu0evhGMQ0fIk9M4EIfewPz/9lMuAG8gxzdy8Qe1atnS9LxQSlzMxfz8Baw/jEujl6AQ/gHdXW5UxEn3/S5O48mm90co/z1G80I3PpaFt9H5J1StGUObtx+DdKUYtVrFjt/Y6aDtPf+HjfVHHMKAMEZAJ617iHc2xSMy3m/caoMj8/xyR7IeAA7D7eifsaCeCTN1UzFuLu0VZubco6deC7GUChf4LMjVVZ+FFuZoKIeDKQ0WTIHgOolIfa9EzgvVExVnqtO1jJQc6usD0THGQ4THq2VFhZhgvs2QCtTsA2+h0IbhBjDrkvsXuIJ3jgLihUIHHyDYxh8MxNay/pTWGGRyLkG6cVif3pLkMA0mXJtLOZB2XYJc9P956gyWNwUdkbJ+BkxlRdvyCRI0e6gyZQnrvzHrpLAgQoENemTJ0YecbJjrHfBn3tXdx+3jESjACKZsBfSIRt8QFVaMcsLCA94yEHagvnMUkXwNDiksu2q+V02sHCHDNEq4FPO4ceXWIBwHpCyICYZAsbBePLhmNYd//9LiCohgt5doer46AOzy0GVzXst2i6yKeRJx1FgVz8je9G545rleQjcLSnHMf9on8qsZc16E4PilxdWgatFTdh83BPiEOw6W8aY4LudPisNe11xSZw7sbNqJtHEEwzr77M/7iHjzypyoELEWRbAEhhviZ86ubnCCznarqSw7WGaTUBVwukr033+dq4LnqAjk7eckKqyI6+ia8vhpvvm+Iqc76iYTX5TNG6F+viMwpUheusBzHpbz0EEoCarKy6m9jXu4A7Z43y8NS2GcpEySUh4B/TxGqW942vHhHbTvr3uerM0PQEXoCBA80PPaMWOvxppBGSCZnoXPt2BReOk+fOZ1OaHqgaginruDcbJ3mVUfZ/qQp9TycoBan/+qXIQiJea1psF/iLAtOWgIixMgqPCMvYDUhX5Bl+0XaqQACfNsgXydkZKuwHARp0NvpGasYATZKtapYt7lAdGeJh5FtVW6n7N85rlTPwLR+BSf+BGYeX4DEmL3OLv57DnoJKCKgj8WfCLkdji2hNL/bMOvGj61d/iCMsTzmCxinzhJtI8tssOw28QvKnvxonaFVVbXJVNxHBdOO9tC+D1igleMTdVuDooSOzfvBkEpmQ9SMTT+LjD/uCwFhVfHKLs5AnnSgURUP5IpFdpi4IGHo1cisR7cmR56/ZZC4fS34EA2rT5xsylwD0maok7r3DZSepqk4Z0j9p2aQ1kGrZzx9eDZQY00OYHtWQv6eTwoz4m5PgkE9pjhCw0S4xcti/PdkZHs03AaQUBzODYO+0R2H8xyrc3GYYcyOKMHjn+9nkHONZ8xjERZL0ZC3XY6L+qXzY3KPmHjdfkBlWA2AAk+7hTfmr+/orQuszwfIEoGOQfE7jBQyfu3dJ1Vp2jelSaMXMDIMb60k8xSUWUuxgcWjg9mATyTkVBU6wwUe44I8UNHLqBkN6gr9nwZnpxQOJq2DnSXSbmmbtCUuJNRXSf1ZYQjtbjeaSAlU6XNxWKduJCXy46Tzcb4D68502dpa3TfLse6CeIkqkFUluSTIubh4gQXaT7Iplc/L00sfbJTEk15y0zTl473vXW2+3PQyL9AHs2FUkPMvq8Z8hEwX6qf5K3Nv4WWxluoVsUR/bO+uE2vkrZv8JqbaKr/zwGPopAcSCTLw9Qvs6hVICGT0bbYOjnvYoHqEzlIdVras/sU5wBo6tK5KEdcqAMd47kI0loED+E08646bQhMgEvxYhwaDZRUo/u6kvOrN7ZaBGdVlfZ4PrWSOLWavWk+WgEapM2h7Eg/GcVmyi8BuXEs54eDnX5W8Y8pbRLHS4G8FYURtdzbvJcPluIYxq+4b7vvZXBu9YRg2ToKOSpelmXU2cyQy07a751ui1YNw+Pl86nNOapcnbdyRXDqUkHSr2CmzHa7nLgOGFB9wB3alX4EKsep4czNC5WfvqcHY4GHj0odwS7Uv261WJnBF9+kABjgZcJ3jxr2rwaSEWQg3EOENVZ4jmwYOYWqseEVMBl3sRhaypbjyVFgJHakEkXqBst219nviPsxOTMYFYWiXze1Zpy0KFTa2ObyrTBT0BGWFEidQKPxmOSY3ApY9IxiMko+sxxhxPKNU8wyFp3tM8VJ0kEHaUq2GT8dMrfgUkYDfiYimBBBEFEREePDmw8jeTORqkWPJOHURugczbTVJP09wmbkBBT6yCsImVNlvbM7bHTqDhQ6NH1ZTYEMK3XkkvGc/r4oHZtfseVeY+6GM3C61TxqawSFtXhG9BaczK/bRpkZpMsZG6YyBGPVxwsdIkmBKpNf2aebvW/VrEsaNaC7dDStWfQ7UWZdxqfxqRsR8FKxYnSMKKVgdR56Q4L5R44oeviSy70AHdsr7idxB0y//7FEqP4AqFRFz1RtvZ4zO/LDNpypA+TxrnMa/YqF8unjXwIoyTY0q83atsxGWfUNf2BMjOl6xSfLQLse3w2A8Wyp6XQ5kaleJ3WnD+qtbtEl4cmIM7tFNAcKgMh1SI7n19gin2HXR6/6RnOLbr65FDaBxJwLVgXEBeCJeYbZ3CLL4W3k6jCwphrj7QGUrKENYujjqRpRxm/lAAVu9gQt/XO/ZgXloR5fx01rW7FmD4rKBA/gGK6UK8JQUL8SsZ7phUQDSXlaRmOyVoSw16X1bESvazy4oDi3MEOiegz6842yqkYUzeG+7LM4hn+7/pvsQRHy06xBmrtGcY6f9RGrgE01ssn2uRvOr6/lHoCFwVR88exCHKM8XG+hj3Fsxzx93u9NGS3li52k2TV7oKychPJO2hspfmMsIms/Z5MQcu+cmK1qv98rVzQ+inriZ2YyY2lSm5Ee4h2dF3GdroebT1g5isdEB62b1XrqQXKzPcPa1UkjzGZjBPk6ilf9Oczl+B2J1T7o83iWqPlTlpufEWSS7+abBhzxCJ5XWLWWMi/Uxcn72A9iUWyMp0UARZhDVEn0hDInJAXQ6pLLygfGulqnh1FyXUEChnkz5Y+Xd/nfRKOGHpdIC8L2jQoP+AHIClkqv5Lbv7oyCuImdWygBqLASR8c1gjE7XKZOb55dCi5d7cpS0YtIGyRruZgjQDbB5Yzgwlfi94zq3TQS+oofya/RSut2ns4m5XKdGVCLuYO0DAoxqx54WXVLQvtMoyhXWebT3C5UC+EFK7UgbEUThAIgt7gujzBJJZtF2sBkTjh+MzCg8ajCTi83Qpkuh9rwyy6Hvup3SfS65YvY0FczqJKLDI0QYfm3+/fJbP6pznNc342WGXyXeVtoLstL53T/h2QI36t4NT+/XpvyVLtCLf15qSnNUZ3sT9+mzyBbKyhDNRP0Icq1lSrzraSi6cbwxtlM0mWnYb0jIeuIdFXBv1R4zhe5U6f5+v6d7V+StmE7XB0FQ6OQEFsSJYOCs7GzLdAiHdzFoholDnj7AwDh3ResdJX+hSNb1JRMEDQD3Awj0oy3afZ916yZbt5kLRwRoTZH9ft4fvqShwOHDBiwN0+aY1NASYNVcQK4UEmOIADwgmtsvoeLFfk48fIqypW+mzCWU5glR7iMadqclS4nPj/0AJF6Mf6fd2TELevpyKXxuL5oeQDqviWk14v6TbXiqf7/aa1E+7z1d4rA7DCyTb5zFcBpQDDaKpY7IasjkzjtZqgCvK6vuho1JJhKng1E0k8+Y1yG+pBzArD0EA/mN/uJSYXSq+gRzeh15WPbec7pv0dWdxfTqEmwh9lLNaB6kYRxoxjLctlPajeLX2+taoaVM5sg7hntK1/n7t/na8LE3K1/ohbTIo8vhvaV03T+3WIgSAGiOY3943o0vfe8y+SA5LITAEtUNzT0jq9QlSu6p1ouBFaeGkClb9VMWaXh/nJdVglRNYIRdbBDPCcaP6BzUANUQlSdCM99CznkzkYYf13SHS7YNbmam+SflEPBRwg8/TgkFPipc4ZXodG/8zrozSGgSITVsxQTtgyqDkePDxRM0kVHOVY9VBPiqqbw4GGhHGbeXxsF2Uq/5X69AR/C2HL0u3GfC8dVPWEqF/wLSYEPV+ZmvtY/8DeqyY9ZK7cJsWX2NwJUDgMupcNKpVe8wlQnvkbqhQHCyyYsje/vV1E8FKHwz4Wttp+Alq2o8cPDEU8irfoQvuqz8HNhUxads0nnRqt+9w+KFe3UBzRdeRrpOzq6SVJueaDpu2v8NYNMCFyxL0Kj5NyJkbB3isFUO0UqUl54N+7Pgolj5HmoLey0ec6/SHOwmzqedSJrIIj0EbuPHBJuh1xAsmeMymhbzHCu3/hf/NzRDtPVZOJhvAa6qLB1HEy2bxDa0Zvd0G/J9VoWzMK3gPKJfwwCNcaWEkWvcnw4sLgH0q4r89pZZKj+j7IDpX+ZY8ibo7imZB0WUGCfXrydNwtXsZnw97l2jsmNCcGC2mqxzhH6mxXbVpqOaXFQT8DINXPivkxpas9IMSlFLwD6LfTpHPm3TwQ7hZVk2W/RQ6azZ0ZHk2TVaF5hYogmsZKWGLaNof6LJsUcC9C8RWjL24ZDBwfmzbxvaXq1xuKTU8sJktWi+hEwe7UgkwMQiIBMUNN/5SQezlekjwH9M1duMTTNqNL4zkDCTwHNEyIVNSTFgvXNcNuZ+n8BTqa6qpfWMf+X9/j/Zaaxvtn0Z62rf3KGbtMkG4YdaF9v3tDrKS/xbAKDO0Vc9vnLNd+FSht4UR6owe6ntctRXz0vh9jcJnHHwd7RgiZcYysOot8m95rmi7VYiOahcqlNom+iCxDGYnZkY20oLX86zifrSAI33ESr4+arFpDuYTlPS9G/UD2O+Ed1f56+zfB30Ynzlw27FJzf/2nIXG/5+AfIMSGpH1YYv7ORNP9y5tivc/qIkXJgJKow8nawN6XjiU4sfYwHLY/be8/+Hcqq/Yqrn63KT3K8hHI2DcJ6R1TrIYtgrDwdsC54YhXgUUlbmt3WWf8UC8UiQ41sUcrw1RGCSBkICGXIbHFPb8Y2IFwaSmgv9QlE2rW1jUaeoVITnIf/gWte/51+o0DCRHm+OQh1fTox7QzYHGHv4HaMKMdzj9ELBeqoH6P+vo3A84loI5uON0Lwk3wo4nDhe2c+gVHBw494YKNm0ANYiu7ZB7UU2OmEOnyWtYNdW2xOnmnGgdOQEMCnbsZcK/nORRjrr2yHG7/evSPSQonPHt7sxlCtXjQksAoUncdyy7dihg+pNtxyVYKJBe5msSuBpaWycnqLw9r1b/jN+eiDQeKmZchgbLbRHJVp7EC3/FVftacoKBvXXut/hPJVxxknKlvldbEJyKz7sMSN8vYQw85p78JY34wZ2HI6T0VXUrzO158wYV8VjJCF4EsZDeeJtLuhunv9+6tN6KVENCey6sAzgKKuRBuzECgiygoHNrRuN74z688WykFvzrV0XyTaNFite5hqxboEibU5pzJf8JPmEe55H48EUN8fYPyX/iv7YbcUvIHivdzYr0MM8RGeWJfSLf2fqYQmjkW80UBejmx8/Ql97gY12Tmnj9N067ZnximEr8Z2MINlBe/Y2U/Q9LoyKhIiuHSyOi0ud0w0/Cbx7UJ8Ljz0wfiFcQQDy9D+LQwfYOaCruBruGzcxEJXER+lxj8zzHqeLcYXn4/w9r2Lj2uUWwgAWl+ElJRSs61cI3wdZohq2DiXDzGlItx0Zv7CsRv+kPzxqRcS8lIUPnL3K+giUe2hegeeeDqyXApWjgs6e/vR4vQt2g1YHACnIjtktkhRL3xaOaYwWwFtg5tcvbc4Mj4IVkPnSfzg3mPJG8H9tRzUsCh59nvK0HgEcotuqYDRRnuJJr1I7xGbkSRHjOLUrfjEKFGiGg+pj+Y++gCmRlWbNLG2h2gHtjJBR1Qzy+CESy2sBig2lXNR7llW5A7ilewA9bwjsLWqmGrYQCzeeI06LC4Ak99yjb945liaYDcMVDgJ++Xo9Wyr1yLpEs3DN28qMaSxqSkMv1sJKw5bpiE8taHSZWujiSjAaZRC03uGedfGwORf2X0otUEXz/bX/zgKLJmwK6WNX03LXIhyogY5rXQ5EHIp/8ICnRFZelLLFbPk6oVGIJtvfalm9m+bqk1KYClaf931lX8s4OiN3p0zjpaGoE2BK81EeLLo+W1gKbNmfUQFy1fNm9LfSBDI63n/3oQ3MVsjTE/JREsn5e7HjtsgdmHA9Y344yNqbHZMsp2k+LzqeQCnhygLZyaUC+uOYtu++EExOec5tmBpdRVYQ0RWb2FUzQHouepo1IrvWqFHDBt/DDZ7Xk7NsPCsbSM97m2skPMcVGuwgpvGbf8qOr0whlYXxExCLmFktC2dny+bspij5Igw9JSJaITVWUvGMLzPjL0cQS1BCDpF4qaNOlvcuL40h4pXALqd8cnP2TQUk/Km/uBYzI5EdqdFo4tTMsZ/nU/uYmIPeqoK6dzm2ET2g1eAF8+gTK3awExbPoWe8DmME63OK9THoyfQQmR4lFawlbo1C8DibiM1qtU9smvO2m/ClE0VzhjyX0X+ED59Go23E9sbmuvNqwqHLBhcUA+Ij5+lYb3X1oi5gqG3TBSL57MyuF8oe84BgSIap5Igt1QI3XGY8YfDfHWVd+ibRMvr4dVtkK85UsUfxXYAo+Okz+Pj+nH4I9l1ZGJm/ftId86/YAo0u6vDSWCwYPPwN4V7qDJuYDpLBaX2hkfczYiPMqbAS9EiOrjKunvboKjUNoi1+4VkIcC+9uuHgcx9v9v3efKjaO6KmFd6oCsomS9essPQXCP4vDqR0BmxcOoDHJEmLc0rv97vQlZeyNS6oPZYamXb5uvgoUWyxyOIeTSIetuBcBL+T1Cj4Yl0CBcZgbgbzubw1aq79kuT/yNPJ800t/BAu7rLPrm/p+uOOeChLYsN73gzX9rfVgDA0jyuesA63YuoxPbrClyazstFuDEsSgJrp3i64x3mQavPxBJW9v5F72YH9kduooBIYe+32esBcdQuiCoCgBI4iLWy1wwOct6wIklWiNVk5g6R20s/IeFL13+XfiIIUzDAidtlvab9vlVYsNiAd8ydrRwydtj+D0yopv382tHseAP2u9lV4vICfiu5gP4g5YHzCiqykVqcB+EGqN+qbz8//Z1LRSXHC+lW1/gsRJGH7zwhDrOSwCpjaAsJPkXoimnDw3GvacrE5Xtf+PmuWjTFM5KjC9j6qpkS7l0CiPNyGiegSgGaBOjfB6U+VwOgrdo16Co8+XyGUuFadF3GRk81Nq3IqlfCk5TCO1BMjjY18PUyT7mVRjRcJV3b9IB0r3UNhJ4tHRZlM0Rci/G4mOISVXhAXRKPHPZHcLPV2dMuTZQ+0l6MnfOvrZX1Hsagj6HoPl+MBLIfNA78LTOASLuZaOaATaWZq72HQuXaLYmYby0pr51yVA+qkdWFjcm9cTDwCpTG6mB5laWGsg77pSvqtjnrIG570pB16tukWjZfp88sWhxBOQBWoX3JPuRLFpgnucMBbrRgPi4W+w7gVpSP2yRHZWw1H4vP6ZYS5+fz/NO3hSJm0LAzNbT93j8+ixF25L5X3MHpcHHZbh24PIKb/qanHgSWcISbvRHEnzJ8mwPCnZgD/thBirWhjVV/IrKxyoi6HaZOocfALw7YjGXec+Jv1z9NWo+kT8zw3mkyp/M7g33DDdI3hU4L/JiboWA10jJ1t7oz6YXZjqmpCCDzEKKaHzHjWlvMVpA1tFhtEbVitcJeG33oAbsEzO80I2q3h+VgF3EWCEF3NAXOX/dhFBs+r4Y6yUCWLA0CKhQ3XezcszglSp8vkchuNdcyIQ5uuTGYL4zkpDaN43hzaW/JUAQF8fadvIxS7HQcuhQWdHTsH2oGDpKwmX+4Kw5gnXgAL1hOWGjd1yuHEOnEr4OJRAgEdmsgtvY2UGRugnMtiALdlP4T8R/fYbA+AdivEjbIni11sSV4OMIFH6BrwN9pLLYIHUrTlFNBVs9zZuOPhjb1Q9/RqKFoT5kUgJpqytICUMYbLWf4BCuLXFsnw1RnAc7pVdQ/QJZm30HPk6JvZ8Hs78g6GhK08anV26/Y19wmiwhL0CTlKXJkRWgb084I1n39rZZz9Fg+oNDidhMVMsKGwLxx//2HKTjWNrWOoBPR+aQm+yHdOjE1LLwJRfcNCx83DPYOrlEFeNXegCojzyqN0JH6nR37exKii8t+jVUDpkTn3Jt0qRb981bRDqIBu70LdWCg/okqUVqsenMK8b9wNqa4OLjiAWcVsxe5YXfWjLZHAM7DBbkKnESm6ryxDI6vqpKwdc2KMCX4meyMHut/YK3wz+qpUm6xQDQZBD0IxPp+xpE6pUcENAVzS/62P3ZOsHkwumJzjHYUWDwJlpTcRklRWysHDqC555bHf6YQmKfN63BxWS874oeiPVIa/4esbGccGtmqLIcz4JlxjZNpP6w0hjQPD13eLQiy2b58qdkmhLbSexsMhrphSzJpEilFCXXe2BDHDtiYZIqlbJJ60eqlXxUq3f19X0TZpdHF5+50gYBSVbASRrF/AuvnhhQdE/tKzlS0+riwktzeUyCq/MqfWIr9VhQ4P6nOVmGhWX8/3SKtOwp1xnfbY7fVDYRDFcE+eQXi0fsDp7m/iE3FMvRwKSoXURepsiutb6MxWI3YEBn6+SnYXTkG7KgMoMQ2asaAfnp4FxZYR7hOCqBcna1ZkMLK15PGcyZ/E0+K8T4yiNpx6giYuqeHcPb8PSooGhvVjh7h1Vt8A/WS1aMs7R2RVrg79x+ssB16oqZW1rEknjM5TOUfBm/f5t0kGpYpwuy5/LxlmNcwCcceX12lq/0iajCqUyAIuc0qGrRrZmOa6dYzxawc+HAsoXtHPuCs49ON8Cz7ZF55EwvhY5P4uB/HWXvskYY05RotsQbBdoa42tYvDFe83H0Pj5+Nxr5sfPGQG3UjiAMFegVgVKMZbhcj9w8xyKXp3ii3gyyXqlJNEnFlbiGoq0368Xx3V2nruKiAclVb2ZHoxARzfVByhv/24g8neH1kuqz0vvdCmYLBEbK/VU0/77MPvQAePeY2z4XR55CnqWHzf3GLGrDsYG16SuPCa73QmrVOoXkuGUsUqN5NZnQYe/NetLiV6QvOSm6MxPWP2G55g9SJ+KTO7RSykm0qRmhJHytXQ9mPMm2OBgkX21nTSkcc4wQQjEWpZf+KxdLR6OFtKoY4zzgZ5H4+CDG99VkPPXmNRwu48olAQJpfZ/S2RLGczPvtvQupx343jqAYbYHAlWbVO8Y7JGPBvq1nL4DPLqfxbH09n7Lyp+m1fV0rbyEUXh26ZnPaPR4uazMsy11rS8QYXQM0h4cfTmys7sQ09bVw/zBnT1FCcQ64Y8l9AuKnqIZ6BhdZ0GltGIrmBiFgF4344qoBTqG++VJxt2DVMfscQjr8VjCPQdpM4wvNjNS6IB1kvXZ1/YlGZL5mXq0+x7JfpoDjA3dBPnzPiMEbQvFHsdhjv9cl4NonpJrAUlM10BTp6stq2lxrK/84t193H/nEUw7LU7IZ4bfARQVjOie1nY02bDK3+H/OsT1F6jc8XQZJtFFRed0U2w7KOZWMgy8iDElCSKzVZWLGyzVatccND3HD5j1hrhaZ1J9lhPo0moGH2HlPcjR6AfiyuwZLhkIrY5OS/i0bdCjeQIbTw31vgQazZ8g0YNzpSe4P90yqNCwY1QqhVAlqToLzxKoNMzfSQQzyZsFHzABItDKoEqpPIKCVjke5evU5HSfg9qHLntSnbQnagUpQh0vXTJsTdFxwt7D/vmNOWwieS0tZs/+uVbOJahIjVwVPH7HIA4WEs8+d6UgGC83u3ACIf+EH3ym3RXryepkdWY32TiF5To0e0/2kzr1OPLhDtxAPIyWeUJt2FEK+q/d/5JDe63LuUrtqOWf91ScaHLEUcANrqT9CjK08stntJ4pmj0zAZ6FsL95VDNDLKTo+mY0zNSoIjjop6pxHBhIoOg2cP+ScwTxBthJLLSI8B3x2G3bGtV2XgA90CHoKXELP9TXYMIf6zGXfh8pvsmL3j9rVJaF98MpxuNRxdnCT5JGl/5n3Oneq2zpOtS82sGG9XFSFPwxbr9KABAbVd7SS3Vd0DtfS2LzZGxtzdx5QfRzWPsTkDojarjc4nW4IH2bHn101LnhbJNDIAD30nVwi0KISomSCrQ+Rasi4cAYBYOgcXnF0SDQjnM+JpCoEctGnmzW7xsMU179S38DAcAdZ+AaVP0JyR19Xuy+FTq7vIW9ONonsJF9VPUxQmczvgv3Gr4mKvS5n/G9z+EH4aDVTTmToqKKSAJ32VbfY4w1iiyZVGasP4nvgYhIAQ7WJirAmRF5xg9j7kosrz5TM3ObTfMXbirlZAydvJ+965Ya4ERMGv+U/jmI127Jb8bJncTpm03hVmIFoD/IZjzHWIOlwTAjSzbTLwuUHa33YSdJLfq+LKDv9XcbOJsMxwu1tC0SMy3Zdvkml53GEG8WYp4/GRhnE9MchZCgtb8hn2PsBFh6hAORbD5RLpTJ1RhxPV+AGJd2Jzo5DD8Iul1Cd+gLWwkRi+xvhM9OnjnbjTixMNVlvEQvox8KToPdintxTQaYYVxptW/3bEcqUaXxj4NkeIh8wSLMSsha+R+HoiyL0DDs05Z2FaU28NPLDNeDF32+Uh6Y7WnZU+l525islQJuWMASewk0uJoGf8Z909u78EvnE0z61xylHgA/y3pmsCJqV64YUIh7K+hrlvPk+9DCh3X6/TJVcmog467ypd96sVpQmXq/DkRKhNBBzFAq7EfFiMQh99mMOI5ehePfxVgWewhl1+gH53bc853LKGYAMIhrrV5RvF1vA5VyBMMJmKzsiXLWXLAT9xsO4I2oKXf5QEu/V7RUyukrnvx7UxtuSS7+TbA7XgBk5ISImiYoPG1yxK0Tr6i8Y6lm1DRHpCl3cqugYFNWTH+AIAqzrJ9D57IwBHWsFGtAe9KvByTYvB1lHMbSQSY2A1h9wU1UgeUd7B/9sAhuWuxyz7Jka5aWqc3lmbyP1eCE8SQ0a+vDp9wIE+rpanoaukc+Uefg1eZWC8H7yUyDf1XPZN5p9vxYCIvSff0lNTxNWZ4rSUdxClR7hDzdvoEhdBZFcp4al/lQ0fCRmiJB0guw5rsjJdwIKDVCIpnXsfWDZkhxumOi5mgD51+8ycxaImE+o9pgJSHuXRRv78VVhVpD31CcIOPR3KrN91XZ3VwK7d9Ra/daaXnTZ3TlJD0dobkqiOSqzfleU86N1SBH7Ivz+L2i59uobyPAp+D95fm8Wa6iNEoy4tQhW4pWgwmJ5K45yncefSgMnx1sKcBv3r89zAIi32TFzHvFeo/ETDJY1pkYL4PU8pWHeLI1fsevtrz6dx88f0y6UazVXTmmBZZBaBBLeQJO6i934yMTHvIZD6MTZaCGBDoiKqT6TTVo8I2SyJ9kZWFv39h0jG5eLayHKFcp+lH7orvEwVw/amM8gL4DUZlCeiOG3yZJWS8RP3YE2uI38CN4cFTqIcKk6SGsvFnSCCcfdHnaYj1Wzx7qPd+mD1g8dclPLFXlm3tiAxpGcBmanKvq7HGZ1SyRPAbZH5tkD2B1Uz7IqAeCfJpMduoIn3n9wSlM+dG4VEcuJ/O+0BEvLZoEWNcVC+N066lUj6CYyY3yO1XJz5L3mDDMYAinA+omCAgVT8syIetNl0HLebQHNEtZAgdlgVyXQtlELFn7m1/9PcAoCRpzNLkNjdsih108dImbWo5hMnKV/QvGcFxsBuI6DTUSpgivgEc/Gl3HskPTodxkL39C+7CiX6GqKWA1+OXLjErD98Ekv3qRQFOLhWX49TP0wxElG1qRRi+SLNjp46s8Ca6kAlwhulZ0a1wiB0PVXgxOiq3TlKVjIvOzOkrtOMyUEOLdpAJN7UIRQvOA8rlakBvLXnklVZfICT4Bv4FFM43613K8GUFdYSlgEGjAPzK5WkAY/tb75Q0EHCts4ixkCmMf1OLDooxS/Ihz2CMZcSEFBlrb7GdDvLADbUVRZrzl8UQoNRAiYxfR+7lo2tto0Dp7dwnazgjciUmHdpypU4/RiMqXKxnWAjIxRGcg4YYytNUqwcCXb1onrngF9hZbBELD8WrwCTScaVREKi4qMGDhbjU33f1jzIA6hqsaEAj3cwzGCd1jOEnh7XbRPOQeYiVKdWtFFqilq/EOzupS10LfDvEicK3/naYFOLY5NnoeLQK7iFnhgdh1z+yL0umBjxGBQsxhTLNI7D/pnuHs1rmeJRzWTvoXmP8mfQl2U0MI+IGUAWhwhmy1L1nosgBgPDGDrOBwbnHiIv5VhTB1MCVHwzVAM3XQA5hXlIPTPPto2hCeNGXdxEW42z9dQ0oIuSLEshuusbUpqpJTkEqBPWpq+p2I4uaFBXU1mZfo1wS4WG69GHtJr6EDHzVhRpdKumzqC8ROhh/PVCp8xOzesUE4lilMHqY/4PFvfeo1ycdqRkW1aMZ07MOHz+N5/zSQSz2FtkCVko9BNq9h4KO1fT0rkhoIc+Zr2lrZbVzLQXV4zWHqkWGYHdv/N7Uw3exiV39iGWlENMTG2MVrPb2VPjrw3GWZhM3j4pSorUgFlPldjhEnXudqy7eCX/AV1i56C6KW0hQKJ1x5YVqnyAzUlQM/KmHFCJkQKh3YNhYHxJT1JAcRQ2pzLekqJjnxb7yerGRk7EWr0C7X4ggKPLkbWRj4QdbapjRj2HA9eKZgJnno4Sv06gxdYrZH6zpDtXOqTesdAxI7/itvUrydkunoum1LRi5IwUIAf3I7VTURHLi2o5fvTwpK7cquJ708d4TC9j3um1L1VQM+GB10jH7COzNNTIxx9ko/ASFXBdnT0gdsd+9iGGWvh1FocRbtuqmppGAssI6zW0EWgYk9whjl9pEqGUO0hZKIpzaOjxvgvb9xvrJjYsAAxrZrjkgoQTPGVcHoiPmxoFAsBLCkz0IV2wSa7kuo1usuGtjrV2dzawBk2gXeytdlEkI5D0zmwA6v0Njto14rFaC5NphKLlTHGWTfeh3yzdo6weV6zRcANEBmITQo1T01gETyKaobZWGqXKQcEY/x+BWMxaxb2B6zjbrXig2dGkpkfCjbqUplqlMYD84vY0WbTCqzqGwQPmzfDkEvt9pGcEpcretLtVL5NbKF76CxzxVr8gzCmV6Uuy22cvcjSFazzDQIJW2tVz7sO8MTn3Ex0EYpbBXmxbTd/PeRfNr3BXdvvw87ylwJv98QQbBaePQnXlovwi0QrX6GCrzBlycFEhpYDT3tH5Q7iNw+u35oIdxDhEJKggVg0trc8SNJRpooVUhqarJXLt3EmFhxPG6tZp8tBmQY2Y2pbFeIz0wU8b9XUYisTWifomWvKQJIFRgCB9jfR6wm6O9FEdYbAATxAKY7MAZIwe+0VV9Dwuw87kuPHfk5ZmT6QTk+dmRUOyOpO8lT3aFAqwU4K9Upg/TGHemqv7WV233AswcFXV/FikS4WqoMSwYrYuDJg9JF2DL3rkfo9Zp5vS/qmw0u9iznm34OnTbllPPCJS3U7stXVytUwd94g0+GDZwRizp2zYZUXVwkuHAWX0isYQRA/sRKn6k2Qb27jX+Vma1n5RnTYLu5TcO2muouDWZUMbUxWT19vpG8e+hT86MUBXIXKH/PbLYzwanrAlADy7ZlOoae6n5DEoLhQTWyAi9ay16JsHBThltL+5mitsuqCz4IXqXPszY3lPSrt8yOdBP9yAH/KNZsjo+Mt0otrwXJUFEpucxAaLaUmDnKCNNskUsx2dxrLpjkws+Ca57eC+vRHWSQ4q6gCVqeXea/hLt5cjYn+hh5GZK1VRId9i1x3E9YrCf/ElMJFrIGOTUNSDHqOCxB6kAEESXcu/N4/8U2Uubm+D7pF5MD8XD329z+bmkJAKW6yyedEozVhkNL2JeSMzYOdYueMFVgQ6mv/fcGzTPLYPYabBT5Nh0SXOvgdYKUIEZ6GXr/GJ4KdDNUahDq6MdJyjNM5oXarUwPswNFUiliE83ejMLUfKUy9YRcJI9JrpORZdSZiNDXYFxWLeQ3fxolyrLz9qeI9wZeFgM37PSwgnxHnMgty1vMRPB8thjDGzzOsnht0vPsvHmEmtzuFfmR7Bz+WZIITM4mgLhPQY1g419Q38J9raT9yx6qRa4JtxnsyG7sC4NzHDopgZKFJyRxynIwXSOogdrKfuVUmKZzwBwLjOMNXwJLYVT8rSEdcpPnHMSklxstDoU931TxDcMy4aNfe3Ko7YtpVKsYyNQmPvvlgAZE8OYrF6yhsFsPesLqYI6hbHCNuFI6wPnG2I6FleYKXv/93QJ9TG1qMqb6DJEmiye0/M0iaeFjML+SgS0ZEpukObWzaikl+w9lBjoLq8YI4v/uhzqdIQfYcYEDH3dXlnsD1tkbcnsHY13fyegJT6Hs3ZQtscd40x4ourdX4FfoVEFVAVBs3Ph8QUmv8JXmZP803cvJppPtL3CzlDOo/iQCCW2CixDrzcUH3BYKlfN87uAVDk1z51tJCChC1SIPmmdN71LYohJpVwe1miItjQr8pEZ3JoChWYEmCsnuLjpqVE6ip8jo0F4zdd/giXPOaiEl7KoEIxo5AZU3CxnU245/zPmB1P/9y16nquX/bx1vNML7ucBqTQRzBXvJNWWiywz/YJPUx98MQeTbaQGqBz6vB206DmebHWkplOS17eeu3MPuTsUNDI4qAlpp9ax6G5c1IFfpcYO6ngtWjkLy4uSTeaZn3WyEEVt95LbLSNfiduO+3iFBalFXKSfP5WTZ+NYkzeRb3X/EObJ8Mfc/ukGq5MLwTHa646cx1EU8OfOD/WS9fgMdge1Wi7vokFS+Xse57lN5V8QpjyKuUFJa+cMzXfBdo7IhHE4WSxfHPGXhyssenwG0KOU9DwWSIN8eGppZ2m+SggLXclScWJJFi/2PVjLPuWDE391einok45IlwkL09L8wZdxrE1eOXPMVHfFtPIVMqxI5rXWn/DFpBspZ5khUxRvL0LRrrIYRYh8QwNMHnv6sDV8R3RcGeTBX0NUqE/9cRzC1noSyFDPqjEp4FzNyXyluazmDON6H6iFMmSow9MhS8a7pTFR48h3qkxY6lbqPtiIBhlqEOlgU1cokpEG05NavR7nwn2L2Tal381C5za1dMjlwn8atKrUOxCAUSLD+jSbaQtbVxbxLVOr55SKukODy3jSBfdM9zjhgD3buknQM8VMlw5XcnTxmwveOcbAFB8aemSLkiPJje/JatZCHlLTtR4+v/DILASpffGyOWoQN5LRsmCUQo2mA3sQfLTSXR670I87RKjhwujrf/0YUeOlQJQEVct98qFB984ag9j/rL6nELoDF5TArJbE1idsHIk/jPEZXcFKDWxJPhn7RWk8ngS9JfNFR2AaoHUlAKMI9vNBgLDCHdx9JHZhgZkCerUtLfGQ0gPwTpfr0CaxB6y51QIYj1aZ1G1eJgMtzYzjQZgfn9i+ZP+pu6Lg85042CUYsJATFCfsOTDvKC3a/3e1ntvtfkhkZ4nuxSyKtsCby0mbymN2B+cLC5ArJGNSXJVnB+Zcdztgqtrq44DA/jhjecsYON0QnpkylPJcoytFRHHuELhB4HH3MqOf1lcvJk0SD/HbdJHBnMV3iQDOddRgrOVXKDzleNlsLceeqHHOKYX/295UMbhn8WckozrtYdJdnE8UWFwLDOKJMnJ9IEDco29EBizc7rAYQ29EX9LTPq0rEQkhLDVhVmxX7gW05fiGBn3Syvjgt7dMdMoHwY7QJw/9Q8nnWmSXCUselNm2lgjgl5UIRQBIv4cNvxMiYsrFxf8dGKsT3Dssz+ZjnDyMPxuZjgefPMzDhMUkLfa+Od+ZUpzTKZbjF9Eciq3ZA2x0QnoxKCMAbCNxNDvGa59SXAAH0kwFVJu3gbwuLnrJZa29s5rvjBCMiMDOmwCpOJ4MH/iXvGkeY0sg+8R5qs34r/vnispYOr0+bmFqqujR/xUXuJPSo8gD0qWHawxhaO8cDuBAblOyT4rjbRcCJ7XHRAI1ROw2uYQf3I1XXmaeVvhVgoMiM5CCzndotADOyc/sQ48aUrK/s2hsLBZYEZP8ADhkWPu6lmmbHeWfwMHx9A+4nMfwoyeU1tpGcvhtNMfu17tB33p50FtJXy/aphjCsOHxB7SEiKFaThPhvURDfo848uuOdy3r+lLZ51FV1HIrFC9I/opnDn4+PXfBUrfWugMPNDvH69hjCheGJq6C5XxcfYydlzrlCejg+7lP1ypOq0O6yCgi200m9aFOdH2naS9HSCf3itbemnWmqNnEJ4J+45s058AGL0f9s8YqEW4NZKinAPqNQK26+434BSsn4mAj7GdZh5kdoZ83ODRDf8APYjbq5CWPa8tOELCgjsglDy+gFRDd8JTTepojFJugdVMIciOxUTSIhv1b2C6lDRssUAFjYTfFjfJ+EDhyy1ped672tXlX1k05UWl1O5ejiJZtU5VFIcv6qY5CDu240WIiAINR8TzudntFbB5WM0EoqT23qjTts0eHm2W1gBQkw+wdpQIYwDiFNgBcpGjwr58uKXpLXdvcd/pO57qIhwTqv7T/ma58oFHwbQul4MiqHqWYP55+y0izcqEY03W79nIbU7Q11TLRb1a2nlgTXfxWEWDKwTAirmg3Jerhh+doY44q3CZmW9YonMZ5JLFGhc3Bd4NXkCF6j//Y+f/VqGn8x1gAhW8dAlQ25OJf/JPAWynk6W4Sm8trfIkH+n75peyo1nrROP6E0g4bbnTGqDqrKNKszL6bjSLP/GffturO1NZTDEa6cmx/sDU0sxPLDkuRzxz4NUVOs3Ph4QIWmcKfMvtdbt93OKGihBbeg3QbhLE815AeB5UyfGNPTQG8BP8AYkNS876GZ34eF5jnCYHKvWjmXef1IAN65lKyFAQp6WgrmeaRD6OmneIq/6xqH7GlIjPnc3oy1jigZxXgbHUHMixc6TcwNlTfG5ahdr8/hjdLfR94wMEPZZ1UHGDHqe4XWcoSNIXn7JUuPJHtknD/DPVgz2BqvCp/K6lLIbZ0v+Yg4aw5XUc7wRPtl4ZbIXBWFvCRZsvCw7asUjjH4shZcQ+LnfwvHX7Rz35s99V/hrPFuGVA4vLU5mJw7moFSyTGAFoMrKbKt1t1yKY5Y4MeaKZ3pJO5Bz7RDYY6oYb6lvI3+0iZy8ram4x4EHGwqBQOAxs+Qr1zEbCVDcIsnsdoatSsvhi0175m6vlR8+kpPSPyCgJhsKMlOn6KLRotmdqSZYmJMRXPYjC0RZ4OT0QPin8UsM/zNeHko9GqZA8fXJ4MHvYz1vJR1ci6fyTexMYH38nT4Nm7eZu+rC7lAmGk8a6qkNBSCjN8OSJBLJlN9XdKs0tmb11Ngl6IDQR/jI2dS7s5Dy70QSIJFvFdlQkrzrwaDz/91iklEpSKPWLONto2/ZOWNJVX0REsoK23vCCYUDmqE6MtR/zIAaOVD8sUDlQtXDpiliJe1zhGsAh5nQ0/+6YiKiSDG32ZpCuP6y14Sl/Oo8JHCy/IQPUTcdtiY2QaUOATN5emvM92lQotB+pFtLlCS48ZOQ0+J+oyFgBtR9/DJAnsmunGtRsnZja4T2KOKcVDjMiKDN4nCDW3e4TXepf1O4g8wdCBEaBZya/g9e5fe2kfrsjodksAGWvIhMUj7Q2gsF7D76gwOm9AczK+/FAgujt7FxS9SbEB12BiiCOOiYJeF2C1X5jxuolURVwqfq/GV9Il7e03J67FsxWvN0aRyp5FMeyqWMTovPzqEs494/y5GxFbsuUVgTZJQUYfliDTjk5Mn2m7HZ+wjVntfLgpH7AmjdvHqaTa1PyRMYpEEyDjhrMBW0C5zhgkFElnXJwSg0DUJkr6gZUEkW6r9FKkng4JZujCFOjaE5qGC4ZcOu+qesVw+LqH08IWmmdeydXdcSCK7wdXkXygV58RD6amu6LdwDPBf3QI7iMTMn9oB5EvbZAN3YIiwmqUWw83r+b3I+qElkn55niUujTmD3W9J3qjz55l57EnbH/yWc6v569byoKWhQz13JGa2tG+Lnj5Z+eXmDvXpfRz1hk/pShr0LAGnuv6zgjgB0CKsnUgBlrcjkw0sHkddq6cdWM7FJ3gEMG1zyNmfe3xv/DmoLAktdMeLR09PPZY1TqZZ0/IBWhEt0/jdCTpSxhzgr5k4EVa6kifbv7/D7ifXmoBDq2+lYT7UtrZJ1FthyB4eUC8XpZZfQ5f+nIwmsGszB1zckYPSC9NgvjT6hiokwQiy1aThwiGGd7iO/DlBQgVeZw6qsmqcP/Fdo5KW6Qiv4LkMsCMF/mp+TRAsqnA2u4sQys0EVbTGxOkqf33krRXy7PceJnj0OaIy2LAurmZSBbJHUiBzMvm1ZIsEbAyTEtqHjFkRZMsKsKasXiP/8VyfZwXi48ZpbwAhH3i0KKCRk0s6It5KSo1VMRTIO/01hjo/lwmqbgIncyV13u9w6csSHiHmvcXox0dLt4PrqovCUtgBAu6VCsY3Zk3ZN07xYpEOpZfwUBQo3ebPuzN0tYdWsX3mFqC63DL4IWk4EKB9CqFJh3mAkk4j6jpGwp954xtdpxNN3XNK/551i2vSzREi057Xo1y/EP0+j0qt9MvZU/XiZkGTGq0Rw+h9qvdhyGie9qvonb7Em7czExU86W+JHevjRYK2+i7isTFoBdL0/PbsfxUrgdKOeG4vrGAYciFRbXGJPhStBuSsFJDTyBCmuPwWyPTuTDJW4yGCQYPqzko7p10dU3Su2098AmLJNUqi/87+zMFm1z6kGBfWCCj+C+4WUc8rQZPR060QpdLJoNZAMf7gQtXYSr0jnjMa1dQkFZ3UkhADkZb57iwSiu6e/YEA36J5HqUqz6HdcPS7PPxCJtLhCF2rD0jR+1jKmnmLOZtO5c333EFDlHcu+snqMb0ct5xq2Ypt/Kby9V76m8xAgGEvXRbXNNN/EqiYK2a+FEkAMqLC1uTDAu3hYsZbnIuiJ8+LnAeh+aptow2PzwFCapfedW/he3lFTexVgdc9bntEuhkDBrgXi11Pkp7Ok95KFjJCYgHyg1MRtpNdkrVDkHikmXnebwxmZtccRzqtQxVPtphXUnOwZ2Y5/PM4LXJXU2dzAtGhHjbuaaC9I6QZrgu2IxN6ZU/cRBghqxDQAfaAzdLcjX6W3CGb2Jsy7ORG5sMf+0mKGWL4/GfLLNUK6TVlclQ8avBTUoVAIY6iwewwkvLGo6ZnSZa2LSns/BsSgn8zhwLPY+sHYrRGGCRoJegGUiEQNRCcMVxk4Y/DxWeEmjALWUS1Nkr5GFvhP0T7Hf9Frw4zCbeKaG9eZBt2oWX0vWMXV9oy80yFTsg6C/5GKx2ozO6pJB/6N+ZyDf8DlkHJ6FWOkT7TPUyIjCLgtlM6BSgyflzARM/QFH5qPP2r2mA/wuC2L4tDucSqu9EKuPba2NtNjqx7WFNCxReh/Qnv50lmsURUzZPtA/mH6csPxh6MQlI9mxpzO7i+Ne8UJx3SrdAA5MSGV4TnUT5xKho7vlBKsIELRJLpkqSLvtNiVK97nEQdR01FoF3C9RBU30JNLhUfi5ich4RnscZG5+exVGACVuHORmVl2BqfdDj48l47x9rnW1vXCu1sHR48mpqXiiFDasFM/8hr47raTAJuKI31YPdta0cw0yhFcprRouVC45Um47btLkpIUFPXm59XZSjO+ceMmA/43a/cb+yHM8Ybkprg4HPImGzSnwphRKZcqcb5OVlexGK6I50claeRJbe47B+IGM70ZBENYRATuFr3yWufN3NndrJyo97935HQ6KtfoLpz539n9kb3WniVS+S2hIRVji/9aG/D8KlpuzFWqhn7eNLtGul4Z933Tso7bpZaT7ADAExlqjwrBkUsJDONfcTtBhXl3nEC8QEmHbobZjQYH/YGiMPX1qJXukTqXpZW2SWoFxmVjmer3qKxYg3sRApjfSh27r1U6K+8rMWjE7JiSJNLwknUB+s+9USFu0K26tCQ9WQYJr+6Nty3q2giZTXKG1SM4FJAMeacOtXNQ3x4+FfOrTOIBaCx1TSiOI24Ir9o4w0oT51/ub0gcnZHvzm65kw0ZOdByaZQqg/bpp0XbuAQ+tJ+4YwsEIZn+ydm9Gj0eimjmnuLWx5QOSZ835ChHPXRzKqSL7emkrtTHeQL+LM4EP+inoUGFWVAWX66MrfrMcJnGztm8TW94O++sgaBkkY4C9UfldOu8gMrcawM3FCqI+CoLOH4bcrO/K4UqlCvudQ5N5+Rz/nzkmlteD8Y7t9ILBGmYRBLohPvvdvkTFAe+o5rFJnzK64ghJYh7QtLXPayrIX3nXtzpn/jw5eQVoTlsvRhCnCbKlA2DVTIc5wpPmsNKbTOffL3GZna+FgN50/4rwZRP7pAzgn0NAIGuLnRt65h3Zfcfx4yRa+WyyINY7iiBBKfJZS3U3B8niI2+kka+STDkfok5fGnmvWPvipy7utQ1yA5qMnG2Q2rGzboYePwUAR6lVscX0yGvDrrnD2CQPYKsLok/zB6nI+MTeSKQjQuJgcsFPFQ3RKAOZGU0icr8A9RMJpNl/mJDBLoIi157yb3/PejFpVkDPD/a7X0JYbe/vL5OEU+HpqwFM5aJ2WW5GC0QXoImpxUkcSMDkKdzlS+ezcHP2seESk4ChzP/AcQgK7a1d3Awn2Dd6Uta8Mu/lxTbBc+P87Qf3uvZZGjwKMSjeHFNv0n0tM7o1miw8wNPDFQvqUe0URLa3AHtvwzCFRS/WETy8E3NFnDNpOiy5V+zKrVzjd1xis8yVsHPouEjvR1yXcn4DdVYh6jCaa43nLYtCYZ+h3Q689RjjKGsdzfzdA3B/sJ0VufCt/X2JaKEcqkE3Z31iSWzLACn5RQAyGcCaX9K1BR/5uY5ypHzMrNcoh6IA7agcH8sjzpyYx2AeefNpX8kpQ4eVhBOCQ7ASx70jS4gOZnxeqxq2cTI5BCDuJhi6D3OVLlvQ5NgC80ZPbQS95qpI7QYmkIspPjeVzoP95skrPf/DZVWFWvqaFNu81aBi4qXZtOPXXHlNALH04V3liw5go8Y6SZp85Rwo83Qy2hv4eO89Uz9TkCE9+Ft3kcqjRan2yID94D2PXziCm70QWGg+zxHc3ezAOIcycACGLz5gslEG/QjaYjUkRGeCtq8Zk893esShffeXKElW2jHFDvv9UK8kAGeb2FpPqngOMuzh8pMq+9kdtTUino6IAi5JCltjNI+X8f3ZxW4q7L3NCb8R6k7fG2t4yKaFPU7lX25XNvnLc+Eonfqq6y98hT+OP1+Cn89/+aNGPemDps2oLrjGt3VXGUpddfKvWzfZ67FOj1uiyhB3iFtpxeL5k8UhQi1onS2ufWvYUKH9zoGIDkTaHMey8J/jGsHRvyDyhsG2MYbdy0J4abbN0jfQaYhkqvo/GTTDpMwo9hOWkYKQskWPhKGwErOTJjFs4l5EN35mAL60kmu72XyTY17b8c/PerPuRPn+8/fVtZ7CRJhkhZbgnAsFVmRoqKQ2dkL84za/pME250py+9tE4CHFJ0jr9OrSYwpYIeEc4YGAXEbRAiVRuo+ordhHSnqgVOkL2vnPp/BYiJJwuboko654rmhSBvd6HPwQ2+7etc18PMDG3BSBLDAbZhoaHPtwrRTtdXALFjnGGLsQYNamoL29GdsmRRgo+5K66QNttmdObEuqM/3Na8KsbzH8vuLUR14KACnd0nNGSoFe6+YI8Mwxk0MNcY253SxqDC5ri9JWi5lO8p710sNryvmIO6GWLaljLiR4UpnBkmpwfjp7rfAo/1+zt19uF5JhZJgag8loR/Ie+NqED/scA9uzpqpMHXEE/BFvmdRYXNw+kYVLR6Q6vG1j/BYYrEhTAgsc+G8ZA1W6AyF0SSmby6FrHIZAzJ2C7dCMBNKPjJgS90w3GUBTAdwrED87x5TEa9jU+Q2rQCDLNH0+ZdarKUIYVzomYGO7OugYn9t6Odmme+QhzLrTbduLxmyEHUDQS/mhGdRZYM8HGy6Pph/oHB8CfZWzYnpWhsJjCdzKQz+UugHs3Pg6pQgy7dQ8yCFO415ePS4Fx3tQ+L+w/ofD4V4cJNyWm4T9r+o/GYVaptSPifgdglOQOPS8K9vXkPje1bkGCFf9NqvQlqJi5JVm7pwFlCZbodc2yMk36YXeShBSs4rmjjFDaDh7E5w7mmrfKtqEY0fDtt8JtuvsDvHaNWyDdp1tiK1H6vbojO48KrlIHPR/YHjTDtgKmMOdI8qI1O/TlA4SGigyaMnVpVrFnwJxAaGyC+i+idMPWg7fg7bLVMbgXdk4TxvU1g//5P4XLnaNFF2QEL1OSeSe62EIVBqQdWfdzXvlJzKQiul5OVVdji9RVUxCUC5992/eYGgMvgODGGd2pGD1xMF/sSBwmwzYJbmdUni2rScLqdsm1IAz5vBpT2KnXy/J8kJlMv2gxsIRWXH/54BtMf/MRtvaIpi2ucpGTJh5I7DBf/34ZGsIETvXkZehre+PVKEBH+iKkFZm5rsj1ttZq43A6nCtH6FddaHJeMOZEH1ANLJe7Di78xAs0PRFvTlvQP0u6F22nP5Y8iD7Z2WnLwRLHteAkm4OBjPnqU+Bg5InsSUPXNr1hfsOv7FR9F729Ol0rc8z0Iz2l0fyH/3h1ER7LM5jLN1pZNxEYYLhrbTCvZJoPZCYnbPPrZI9xtIVKB8Ck/dkszMk1U2AnjK/WMpH2ioVZfDS/xvYMIX14f85c5wefjPR0WC1WIXw4h4BozcvE2lkL7Pf4opu1eIiH4oQm4SLtgFhDGuqUtkIME9ShnLX2ESX4mf+b2HaT2nUpVfOneYuJPyiacQH1U4vQ9v/kUmJeC4MgcTn6jVEtYSu5zqhhCJ1aZtQfQcweYscMpeLIGcK+uzsa+pUovR6D1RniYW+3vVdV/MKrh7bjeYGQiS+LZVtP2cQOWl75FOwL6rO5TGTyg0BSo2SIJhpqS2fIcOznQzkLwk4tCnEEwLavzdV2mYj+lJ7h2D/cx83X3bhYNqTza5eFfwXLwYMHUjMAcLupDCendWCAa3Em7B423Yr8R0QWJdLv9UkoYfy18OqJJjaS/fs2PPR/+fQPG17cbeHqwRhovO7HSxvHf185z/1pT+YHHG4O4EqJdMdguffqY9nUKH3LYGJY7x1UtV6JMXbcudtGb7IrfDH2Cl84AOSagtVWwBoacQaVVHcIITP1HPp6tIwY0bJ+l5l4DhZjzzJxHMzIAWXdf/QxiyNIS8zjSWiuDQKxG3CpKPDnCF7dGW5vQelbaPENY7ZjEAPyFHw9yo82x1/ah8jXwhHTRn0qSItQOTW234vtNg/6Qs9VatDzFYHB/A+C3aVD4FgcTfnjFF5MInOqSWl9HFiqYMA36fIb1aFAD0IJdVOiPFeT6BSIw52y0BSovauZacD2Y4Lr2lzL6Ba6wpqe+ejpGcqAj8OfLgLPvhSWxFU4Dp2UNwc6qKmd59C65IwXHS5wYb1CGzcbdWiJfN2tXEHL93NmsQwVGZuYnMYCtDeqWRG2aAK8aRMTLB059kviidL47sZYr37yhIC7ueqHqpaM22loICwpRxmjFuxd0RxfDKisYIEPkMxGy2DBe3/dlV1LwkBa9TmtbPHAGm0f/ITQ91QENzZEkE2a62bKRyqSOjO5frlirvPedUxg7YPd7tTtnGpco6qdHvVyz3EOmdH2oW+b0jhLF/z7QqjT76fyJewy3QtY6ODUjn5E2QSEy9vtlH6APwDGYjzvw96jVecQLmKmPOZJvGPYyThqAwBrvAgOeG/Yp/dOdYsGmreaIk99G++lcLABm+IG5IPmwFMMOgjMfGjXKdKVXw037fCSaTWNaUUBnpuJMYZZiUFt0nwsFiSBTxrNdIHG1Rm4FOg2eK/uGKFBozGgeLOqSBZK6ZuoM6JXICQt1l0HFlxxFYhAOcrYgik98oiTCpLhi4AsJv04yAdLBoFtpYc8U9p1o7nBfed6x9wwrfJpzkhUIGV5FNtXf++sjARVZrVTCCgmyRs8cyV7jyYKFdHbbDLpS5xwIPXE2EgIqhlTt7Q0ZlfclyztnaOOfpi0V9RDRHCMtm91U5JbjzsWWEihXtRB26eCkUQuhTGZx1KP4izUnyc+S1WxWBqJtKjmgunEmsTJ2sfRWjhfK99dWC6lTcgsPBE+ZwvD4UgXBXuE9OUwJxmapxaw0eYktEupgvStwm2zq3CJJ7SXQYiWsKSGoKLwbaZIqF0JqnhWqVwjK5VND2qqLsYT6S+lzz3QqUJORPL+evB6RxJzD++rcfHUF8iGt5VSyhpu22xy6LQ0U5nhRwmJ5mOB5fJHBXT79zBt1q6hSf9yBZIBUOtAwiOZLXF8un653Lwi3ZYsKBsJrB7jwqURGEz/8iZvaq4alFqRTH/w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EsKN5978clrjKBJ8fU227QFBeaKkWQpovL79iARfL8Xfd4HOgCyIG+Pm6MLm8q1nYEO0VEGrTKrE3NkCMpBwEBTVraZB/dyxd6fiEiajk2nFFAKa9zuXTxAZgudWcQA6m1jQEfVnQXOu4fbZuHz1+G8mr2v77UMLYnQwR1azRkyjNW0eOZzwemuL9ecGloJEdMIFdAJxozV5a3yZrVZHDa8wrOi4h0DRphvJKdzXzIJks95ush0sWdPJUppIJX/gjctLg1WJu2PvB51pkssnvRqyyOGBNF8lBISUEJH6Kj14g8RCIm+eGYvYHky8NSy0xoIEKYFZCtdBUV6fvmMGOIXpkoRE2TRwv/TD6lyiLbCgn9QXdpv7nk29pBGDllBI+dPbFcwADUHuiRKLi6vsCnV2sVj3Vfqemsm/D4bPn3ySKgK2+FnKiawEHLObmFVcrxXzb2lNkaPguL7LJakCY8Yp4ZP+InnSKGRrFKDmu6rh34UV/XVIhmTeuhjlW0q4Br05vVPzKOWDywVxyKvbBprWOv1VEstk1XYr5gNyq1el4Dnx/NpO2kCdsfbNcB0wSgF+kemvBaedkPhc6cy+uSI5yuTW0tW10xqGcF6vx7Mht5V3nc0aURshK1b0Nd20BdQfX9uGkCENYS488ZwXbIGkmOakDbUAhAWj7rEJRVwv0YklnK0czgJjsZTv5LUxJT+0NgVUxiR2s0IdOYtJQyDtHKPXC1+dyAjW8DAM6W3BWqNt/8Ri5go+P9mFjQEKiRuTVShm1Gew78ZVzEJlNYpeBoqivEvr4jPVZe0YLzulZj6f7IYSjl7WQhGewwt/sqaX/MuEBKulWNvs3FDzyKKKsnNItdQ8oLDk3FrQUyTf6S0Bmz+lvWAng6mZzQiLZfYBPmpKmTc1SECUAUe4mywyv2VIdq0RkpbtQ1yEkrMGesSxxrhxYfG8dGk+lGkAosKzhJmymAnpokBP88zmVr1+8LFOPAptayHnr83M6P81iHySOBy+MVyRqRAqxu8KYmVLmcUkXHz3UUOUEEq4kWJ6Pg4f7JFw0rcoTv2AlfMti7bKYCVQq/pRKZijD8lUYCyffvDW51TdyxcPV2LLQdT66VJI8BeQBjTdrljK0G3yrVB4D0Emf9YKHChuOpHP1aYm75iqKaAgWzqbWan+KqM0d1lWtme3u0Pfmxyd92N7MMPejdlSOEOIbpweEHDsMVFFvzlu5ktaZP0bTRRlNiMwmv8H0guOAeiE6fBlYeAV/EuTyoJHdJSFOer87rgwxclpdbrLujCUR77yHJVpmXWsMraaRkjoOZAABFM4NEFiswfDtm9jyNBHM3kRRaJRE/LoIGkgmWsIzIclqeCo9l5hW+pK5l7w9QedCssFmWBIUgbMlpF+gwBq/qUPvZdIs3Y1MP2cC+NyuaRo3Ao1djrIcHDvrMvejoY9qT2VOnvpAT5emgHsjqU0K/+uiDWNa1Ige9dpTS795iozWUGNzWMWbB4qAMQJEl7nzinZgZX3bZU23bq4TCvHygtGCpAwmbWrC+jMNNXVOMpM3ObiR1qN7xc7VzzyDwlBW/3+49sqUxSygyyKGZ9o055jCBkzH63ybEATUL3EZuz8YhuwbBgtKC1mP6b6oziegp+dqvh4n4aIgAdTJo2i0Z3jbojoEux3lUhzhWh3pgKMdfL7qdK3KFH7UFYMPcYupqgleipP1gWvOWmoZSAQJsCXr+gCsss/Uff5fwXV+JOBEW1cJYfQ8I74OUZ25AXYgYDzoQdbcvBAkHFC8w+S/WX0WkbRYbe8eEIZqsoK4DH8VuLHRRtzs80v5vW1RxCTymbKdWz8MgI2hHrC6/zRB2SgaWPMuyynEJ/1aNcz1z+Qjy+WmDa2xXBNjs1HtVnFpV0YSuaZtxt/dzcriNqFCFUGfJzGzScKyuefdJaw6ZzPMiqxc9VuVfoFLSCeAxA74iiKhcjaIoAV6pIIMl55epz8MMiomwehmSlUd9TQ7urXpWqI/8odsW8O3DMM4XLlO+Rl2MhmbFasPOYa8912mN6WC8SyUT0cMfrrBZEfQlvcfrE72GFdUuqei8fxCp7hl+G64ANlq0rBuNjH1cRULAAUztMI3WM0+Ar9kEizJaW8opOnMD+2SrcrGsTK4OIwhxqXZC2zMuza6hj1L55abeRi9gZMwNJRP1lQI7fyi1+eJ9tHGuVja9goy4VEgwsYJWQeoZm0SNScULumqZCHBHxepSw5VJHclTJQ5w4AQlvng5NL4E9eMKn3N2oqljBc3J2a3Ro2idBOk/rAXs/kxcIOryjkm2Ukmkw+bK/uLBHSnWYlIGN1sx4B5Bxxin0kZMXdgTCO/xB/jg9muIS+FLdtnaYPek6UhIF3GhDyWHbQpDKXkaLEXxPGyL8oljnoEeRTY4s1AtB9ESS8QFyBEOhEQKv5WKE5FrHpv+Pq8vRHSXdUW+/hONhuoPfsTfUyzzkaOtjBJ+UdgnAs6Icber5cyUqL8rI8x7q9TA6ZeschZ19VqtIVkVzPu1a7AMWlyNUoRpfGc9aL+QYeVd7nEkKtUPF8ceAmZZ6AXclxJdBMWjrMjBqyrVg+OvRwfDaf2tYSU8GrRXiLkIBU67v2vRvTU2oqYPaXukcoHLskkFVvWIV0LF+uwYdFyeG7Mk5smD7FiHkQe12x5XzzysBTSPv4fbt6vEAMAQWNurZeTqARBxA73Llaj/95fG8fjRh4rfaHs/2P5BR7qPkbeCpSu3c16QdGyvu9ajFDM18kmvqV5G/j/rNoguP75VkuToQ3YTI5jgFlJXhbqtcnzLyPoqZrpeC9Y8x4GUWo6JvlXvSaXO7aTP2PFvx0XmyElwxqDX8ImVOQbAlLip9/rVc/0MjYOAbOCBqDsiCm5GaDgAazjR9SE9sSr7loM63+pJEi4DkszOBF9CsGIC9keCRIF6zCeFCkPzJ7+pVBy4oAfu4utZqSlYk6A/zcFyJZzGsgu241Zjq9fwP6xZCK13VmjdOVwteaN2CoYCaRYHwyBFsY25Tq4c3onpu9o5mKXdne3RspfngQbDBqW4zyqx0NW95f5yZ1gciGWJ6/HTwPop8hQP4QQHvRjA5zOMtwMecowdM1bYAV6pRJ/ppY7haL2rI6CdJ/bxFZvfiVKg1nfCADyVmx+YtMlQj3ufVexqG3gFR06OE3IjorbBBB8HYojYLYKaAZyYHVMALqPSCsuw0/XRuHk9fPTvaDNQfdL4KCNLQLvGsjaeGHX3EKFrJXh2PiFXLeqokJFRG7jVR4aG1lziTSIOGotJirMlRPIjdQpEaTXfTPxV+EoiTxACv1oybMx4HjjqlWb+ccHZhvVhr5tx+594LVWjQKr7Gb/k/X3JeusDCBUavwPJmVRM4R2RPhw5tZVtOTtmEVIoRhhkFQjzQxsQuF7mb00M4qiAJtWyqOJbwtNmBp26yt4ft3D7aZMuCqsnX8N0lX6eNZJZaStSaAlo9B7nPnItT6Uo3iBcfcNQAfg+KLcZZr2K40NqOhWfUaAIq63jTpOa+bFJgTTwH8KdQTRUccNn9fiNAxtQ8iEb9Hz/319YObWTdUTpCfjg/nuk0ZjGlIE2BLiKt9Yx++pgy9VlKiYhb6CVkeHmfu3bC5uTlVYPk3kLlUK4RADUzwp+5n5aXbntVAxdGsz92N3kIUa5XpjPTdQnu9QJa+VrOaKzf0KHxPU+KLZb+g6CB9vJiCj8pKkQcUaULucYib3xnd7B877/YkG2bRe/jc415ATGouGZMkZJXDdTy63Tkgs/GZ4PQfUhNckyUwT+U+RIFXenzsSWlu0fctIhsmDrgClipP7LoGto3qvMImmbmvgmB98BxaxrSOGtY6fRZRMA3pd8zYNtzlQd7+eKTZXqxtvgA1G2Y0vw2E1J6nU7p3+sompHPrlUm8ulMsqOFWR040a2Q3K55VLBv6g7Hvl3f629wU0N32mXac0JxVaYCczUTEkTDgI079GaxfzsRC+zvnq9TWaKUfiXJT31wtRblgFmbK9m/4SyCBKNM0aPFuxD222SGGgRAAgAXyUAB0t8fEhy4tgtoLIoa6JY3zrQYjZPJz6AxOJ9gOeFUiJGUZ9UPshup7y01oP0HpSFc+ppKceXAYPVfnOJz4tKbMowvSsypUQhEESMSDX/Wj96qvRO4ZtXuN7k18jHFam5A7d8QpE2KKoCftnXwmbf5qrU62H9LKVM1VygVVDQkXnIhQLr5NoAM9fHGF/P/TX/TPhbFN/vqM5fD9XLO8a6ptQE+iJAiE8BR16wyjV12ivrdqt+F1VdLVUxhpCJ39KC3KKBvQuJvXCGrPBtUzHIi9T4y6zzJp8zb1kDhb0UkRiu1qofVs1OguNXqZV7IeVWOu0d8z0bGToRaFaJ9L0NjiCwCMCmb1PzaxOcfU2vz/TSAwnQeup9V4YGEu0gwk6YCE2SsF7qZbgRxF57KXz+vC3dfPa+eNU+MlhX07yD/CYyQdkEMihFLSIf4xaUbSwt7U7MJNXJEkzbXnp5GzHbjYb2Vpe2E7MO6ZXNB8opK9Ioy+iZb/galsN5mtCiea4KT5Mq1vZoDsiu0tIxFTvuSiabHrCnDB45rK6hknWSdqHKePeXcrAVd4awDAIIRl4GKey8qc7/PcE5NHsM8VWnD4JrkrfUG/3ThHbQWPWiOdMW7/gUgDojdtQc80BKEKfGhTT6vX5rjftVZnc8wqSeEZtXsYoN0C+Xyj4+dC7/BTPGfIlMES9/zzlReMoOAVjOfeEgmynvLq91+xHTXWRqevzvNo8NAQceSW6udB1YkZiE2pgi8swdO1c5MhJVxz4sHagLixKlIBX3coYPdXIy5pYRk1pO4KQDRZL8Bi2Vt4RCL3MfOurg10wvUtXA9bzKEAnnyLfbfS0HxtZI2Yyq/AgB+jpYI09Mtu1asVxFhWvqLUAeVYuDFYFypphiKL/lwPVjPXk7dB/4fSR7WzWpCVl6weobtE9uFEWgoX2lC/11QAZIjx85YvFw3AafO5dTSCs57Lm2Bf+LtmrCOlvS4k52Oc3TkfrSYDxajHWF/zoCcGLcf0mPs+NjtXhj17DVBWhVOlQmQHmldrwr13ptlGLTHVItotCi4HaT8BDPc+QI7x6enw4mwtRVdOeZqFpLK6MF89+nWpA19RVf0rrOImunyvm8akzhtpibg0+5GZzYWWTY1qQkNZWhrKRXrXLrSsjsUV2hpT4Vq7yGMbKOth5BVMpJo0XaqE/jCpokcF1QMZaD/Iymw9rpbDDjd+smjwgnWh8bDifj+DR33JKi+G70KTUPRWzGBMTc6rjhStUM9thnOpxEo1U+GQ7ofkBniRnVcDZ+qZV51vHb7c75xQkkOZ5EMeiBfnNNCoNGaFRWrDe38/oguV5q2CmqD0Az+GJSC1U79snNzTHIF/YM0Ciq7Ki7s6Pwig34pgwRPhThvu8CABQan27eiFWvelY48hvSxN/zoupNGsce9Vc3e80007gYpB96V3r3iMWAPyw/xJB5LmG7vZTegGEoCsFCEl04YstotNjY2JQOKQLb5K50lq/qDSEU8uwf75hruIp1QzBQi7MAsdAVW1MFKImRKSxwr9TEJM+GwiqpUJ//HZbvQom14tns/lk/ZyJa2N6CIU222vrLUydJFgUPwaXB2zLCKRKLXeIC6BWXQjiNXSQmGKz6maoP8P8niv0SltjZOZFdr93J4BfjRmezOr/RiJJVHPIHUF37wgu6biVXzgPQQIoRWlUHO4bl3GmB8sfY2g3FjjICJKiyV36U/jMhVdMCH1OTrPNVFIQvLwYOLlOAtv40hwj/EH3URbs3B3WRUa1HZ7jgt3Y9uRxLU2QTYQUSaROUeyAfk/yvJEQaMF4ZO7JHeUs9uqHKOvFzCy68TR4JP+EPnv7tZuZBwnXYshvykYuEPL45JeJsI0twkxXorEd+mkbevA/tr2j7XzSqb2V29WxDVIPmn5V1zRAD89R+f3PL3Z3jEqcaIMj8Rm4eDAlv8y0rXht2CFWtyRd9LYLovFvMYCKB8HAGoeDh3ShcNqF0O7x3hN5q6Sl2TLh+Df3RhJ7w2D4aEQDzmfFk8Lb5iQASppQP4W1feMOXE0Lms0v4S+E1maEqIeIH8skpVEmauGFgdVHXC3Yh+BZU/nhmgipkpQ3uLksrRFtXxt28LN1dWATuUe/W+1QqfPJebqIfMJD5wLoWlK1VZwdThpXFs3S0KjZYugfwHuT4IA6wk2mawFR3VnrV9Wjd+T+jeqZYMVc4UfWFz/xM//oWSzYBdP7sZ7Zr7pfo5+ATTNjGNgdVVBfEGAUIGoqrNqR5Pens79T8e5MzHDQbqppmmwbkMxA1ZOJUF3HnO/cLaw4JnhphLVaJjaWgOlp7zNDT1kR4C9SVZhKwQjqflnbSgnWIbOiqcTK4q72yNZIDw1o8iSnKwmC7XXThg4Bm/PZNImpRtX8PX5LKLbFVsmZ1oR8XKzht2bCZj7IIQo5Rypyr/HdwwzZO2ezHrBePVKUSlIxrJ4UuIrDAk8PFAr/lyjEeOuGMnUjGmgHjZvmhYmKzpxvt6Xfc7ny77tR5CW12n4sl1VCZ6hBRRZSiyIuvIu5FV5C3+Ji7dZBUlhlRIad5BnAJlnCwUlw1DzAAclzK6OrPMehR+sCYGJc9lfyLDfHLPiREJFf+2MFp7Bi50plCfxMehEthsPQz4t1q/bPwbndJULURt0wRsfsFgkYZciYyUYvSxpuhjKBuUhVLzotZUdcIXmHM9p3Q3eNQIRikpUsPVP7f6nMAXvAhYBrXTaMqhO8gJsJ9kGObm7Ag3sdTX/WgofENa2f5AaSA8t6KCLDdr22et0pn0xoOV6GvtROMfPSn8QvhgwR8ZKmV6ccFrd3DeCbXqL9o0fYcR3EtfiFe925AuMjSGz5q7zV2iHr+f0XCaCBYQ6QkfBj830Ef3iSVK54CNwLXd++DIRDRIV78H+wlHZzy/zSPUY8+rZ6Lc0/9pbOQnRoKWUjBvNGCJIdbkSXODoYurijyOHOKTLlJO3A1j1sk5Aq8NOijtBNfgtqPYDf2I60KzSgLu3cn6Jf6DZFdBrc50tvCAePbdgguN2N3s7r/NFdjuWW1jxTyr9GnZnzBfcbcyNS4zQIs+i91xAebWcDRcYXgZW3jhdJ9xRmOlM7fQBDJuSUPCMvob51S8yvEnZMouLPkfG0yQQFyvtBx60wFmIIG5TcuvYvzWFV0HiK1c85n69KLlJX8jFgpwdm6VSxX90V5tlDWz59q2IpKkQeBtpJGqXvtcySTgPtI8wzpVTa/gTL6qHfXmm2jd5MtGErH+a0w0m6T3GAcGmvQ5ZLWgdMxsFy3YjXaJXo7cbIjrdbA0mkYJJOV2Kqs0FQI7Zdi+xe6HCaAnCsEVENoC6r20EqTj7Pcd68dolSRk+R0m5YeP5ag2Eqpu0vKzZK25QIl2SQZaQhkBNmjwAqtlra8rseSN+G6UDPLBBN7vB4nnyo9vGTqC3t7kIVuc7bleg3xm7ONbN/uS4Adkfi9qI4qIJasmbk1Y8I1dqv3UlOybrjzjtgf57h0++XpgaI3KGCK2OSP8pazQrzWWt1Im9kEi2fPj/f/whsYRITHW3TTT0eqKAA5vlq2xOtvzh3JGqS5JPMfv19Gi5YSpM+43qhYsi6jq1euwJN31z0XD0nxN8LMfHuKEjUK4EsfPuaNI1KQ9dIzG4rhUnutu/3BkGbyoewOsSegNQO2IK+dUKX0OZbC4Sctw5UZY3eUrXHF7r1xALeOVn8D8vmOTRAF16TT7gK16YbT+jxi0PFXRvvqr5Kj+pJTjVBubte0k+bkOFO7MNl89PkxBNcJPvFvDHYHnr/453boHsfAZ8fEKC6CQurazIxoPlZD2xYJ1a2+l43LK94V4Hegioh0F/peeLgo3mOy1aeXLNe6bod2Ofl/abZtLPQOijv8CUUheL+fUN5HpJTvqnguUOE6ttDef4L/h72HH1GgojXm3meTaGGls8HDLP4j0EZ3EuLNzWsj8g3sR9lttmXICcfEpj5pN+aB2rFNsk26EcmqELBfL5Wm7EHVSAbO51hVD2Tc53MJBAgfjEBzk+2wFcMG3siNWFg60b9psyJIZLLoXeRXchHh5gZ6xPSi3d3kL+dTpSbLPmmTpJsg3DstLtKW55Ju1nYKxnwX/MPPaGzfMQbM0hBXA7ZiaNhKBlwHp6X7o9DRpcPiQJHTHQYdnenT5fQdmNyE26KXpk5E4mTtVzTKdLwGNIVqQxt4DYp7zw6hci2K/0HF8d/2/Z3YjwBozaRCzLfCMI3Z8G0oACSNA1n+9sk+59zmYe7kgljJVuJNfrxd2GNoCw51FeYJUG+NjC8RSIdEBMcF9vt3djQ8iIt2Z8yKXogVfhCytRNE+792GcXlZOej9J+DuQ7hi6otQ2ExyQBiljS91ZXCUn/JFjPiOmdRUUyVetEF9aiBLj45Z/1CjNq2PqAeC80xzBfNtzhSkKTd1m+2UuO44GebmbziHk6qEEHOtGP1OvLWtmzgLZNK1fp3iU0n7FwP8rLqmvRKUOvdDzHT1kAtOQlKnrpbuXxVCJ8EmH5VmNIEoLMbZrc+YO0Y0cXC3qYnY/x2DkxYulZyZI3j37aZViSf5wR9IqfXT3EONHqNAtKCJqywFO8JG4W83gqJFr0hOdQDNtm5vFI7U44eUOXkFfIgX2+xZGYIWc0uXG9KAQJKTbZewjuj4tt2mOdmwrIpu4NEo1kYKzaijhcrmsN8UOJAErshS55gAe+DyRqpaMmVPNaT+Ydqnx19l4H8+AQHeoigwLHDvBOTT+PxbBgp+u/OzYoZWZ0ndT5IZ94iMj68ZQxlZBbkmAMP3PFqtlRJ/uzWmyT/HNTYzwkaMbXkCtP+UPGttePG+DU55p6blpusA1htZtk5t7wjPZaaz2j6uYBK7V+axKgdGn2zdpjh5iwlp3NDpph809b0FCpTDkBVhu6HN0QkoBObe011COrJrz3KsVPVZJhAzHGPbQ32tGeN1VJQM4s2bbHuxhY1/URV0GycuR7Bj82wKb7kgmTQy/RsZ+mGUwpIb2DfT5H4rskf7aJ5yrIXAzzsLSxfmsoN+YhC/1EsU2mRmVeoevJmjyg7IvlN/st/VrhD06cj+yiWNjJZVPjAC2Z+lS167rb1bbBnTPW6YjnNTLD9tzTGg5Ak1XxlmZN3zfHh4qByl0lIC0qIvWPC/DmK0uYgjr24CotM/LpmJZpe/nYQz2beltsQGPgbMJ/WNdLMpbN/XlXTSKub4FkS4r8p5Q1Hj+cHvIf+vrTME7bzhqS9G4oRVAN/qzBLe0Aub7QND7vAFSmm3h9/fsQlb5Y9gGhwyry6zV2KzDsP++hnIdb7jugRulyRM9dyH+RyfDdjho5jx4yPwkbxnO7jIUiEMMi9jO3dErUmjW9BwQ+/VwXzL5DDTWbPfKpP9i1XFEtlQ8Gzfq1acoY+4qlHVgFTZRPMnO+ZIdUYPfHGuM22P73Opml4P/hXqgpipm55tr1oUUsGSFqHYnuGorwhuK5MQ0Vjip5IPWFWts3bfjLsumAoBkrJoa8P826HdViNQcw1x4tOKXFwcpywXLC5uOuUcpqKQ6kzmzTAw1EBPUm/aUUIaJHXND8iRzQL7x0Blo2lGzOcbVhgnZbAIvnBXiFHd5sZHw8+DOhIdWf/nMJkAwTMhrzniXAns3QVKUGxM7NdPXoDnfjFrptJFf/FBGaB/w3HBQ5irOrOHsTn4ER6CTsa+uVCOLJu1OHdqsfN7EsQMu8ap7CCiUzPKArlR+mEhqp3cTNHu8CkfNBflM/FLaqZwRB+pW401U2Vl14WYI08pR+ZIQceUupISf5bQONi1hINcGuh4jpfTY2bd1IConTq2GrIhdIUi8ofXm2bbM85K+KFRdzICT2hTiRijgU1g3YxYeBxbY9JiXgLfbVNxKHkXkQKvjgRzXFrwjU7oECzloHnpWE7VcVyXkxx9maaZIY5KjmQQWQUv3450DvpD2KmqsEpI02D+OynlP+B/TZzwjyaP6Arc848eBwAZdbOp81HHb//YaK+Nz0Q9TLud5eYW1Y+hnw/RheV7V4vzxPD7hjwRUKAbkgGhMUKjy7enGsM716JNVDMaqwebDGhzUeZ+eGyU5ChUkT3hsKWvdnOMPZ+gwBpO8Y9jGSHN6/7teRB4rIOaZlUz0SyTMSCWJpYJvXcKFXuo5lz9fgYcXOK5D2RT0TQXgvoJULmXtIkhbQ3UGqWOD41kswRXxCZGAgFnb4M7bdE+sx3EGVRh+gMZB5mkzdgFD6bztIAgmN/hXaYs9Hr4MpmgEKlaT98KibglOur4+nAutG4cojBEKjOuDEnaR2ayT/hPl3wWZwKfJqN94s6+BkQPR8zHTdMPDl/7Rhgtld4+znvwtLbtiMNfhROqTNnxeIueBar6bGLUxHAMwLFQNneTjBsWOp07BhHXGPXVl74RhJQ/E7qd5So0Cwss8OJp8TCb1xVsG96j6qRQ8jkZ4CMDdyj4MCI82UqXgv7tA0NBUufyYxMHAAe85F0wScFnXijxubQY5M91ixrn1WjVpIUrS2dlGMS2AF2r+wRcikMzekWqS/VjdIQ8Mrj+dro3i4RbtHHMfQeaC+ksfWvNEGq3HFP4LFuK7htQucpO9+ApowC5mq6pnQeFy/MNHUaeTTB4VuJEaJg5I0ivcHphrwQEBKEPYoCpJG9TjqxGN8hPw1T+MBmlVqtMdc0NKK+3ofG94b7ALskfkZYZJYFqgfaIy6TldHs+i5b/EI2uU9vagwUuETzLaO1Q4q/HTzQae6nLR2uKrEIw2JaRgZzjEhg+xW9yuIWCk4uD3z8fHvjzEm67pRhLvUCLoc4AmcTgZetoZ+XSkKdVki29k0aUtnI484KkYR32eB8E+sQgAeFG2Ygpn7nvjXReeeTsBD1VWanslnPeFUYe/mTgkGgRplJPLovV2nP3QluBkpmr/tJQ6f+RROwGoLAj8/zWNsOjFEC7lQVo0Hbth+6aL7ibUnOPfaH6ipKCpNIIfAksQ692KUCsmMW+N6bMcHlXgte99U8ZlCuaW108eZAfGqdysQ/1X2wYTpCKDqNujB0BDoJLQ9EyfJtz/1YiP7B8KJjqaW9wtlnRISytz5xGh954ekzgyr7GwXH7Q6nUxaKBNIAuspQelSKJ/vWJ4CcjeKPXdtrMwh959HpKXu/WhfAd2bNKtYOc7r/DixOr0fmlFBg8t4dMH9fhNU9Rq0K2EaWm9VSVnlsHwUkb3w2UmnYEIw+obbYrqKZfEahjDgovZDpPSPfw8yoDC3hVlvMu+LYLIepQNmeuircr6Iso+Cv1cLsWdgSjyEVFISf0xdR/OEFFMCam065vOVKTGqKTMgOaFXgCPGpFeOvTBI3zy8/jMOvT9XGCRua+HVZuXhxVvVTtuY41+zwW4inXZfgaf5FK0fsaZ55iOxkStTdDf7SQwZAW61XuORoTYBvD2sg1967FcFyhu0OFTZxSDzW7cRCNLeJcH3UAyw32z3ycpT/2GGg3CWBXTIsXABcspnZJ7bf3/rr9lv/oBrMxlLl2aScZgGAK78YHsxv+h+R8e6r7yrOU5PMxBOnVtdPUEJjz6mE2fuOwFhv83zXlGP0EydAnYKQKOyYC6bk+L6N7lAx6Y6+bkNg6MWvxEuvCHm21eztCwVs07FLenSkFkeChB/XQwwUzwsOOt/zhdDQ8NkUmtFrh+CswBDzIuchtmGZEmftpZ2YUgczGj6XUXRxjWD0cB8YrF8xPcoY6A41+qVmC9wZaUDRdcnCjur3/KFAXZoadfSGoK2dzA2U+0PVbQMVNzaVIPA2/DjFaAp5E0SSl7juxDX9X8dAnW1XvdjtvmO/POJ9CTgba0iB9YnOrdnVQbpxBUfPJxQUjffA4574O0Pqag0VM/FrVXPOO95cqF9Eu+FIrDsWrBM67EntZqh4jVfbagBv7uOp92wTrw7+zujLNT+eJqvqFoyueqYymOvZKJh+vMEdzn+g/DrinthzyGcfuOJfG8FzAPTe3jq/E9JO/Kwd/N51cwgxaoIr4P/mKxIymtFXAkyfpA5lIqTmFf36mPH6EYG2SlGQNUP+R5IsPCDnOKGp96i+uwYZIuHkCAK5Qz5YHakR19gJcrviGCxkd+XuU714sNVARrYWIJG1hxdB8jc+aoyMO+y77l1t88GrN2sSsarRcEjX16FBxUnzJXmMmG99UsBQ+jpIOWuwrNS3jnOndbucDXqL7nTHGh1Ti3gSq2YpADH/vPtc5820RVvvHs5u5J4yWy/YoaQXnzGdc1gMWOF91nEBCsB9MOa/KSB8qhSwb1z765Zdf8jQ7fKwuQ3AHjLZjgzlpihxENavj3t6iiYG3Ojao1F/njwEDUru/Sgmv9rtiVlKsZVS0a+Pqc9fcpYlb5aIQpNLi13lJUNUkjjZaQjJxPEyL7Mpgx7PxFLikRLHN/Xv41Nuc1qfxN4AmjJf8M8dIMQYfM1kcVTArFTmmlrg9p3ay3GGel5qKQ84sn7OemN2iYM/i17EHugIYcF0gCxqH0jgmHlOlpp6PA2fX32HG1/2wh8erkTiWd3kfoehxTuI5++T8h6tC3KHfXV/sY3AEXuhpQIWmGABIvs3QYkeEyqZhQ/XecemmEgknyDsONA5OERacCQe6Xn/PUdZAdnXgG179aYrIRmKSLiZrHqtGhakjXqai/aAZKvbAoR0yCzaW03ddAotoSTj9lEMeAaDSvxQVGawFNLSXbws14xMCTv+NY6PhLubxrnHwBu96nIJ/3YF/KmvgM1Tpzpoa1t63ROcAm0bUWxv2qRRWuY2MUgQDvOBF5ONvslfoPdilRr8EzUScMxFTjjGqqzs5my4oeO8z7OLtyyRsHt6p/CHVm6sIIi55dadNMEE4dO5B2BnHbRrNUKGMMf29+v4Yae+67oqMGbWxouX09vras6pEbGZsLBp01Z/YWuGYIZsk1BTCClT6WE9fmGj+XmEfrgCN5gI6rZ8/qQVQ0cHcw2mLJs9bM8Pm67q9Xyc8iAS5nteauRonuC2k9X+xKSwsI0j/smb0jIhEN7wGs289xg5kBHCTsK0ws2SEoHwoygjfcYdOqV/LYQOk5PZIpA6Z4VKwI5ICmLJHP0blwVVL9H5HJpOEJLxQS3UiqwTVLZsE+FhdpQdrWn7LSkjDexyKnOtPM3yRwD0l26BTn9Q0IjTP3uUyscb7rtE+6dWPyAhcqoJWq1CbVhyci62tIOurTbPtO57AqrC7v1CuzE0U+KZyyAHWGTsWFWFGIfF1atL2to+hFeOHppqKiXoZUwo6c8FVlj/iduSie2N+1UCLAsvg+u/qk+z5BfpNcwQNiPflr9tKvQZdCEPT04yFEK/EkybMrPeXSP6EED/vqp/G4Pys5OcHSe250KwVJJUirKm9Ai/vetJC6h9JgxiAWbXo0j1zFgek4ksmZIJYKQ5fZhVs9EzxmFGjeQocLaxshNWUoe7b26AjRotvTe5VQ81saY18Pt67lEwV+MJ+PUXpmphbVhJktv9bBbagxBAvsiLxGcL4tzBHGAeOo4Bmf0qLHXEqm62MDNUrA2J2FZochdBn6do/gfEdIIki576FNtJhnR8+o1oyF+9JvrVxv2O7kIu+BbL6brgtxeg2ukhOjfaPwn7RS5TamXvHFO/0ZAuDYUzZf/HA7nEw5ATx6+U1KDWNEzEKvpmKxIkgJsB81DCWA/HigECEZJMueTnbnPFDSjYoFMZINLQ5EcaoPgAopTkgS7ug+3F8Sssha8G9YIwTJImAanznfXerW4mHK1MKUjvKmuHsAFCC6D1/8inGXO4dDLdrg2+ykVWhN6koJpbI8IbCq9MjKH4IDUX1Wneo65Qv+MCCbTahCKrmNBg8uIPswEaDv/G7QuwtT6K8ax58eiQOLix0hnbg7Bl1AaRp1zz1/jbGYJWSoViVoJaA36I8tCesEJuKYwGzD25cr033FxQ84iyeIMAWruq952zWJDlY5S9rSajlCa6nXoNQz0aSQxWVhZ/0PCeCk+40Z13OArE1m9/QSkhkoEPdZNns/47V8aoXWTB3Kb8sa8nORtSkEFM0VPb9gS46dBcmmmprHxwsg7nvJ1t8U79WYke09ebIqnmWwlQOfgUiLYsv0s9lOk7toP3t/460OHo1C6th+apBkSMlpXI+oVyqQ38OK8OrzIIr5n723wUpdqFwkAiqgVp39EUf3koIuCtY5Hm7E/0PKeHxFhArgGVy9gy8e0e9UY/MT31lrkMsbzJHGMbD1EI92+eB+SBTI9Xvk/esdjFjMdBUrcayROGv3pWhW4oVUxXNJLQMSGFMwlZaDpdyOl0P3lYQmCbOPkFhQ2DIVjY8XrwXR8j6c5ctHu9yJHEjbjOct6sG3UEFg+6czfL6OXbyHnDTsGg56iEs/GhtiFyvgUvaI0OrftQ9EjZVCmYyDLr503ZH5Et4rvUusIQIkhdAqCt8QtLFwzj7xxJLdr+fSPpB9ZjDp0j7eQbx95KB5nMnoGufDxMvTLuYOWPoHEk4ElzkGdy4WvzoSh7EbqKD9mUMrq+NOd8AameLGy6r+dy6ioenbZOcyYDJuQmFPrUdR7MbBD4BzePTIFwGv5xhdzrW5iM8hcgIjqMWfaI6ytuUPwaJVYv5OM4C/PE8P8gqjjc4s/0sLCnJqjNhAsMpMDJf1fNxq5wr2cRF7xd/1Zox6oBvCBCdyl5nAhN+pUJ7B1q/JpICOOo2uNiqdq689I8B2XYBxT4h2boHe1BJav/bzVOJ+azxzvYD0psKKmrkVvZQTKDAvUvMIg6kLgz3ggukEq42mmXnwJIyWuK3CmxpY1nSELV3rRpkfKcc/Vqnu6195+URJvCT4mT0Yx57O/QMPUfHUt6tmj6SNcmd8lElKX1Tvzvq6T7oX1LG+3yaql/ipuhTK496//yU8dwHX0cLF6d9OMjjbvxwj0Tn8WSNyEkL9pEO4ZLsxTVWjpXntHYWSfSvpByYM5nK6t1oVz6HEoRmJxeGOzyip0yDjEFAk41Jo+D5pmAWzj2dLr9Wn5FHpM2SXj8r5mFs9mbVG4rb9HfgsEy/T4tOzEqNq6JR250acvZZwzgfot1o7FgMJufMDvLE+Gzxw9O1lPhhDCOzsL7y+ksQclB79ehdNY+dPYw/WSxCG20wTC7cjs1u+2YgKDhuvTX0AZwHDlL8Ev6t8iPMthRtpfCWyPf94PQtaUzwnB/LN0zWPHnqt9yZLN0g/TjOvK5cGwj5Ll7SdZcp/JUv4jb4gNQLnF1QZC2g4PiAT1s1/iaHofbi31T0oeWuCKyyIZLQ4sQz4nsmlEEk/7PCwXK8y/5X4z3cPOPfPRqipMxj4dhYdHKLcHTqYtiSI1f91w5pNoyz05AfSGyWqpW/r+rM39qi7l9RYFp/zRQ3Wi3JCISuNiXMisfE6ocDIVTO2+ooQsjIGspkTdakdT24XSCXj+UzsA+DC7Vdmk+TOMjyJLdrmrjO5/bw/1JAzc0E1VNNom3zyi6c0uMdmpNoVMfZLL9soibjexJozr3Sfzts8J8yVcoITRk0UXAS55eDXYABRj3QF8go9IGBVsW0RVrxrnrTc7A5P6UphYMeCJTSx2fs1S0PAaNkuUaMI3F9xM6tUl1yXqIr3GeYrqOur9nCpnvxa1eyirhHJhXtQmuGYE8vyLuLkKrBBxFCobQCfwkPk0z9WSLvGYs8/Q0sEvBZDoMVrcNntRlC8GSt4qLejcbDfmgtMvGK3zfnBTS97ZAfEtbTbYlGK0GecwZa4hn/HaZ41tgWVAQzVsvAWPi/Os1D7/J4hiKQ3GvY+VuciY0e2Lw7cbgFyVIKVB/TA2uvbnYTyaso6qrl773KYkUweK7yeSGx+lQ9pmE7V6rfzRNvl0f1E+hDALG2m4yRTfU1mYMQcGbULAcomPv3OztsQtAEfaBB8/StDLXlQ5qq/m8cuzQljZK1WcftrcKscoBnYBdxspKacaHeb4TCsDOUu0wRHAxC2+WLoQiVQhFFTFDGbFABPaFO09cjs1zhnWGwnYUNsXfdClkptD7RKw8sbDlT44ZIRVOx2Q+Qfz+yGJ4nlWO5cS95QaaP1p+FL/hNd7MfC3OgQcdorwjAP2jGma761ig4mGBxzs+qThtAEeFz1w4fKvmDczQOXrx4/+q/t3EXRDCGyfAGpSBxYpp3tq7fofAg77sH4vDTIpTY9krtt9REYNUsoLKzf6OG1mFuTN5+BQiQAENjZURk14nHoUUqOPOS581+EjujEfqEtaPhLvz8gizeq6AWTsKinLPvTHbDKegR4uC9+dbhcuN0a2BwSVxvi1y2OCLm7NJf3aS/SRK/lZq/sPa1GOEmU03tPhH1goEe+QAh0JmCnWywXif4QTvwde/ACHF/we+UTJJmkZBNqOS2LSLBWVM29z0Qo728Dx+lpQs6Z+cQf/vsLzo/rCbka96UrHfAgevOb1jQ8Ip6IBdfLw+DkOc0n9QxEbRBOJK/EjhxyKZswHQuomqY0TcXcKUmDxQG6Sqts/cgQm9M0fYfDv3IPTBIyRUlWxNaIqeO9fo0hpykDd+rDOe0MUHoazqRZ+0BZDcBpeDhBugC9ygWmz1Y/4+gLfuYSvBZ4A80f4wpbEHHYIeT4i9JsorQZZBD4OQgLzJiCI108XTIUcIkGcgV1m4XjpuSAcUW/c2w1CrfqeeyCCLgISVUPgKyke1QnE88wSFTXS5S7HqT+lC/n8fx/KHm2iPR0yMSc194fLzbSc/iB1bDxbPPDwY4Sn+O7HGJYpsrsoQOFp/o22Twmdw5OLbkVoKIdmVnk84DFHm07XUhBnDoh5n3LyDIosEopP7+jwCu9eS1y/0Ta9n8vH8+WxwpRwgiIa85rpCLM0dytmDzs+ottaTFqrsdSpIvAeNZ6tbOMCsTOI8INPPTj0dVh05MnfH4OK+Fu7K2XPnXAP9JwgKnINfMp6F9ZghcFBBE7iuOmKSjt2Tu1tf42pIXmfl2kzV3JXmWGqJtgAJ2vti/LTwvOnbsM+BX6TgN4Dz1uRf2pbPmyv5EpqnHp6lLIuECilbwZLBJt4nkRwfVOvyGa2EmzKSJ7nRU8DxHxVkk62cSjaLKOmM5KxlwPrJiQOotvpMw3a1o2bnqMlpQkyrsF49QWZE3STWjLxRh4ytOg9Fbt+Xkmoufmlta3BEqJYFY41WtAbdKhL81rLmxm+l1F9r0BCpP7cfn5KFTuvVSceesWPeT3KAbz/pHx6j6AKhQl8oSOssB1chr2C2Zdc25sAGZhJtBSbW/Pqi6acKQsrgqPsrktlrjj9M0maKXcjzXBTeXBbbp4zl/3erisWFRr6AR5CWayfPsX+3WeseHwOh69ZG8CTpg0W7yrUORiXKMeuwnMuGB5FthWX/GPyVqfAq4UB4sYOkruKzs3VfOWb0NFPRWKPwnFQ/VtLPo/hG6FcMad8VcFYEUWmpEA2Z/YtYdBJHndaylh76Xvcu6tRwLOp4gDZ8C048C+8lI/infOrpLYI/VVws1ohIMsATCNyqvenlCUeWBtzyiYvHDzLW6FkdZIFnoQy2lp7/B+uqXvUGvtdsRsvTcPNGeZ/4Hurvyk8+jkxLOJieLV74EGwtSG5XiwlMsYCgeNcy7LqHicPXul/CjNXey6Pzyg+mwfGps1S+Cey0nLrw+ngn7oogFGmeMbEzcJnu+uvk8HaXk4aYfaDmBf6bz2E8tyOYzFu5Ua8Uw3QMqcyZ68GPMPM2OpQl0gs6Zq1/tD1WG79fpwyX0oc6rBtHjFRThtBN19N7+0YNCy17ZrWQqZtKtFKHJBEFPhHXO1flElz1527vjdc5zD1Kd1cfJijFiIE01zcf99d1ae2z3dWmRpqfgfFL+nTz04hzG12DvyOuVWz72fYvRUSEObezXqKLNk0e64pXwPmUJ9EfgxnYdOlG7SOoa+h2sK4yTJP/mahIkUanT0FNdVFFU+upq6nWBTjoR4BqxRZr5DFWcr/WJ+2fNH8Jj4XHs7XgF7TCvvHyPwjjaf7nx2vrRDW6VlM5wVlz81jIuJzOunbJRWRyxot+arz1cWBo2AiiZj3HM0DSx488fMkeZyLkHaL3hC3w5e0maOJQU/ea3Bl5uX2xX8+dWihY26+d1Fqwv+KHq4OL+YNG+H/YB0dtZsWglBLbPDXh6PAuwomU1y6KcZL8lhGCy1qcSJ/V57qaiOnfbDkkCdrPB4ou/Mi1ieI5cgQ8GAS/b8nw0oK8X7BhJKKABDi8Ewoj0g+n3wlLHBRoizWAF7PQzQdmFtR6cDtsHgwMuRYn79hytDcP0vsFAnpybzCW/ibn7nUQYrY4ZzcJDvWxNGUvdoeuU9knbBhycJJW/6ma0q5IgVGhLZkxhzshvrBo9oeHWb0uu6n2xEpFSjLta4IwO8dGw5ehbTdmpyq+SFmreHJoL/e7oFKCjYmoeBb+Pj9nqaU1F5UAZXEgxXsRfeqnI8qZZbUgX/OAGntvE3NrbfH+fTj9ayXPj2ughYPmCE6hVGEO5UqmQAgjV4gZnXoENoMLPa1WjaG30fbjvYNBlxa/oSJlQCnDdjDJkOAMRLTYZ4RXqUHKgf3FJOyGehKlF/nWKrHgNYaEmUof4HkNm/Z5iJQtj5tHwksvwilcBsFDQ+sPYBbySrqaC7N8dlxJNOlaitxg9qiHjEBBjhiy1nPNIXvvRiggSllT+xHnumFJ+FR4LZpuVjseR651bMcDWKpyMsEt8f/VXAnw21VJvvaytDN6D5yQjqPqCW6zg2IiwGVPFlGjdGK68bjweJaFscpnO7Ea4z/caUHnUo5mLilVf0wpgYcZTCUpcVG4WHCMUSGrjDgzkwz2A+GVNlnbQV90PrLo8OOKM4yGFCv9wN4hJyEZNajbrT222c33+qQ8lbhzLBKEGs2KtTZQMxENSS17n1mYTjrhvdK+Yi9ex0yhQx7cMnEhmHntOpHie2q3Vk0i9Zt2IMESoIKp1nWw7yjqoSXim+DIC4IoRXq0yYFiRDHIks25m338ppCIkYUTuRStI/6u/smFASL66ryR5rtAEabKwftWh0bPPTGfQGVRarbpD1MzE9kMJ5ZjiKf8vxLrItubvYPTmuTOHu9qMZyN8aYznROn+erc2BqVg4dy+85v6sKYvXDyhsKYkywmolN1GqMLp5L5CaDaALUeU1+uWrUm5KFykE3C8t+EGmVeQbn3Cs33KUTySvr9ThLblwnC49iDjjuCQ7HejhRe3e/QfJMVd8s3SocSl8ROpBYyV4zd3c18MZZIF8L8dfeb16sXonO/CxdGOJAVFqwhsGG5HUWnu6aq1+OrWKrgIErrIVT8VieeEh1b0bqw7ZOmLAlhDZC6XetUgfGCuoScWc4crjjqNwgnhE2yyjtnK5k25OMRv/wYT++35ETJM4xuorQN+CDxqLe1DbCLOr+AETn48bfeRcfZf6nrN4mY6/H1W7wd/hi0CcF50K3i4ZfFCePoCFLBpJbRYWF1xeaHYV1/dG3YIBJFLFOVoFgUgHJXCuxTxy5goTeOcrWHFSgTA2htm3w7/E36MzClRiJhlBoUn/gEWMlpXgoiSHXl7DFsM/BBmk5Lj9Kyisxbh3GEsFOUBU6VzLuUEv8Mt7NeqDypJN3SciDhk082yBw8r8j2ruGmgEP2mDXdHz/kWeOdMroDdhVNx8OEoE2o1bM2YqvB2mL/H/CxDkXHaW+tZ69MG5A20wg7QeBctiunbalOskc+Ac8sN8xLGHmyplBY4Af6IOeNXK0H7As1JMZSDN3UzUFxSPy9KInTs1ptmdc7a179pvSaglhXW3GFZqmxd6n+hifuiBue6VK85Yfqs3z7UL1bhwLxajB0fHgsQOKVnKl8XlkUrQPs+PtAxhEIQf71v5MTlQEXcVteHgko4cdtTRin6npbHv5wHf/pv+H7dsGftSkMs5S3Z4kycvJXYFRQNwrieaVErH+g+LaoOf5TjfiMqlIMyHUMZCQN00n5jbdPQ1mMwH9YPJPyS9czflvpZha37maw2rWC2qRPRyUAZKNf+cfKLNdPRZLmRqNDwpqNFFQHIlRMUWBz+sU5/pl8D317KYzXS84KpI8Pl46hXDBYp42jvL+E7JrUA0i0FWwUVUnMEjMyhDp6ovAhIfD5LiId5pXAnrpwpfp9tXLHCx5J8AQoQLfVaQTeiPeLbJZhXIOarfZgqqv3FdzosXeFx85rqq1kHqMUK6VO/dJ6IYk5Zb/B8iDR727c7NijNSXdTkyChQ00Ky/xUs9tOHqZQVXmGeTuBsdf8nV21rAdljDBQoWPX1xVUl156otvGuVApQxT97QGQbhyOLwRaW1aTKEN3yAOGMcRhwgBLaTGja0Gri7Az8l8W8PX/RAQoelisFy5nDY+Ik0svAvwpZwILSNrAAyS9KCRwc6BX7t2vHIDe1gnrqycr3eCKmYWaCAuUTYkqK+EwJ0pspmUUzTz/J9F5yvETyuQ8yjM/f1ca1KQkI/r/J9Oh2MZR5ngdWtt34U3iRqZCeVMycyHTYeUW1SV1CF/PFKUAf/4ngni+2wCyV2qi31+GyPS9iFmVcDt6OVNqFCPvNVkgiAWHOmh7Iueiaeh84MbmlXhy5OVcfBHRRLpqlEX9RagPEVGxvtjNMmIF+nBdJz+rVM+tcFP4K5iw4Qhsl9VECAaWGea1a7b6B8wF4K33RzVwILdJgFckCZNanRv3Tl09gFu91A01pJmhF36IhApW6dKwDkAvVpb0HIi/K3qb3xa01kkQIppGLuhGFFZbW/NHV2PdnOmWim993SEsR0QHhLgXnc2S6yJsAWLcQMGpLSFAbosNc+sYGNnHanPTBvDQONZmCzndmj2FGm6OCP4cku/POYzezYnxk4mgRyPBcrZyzz+sJ3ZKWvMNhwuhGGINrkrEtygutmUwViW7bvqSzRsrg1w/tmQaUw9pHOS4KSVgVJDeJuckKekLm5wG82TOoaC6Pl4Lh4N/P9Rum5jAN3hsldFvGbY/zyzQLaGi6/1MuZx/D0G1IWDKV47teJMIOaHY8ZOs9mYiZnThzlAPRJCyEuunBD0ADKXKV8Jy8BjaovUXM1DttUgggLE2Tn1XZlq8zKv6Jbbt0LYOIq4h4gYdOAXb7B2I5h1UT3P5Gi4jBhx0JULEmnVlTJv1PnwRtUfe30k2JDWyr8/u4+mQGTgyiwgQraQfqqOp+4OGw9I79+ZYrYs5h8nGCiTrawh5JiZtIBxWmzArAwOYaM3TOHgTNgfRbKRuAGLLifHEg7jMuDKXmVkJA+iIr/JGn1W9m90olW8BJEW6Md63UlBhsjlP9L2NhfuL7ecpE/cGoSIffRSQI2Zh9h2v8RjEYRAp+rYE7ZXQODVOQnNzgRFIz71+oGissm2wwnUdIQ2+69nqoiFoZ5YgB9V+Rnerj+HbxS3HvHIcuuUAb7cx3nbgFZXK0E2LuILBabggQvXhuBOh6hkpl8j3Zto7Wz5PWMAp8hc3NIp/vYbGiRkZPIb6Ut9OcBh7202Ed1Ds0lqdT2CdIsX7Ic5p/i0R2GJu0hmPdpmNvhknPLjUUncujO+Ri4ik0OoUeteP731Qu+tO6QCO7lT7fVnvi6HYPj1cYNougg4Q50lA7Gzj85pmzvKq5sykAPg3l0amVmiqDfqMGki6kqyNdX5iR/k+0wtz1A9NQ6LjT3Z36xcocGCRNNjhV+AnRaEVUFRKEqzFxk+pMh2J33Xq56V49Q3beZhxL0/A0u4Lqgoq+Mc6QHtN1OnQ9O/xi+zLOPd6KJfk1Vzdohwe57YTvr0tnIqlhahd9p5i68a5+oTQX56dyntlL5hDZeSTwCuL7CtUCU58r/DeWBtt9AEf8PIe0r8hu6HpTtBQ91p6Z3jqi9dew3nIbofO65B5k+jbg6jBRugtZv+Afk9zKMHfFX79oZAFEs7dxGpPDCUEOepgSUH665gNuJ0/hchCa0q4/gB+5B5v/TX4TGHFMsW2d4YBzJbPhNlKh0pDxgOWZxpIXKj/E8BBmSm3qXFLC6q4PKEMXoq1FhzT/ujjxnqWlx1nbWGoRlgxCtX56b7CBQ/QxQ3OIWBr1vS8l4xeClS/uv0spyofsFcRDkzZG63QH0seAf0KWYq8oRXcWT6AN2h/4Qqcarn4/Q4c4VtA/cZYGUD5nwhVWFKbphPIB4v9rqiWpnSru3+zIF/glGJyyvOWImpkG5ETkD+Z9iiN04GMxDXbdkRzCBX2cHSA6L0wfA3wVcX3wArth5aPB3xagnWFiiREjk2EdQf81meTDvrjnfiURcEV+f8L7uBSvban6BlJXQamlAuLRhUjHOI74nn39NHwPTscaiWOvVCE58S8sWC0A8F6a6/lnAkc7SunBqu9CxOM4ozRhwmOcIz+9JtiJKVJDYUAhS2DVMpd+Az8sQRWvS2j/BtNJGDqbqaKtoUoa4ym5JhLu6SUClqkHGBNRKBavhJHiQsoLemlal8gJJqp7c28zSRe6vMGrgtO66TowZiJx5D9X5yaJFedfHVFE/0yUD/sFNYYBnGAbz0mRuTpybDxGflW9iZ0J/06WJ5f2zofIvNzGfdd7zf9/u+z2liHwgeZR2DuQDyz8xfr6wJQnTCk5C9khn3fPteFbOaR6QJYD77R5defwSmCIzsiPGByRPDEVOc+d1x3/0+L3SjplLuut/uRg1eJSRDfLq4UrcmwER9T5sWsByiTmDknYEiAjj6sJpmagEVZrk9+QFt9vPk/FjS/ohL0dBTQCXbBPVM1Jh1oJzxNSLiHsK6F3HC+jUkaQXjhoyfyb92G0yig+B/w6qfXUiEQERfZzvMhBJZl/4UNgj7cT7nfhJQ8mIb1ahmaUfoecfaBdI1G2Rfd9SwXcYPrcNwx+HQr7VNycOpx46WyqqMsg1ysxa6Ohrngxd4HNlRb+MGlAq8RGyKatGPFfk8lF9PdmEcgCZt+GGSEBksEe+kD31ho5Ab9O7v5rKP1tEoP8DJfEPbHn/vurywdOcclt/JsqqVfzsYM8wAGfZd9a2ckdJSMNrXCkUiqWQTVGeNv8q9LK2ZTYG9jhcJw5dP2F6GiGyrUojfSSnzzXNTAdKzfqPq4HokFELyEbrOfRi1r6SZHOEnsdgQqDv5+6Ual8VxGTIM2sLZdF91cUKZdu+ZfVv4wgOke5xZDNpqMdI+ul9v6O/NHO92oaXTi7/Mr1YhhIL2vKHbJq2e2mG/tkm8cfCZFa2CYMIqEMfTVekTAjolMnWYt2aBJZmga+lwv+TmxwXZguEDuJgaJLaySPgtNWQ03ffDoBeXCucxQQ9csc9S9qb5AJ0F0bFxnOy5wHRCq69+MocjMVqJ4/ARParCDkX+LA4yqSdb6P4ud6dymQX0dbOuC8DKQZLV8b/xQWq8d2Ml093mMXHZ0/sU9y9T7w2b//zo2IDaNCO4AMfSmLoh1jumRHL8uZ/SQKwWj7aQpxUFzcEHbL+AsvuxVdEtEIhD5u/Vuj0e44xzI5wfvnxaYida2BQM4GoMhr+crTkV1rXvRRPktDhBsdTd1HYHEcPPzRVm8xOI/b2L7V2No2wZ46jWxemmma+i23LDewQaOaaI4RK/yqowZNc7mD/JfVpSkCFs7LeT+qlyTpl5CuHxJwQPeif8hduNMkUfNJl3IzkFexfvXVczFK/9w+f+ly9EANTLHTUNznFWCJPTGOYMK0MNz4J2Zoo0aAnAa/fNpQh4E9dKvJu8KR30nWjnhZBUGB75W8oMrJaIdzkrMb4T5bQte1Htl8JcmRkQk64wzMkH+Q4Y0s7f8Rtu/bQWI14ZQUviH6C0A48lTgTIU8mrtvVmZmsP7jmYOKwHZdm9vie5PeXSrzqQfP3n/IO0Aw2R3/bkxsFYXqnzEqaXxHpQmOF/BUgQSAytmiaAFf7SqsJtYx0FEdAl71AYv0s666OmeSoseKca3Gbzco3tzhLK00h4c/o7qxbboQbC0jwvkhITxgrh+bllpLrQQ/aPg/HQ8IdBfXFEWs8mX6rJghX93jwDxvqdcsaw5n74oFDTNLaJCGkTlVvBeVFWW/1R7KMDFv6l84e+lvlLlymja0A/S/0hE84XWV3WJcLvNLwpxZiz619tcmMoMn36tW36NwSh3sfJp/QYe/iLmEpoFqjBTlBOWt3IiKE0GDW34LRCHQCXavMmjDQJNMl0NEUm3OJ//o/KBjuEf+Wmov5gV2uyBw9ztbNE3vvjUNll2Eh411Djoh5U7lptmfgFlgJxkVB01XJNEUG/7mt2NyHkUFAA/tFu0nhqcoZZ6pc49gSIPOjf1INB+AahA2bs/DhR2fD0aZ0ibe+QB0fXcfydGugnT6CwfeeZCaBafh+t0mHn/p/SRCAgO8fIkbsUW8serDoolHb21q5V4nSVn0cgSWcGmV5k1e4rD6HWJ6u9aRIwmkzA0nJVsxfdqzbWavxpjTyJt9wKIT0bVWBo7Rn2UEUzYYHww6YoIMVaBVdKgDtYhDqVIbHk7zVdgPq4pjyXyBo4G6LpoJqubSGHjSnlLq8+2hrgMpnh4FeFZ52bQvVe0+oYxPP8ZEx9CBK/KRdXksrSyzTfe9czaTX07s+swBRX4IcxgJ28aGNugHG9ljw+dNY4rqSH8BH4nRNV5/lfbIa7UA3RKLZq3jM1+y07JU8PMgcpCCLn9OGQhQhl85pts9pRyI5+CBhTVKeZJsM4G61/SgJtDoeu01ITg67btSUJOAqOBiW54DYF8YO8k8Yk8x2zAmgN0Ov3vECkT1IIkdI2N8qKmnJaDgxoer0PlN756CJq6r+uYa7RVL6PvaB9JJZwYw7dU6YlW5CK207ji3M+d61URWMu3E23ccUb/ofcadkXKgyfrKqzOURhqOW8fb6xvG649oFMPmYNAwU9iTB/tGIp4k4HrLHAUxcKhHRxlOQm7ivwVnsv/FBhufb89PkfFYMESPC400nRJLqx/GzU9R1X55dT9fXAWDqtkSdMXNPzNjvsfiD3pvnEcyE/C4x2ogrKf6/4QWf4B07/w2AKqH3/LPB/owUq5NyRZwYF1nPXLGO08YsoJAu2tpjr6POFZPK7Wfm21Zi1B/hV0AE8Py/LhJeCN5zmYgsqEOrCgmujFPeQg0J8N0HzMBm7Kdp6sK9XmFUA6sSyvnOJBBY6DlB3cUNxx/hVdi+BBF5xS0/vrtZ7crCjIh7NpgyzugIpWk6Tloh5d6EOc4QPWIgX0DgvVs3ZhPw7VGuHmpoECv4U7tFtYX4o1qKa8LSAnjiKDC9+S8oaPVkch4ni7mQSnKl0J5/O23/4bRHKgVSzTIaliFfvnfz2eeyf3+wIO/LlgAH+sOE/Qw7G+UkDFXM7fSkMZqzDm+8cQ/dmF4zRUKEYSxSQHu+JYojsO9q7o/N78zuD+iop+NyBNz4RZ/yyVhGHPUBcszc9puQBaHcS7dFAbDNW3ODz7pTBnehytl96YFTxMT1qVaYcO8uFIvGFXBYYbpRXXwq69J7rd6u7IyfUDMwg0kEcTnrE5/Z8nohEjsBzKPO12AgTlGTWbY7Vb8tEBXWwzaUFv/mxdvFDm+vaHEDNo1mGMOeOLQ5b4FyvcVO6pbqwLUdNZnZUEOBNbfIctaixQr+Z/vfYxifdVcU3pK+kL3sE5i9G5iWtwhzTz6Z0dr70K1GkuGKin0UEiMRGa3Rs1jPEX4pA43i/goNqYn2rUzDea84dt5XIijgmvpCKs0qZY5mU9s4XCcSmeq0WJ3fTb7aJUSfedgzOCy4tDKjV3jPFY9jW9ZlildYgRDWqEnhKbMUSCT5SaT0/Be/cpeA4KUsjUmLqhPPkOWjrFhCZ3cAwzZ3u91AEAA8G/yzuoNv7uRwC4djxKn8/QKmJ+B7Sl5e8yShrwGYuvtimNhPsxf9R7OKeFFL5uzhZK/qTLMXC38AYahDl2R3lmmzEIR9Mj6wReU2qBiEJJ8woD2U3MuXNYI/wEHzJ1EnQesManQ0PHT4risb7c7Z3o1a2A/Z2AjuJfj6AmuSdO6g/GFySQRo7QRFcjMYO9sliYAof4MYL+Sj8LZYP8D/YUyTAC4zuGmP0pMtoLHY+D7ELwsc3KWoRZDL6q3/kiIF91lvuJBkeipKiL1vExCtBxxEucl63N5iq6B4lXJeLQWGk6P/Cyewe/agi7REQAQPEOIPT+wqfFuwE7Jz7hO8YHhkT/Ey/D98/II8rZHsvnzwiZIj5KzhQvuzNNaIFppnwn2ZjOiLTx0LiyO/pyFc+/QEaOMfeQSHvFHDi262eXtwZSJ9hvEMs+gl6VNMQLUBMwjSk0KDHXr2KGfXkqkzvjemPmTxfxquxBRGmXi+a227u8praVj3fCovIMn5+25Xnyk/D9XvTVNpvmjNnUPwE1fwrLwRdo4qKtdBpjiB7CQPD6iL911ledMujmZjObF0be0ILOm8uGWAvnt7Bs6kCsGV1BgU7SH/0hVVvcTen1dGR/CdNq089ZH8ZYqVJ6u/5vz/i5UCq9vma9Lj4em5EHC1zVd6V1yBNnlQjU5yVO/Si6AG9c/KEO6YdJi/dTEndD7BIMuizTRYMjjpjcIn+tdSLg3pEtGeB3ulmd+uTen0N5SVxcAxQikk7Iuf2kbi4kIxcW18gYWZcW6FBIb4UWbUWKtL84uC+OmxDreJK0ySuDJPpCIx30J3n9ULmOD0ApY9oOs/8S6bmkLhN+XSzNIfNJpGVB2BGx6oCG21+fWVKVjnHd0QvQ3r7p487zJr/LWfpFecG/hL/PrdTSti5Oy3XjfUHed8KfX/aCi59OfA44bsLH787SnM4dAVyVAL6YZYZH6v1FDQxhztjC6n+fXezUXF8PNIrrNg4h/5cRTcwkO7gYXHR3aC/HmRRjtLDYLmhX989ufXhIAIEaNiYGY4dYnA0tUKPymvWR5iTj1Yucu0dVJMZHLncwUhzjJS0f/OvfKOSZQC6anxQiztRUr2dQExSgwcQLjwkB6ENbfyRgDrBLS+QP74cVNGjNIGWeVh0ce2AP52HrmFev3N6/HQUiWtpFUWGJ7C3W4OB51zbvYo1yaIPP7YcKgCg63Yev5zGgXgAP8gffLOHN6Nalg4kX42t6n6vBR8TFFCdbvB0FCIEE7Ckxtia35o5SGeExNjOPYHTLYMCWGoJtlIjllXgwnmk/5VcUqbteRjo+SqLm6/uibeOy+6oG6nkxwHbGaDDYL/3c4OYSbHZ1B996rarJ3TGwKYlKhUl65W3ppJYR/sH2maksx/EAB4g2JQsx1+OHocBCqUgwLBIiK1/KLMYZaF85OXt1IeadlI7/QSCGl36EKMgibCMTH2eqKw7/rwAszMqT9zZbkEOHxZjeYNwFA5mP/UMu7MM8lxAco/ghtFYsHTcoCJ+4e6avJ7jFplZU2qPQeO152xKpR2BTcpaNd3Yl4lk1spPFJ1EUH2/pWGLEL+9L+qOrXhCWUFHcUNWknzFUZxjGna6muFoCJa60keg0OLw7JS8QHgyRxbWdBu3v/SFOmokiWSEAJ4xPWWs8QWzNJ5xrOg7/AFrksPD9oUK/y3dEs13Onj8bBnH5npxCvKfXxXd7H2Bw4KW/soayN1ejo868nmu9e7mwtZj99By8UU4pDRmwpez+X9Fr6WKe7xObq7bjS1/gmuJKc5znzoRMndK8t6iwzsOkpajS7HOa7q/sx0bL12yd+QR/PoScGBLE7nC6mi0o2JkTCYIx/sj1wUuYPs4LBAbOicBHdrfaO6sElK5gzGl4dRbY7XB5fFpd5LabDgONxmR5LKrgyOunceyc68dZaSKnWO7ytvKYzgcveNv/ok5logEqBQ175U1L8xHAgkLoVrgs05GJGgmgRqE9BcdAlAqWpHSirhbKA5+Q+T1XlmPVBsNR8m87Ok+CSusTULcSAcZ4h+lY5qDT5XPCH6VV5Api/KEHwEgcIleHbWILnfYHFiSZs3PjVgtydndFsFSSjrIHxDMr6b5IaFd1cHUECghNlSzKdFJkoqKSb58umwolQxJ9JtVDawcw81Nkao6XUiUpV7lIOw5Mk2SCYExWFJQBI1o8NmU3DnHyBfcpnNT0dBFeBSBKU22H1rWR5pP83FgWLecXokwCmkauyqV351BIyAfAleaLeMNr6MKeedw9Sa2ztv2TlWH6de+grbMKJfZORQlcLmJEGeY4eqfcfFGzbJ0iLnTUqYfSD7muEyPwg5nGHwXdqK4G6wDlfS09fSgROoa35Wk8YdqPqn61J3nXwyUdTDMkmdNfPZQRti2TD4EbPMhbzw22QfB9x4cJNsUG8kNo0Lxlyn1+qKTg/J9Yk6X05zs4/MyBh1KBAXeSGbdYdVbsoJ//8VW9LTlOTsyFVS1R36XAi0UX4J1lfMuQKVLYBlxGJh8xbSu2PAMplcNQmE2DeTM49Cozl+z3/FE6hhqc4fFmk8hZcqLIRsD7UFGE24bHORbdAMu/caDboOvg7kyyAj6Ddn2mc7lEMGx+67Oj4/5asM0Tt186qNr6RYq53PTxP7wjjlx4DUwNdy9bmV85uPS6stk2InNfihTWycX5Ur+x953f5ofquJHjJBUrI0QK66Iyi/o2SJvufQYn0o+zxPs9+xTXpgruuLZBb34uPKo9dIM6dOB0lplZ3GSLN31A5S94AFcEoaH4JRlrmje5wzvXINWsUI68s/b5uy9bFaz3ioVCZgch/c+HOhuoqgZ3f3I+flTFe0RybCu5zrMJhws2vlsrhzPTiH25ZZSvC9VXU4dNkZmqvP0GruAdN84aY09P4KvwuU3+4YQ71LIpdsbutpprBwMyXTSIjPfPTAe2injg7Bcpl6c+cg7Bev/8oQM0nPeH8VU6E+6SHdisL/OmciA1IbE8Mqkar7L6NztyPWBikfv0Y2b3qzI8gWkoDBZsQs8E+G/4Zi02NJ+WhwlzwPNV5OOwFDZQYnVsdCrGC8iX7aEb3WrOKzrfh5g/LJzZB7HP51wom3LVyjkyS/H8sGJIEEf9+z7AB2ctJx4YEsKltiugs6YBCRthzrHUoTFNOdxjWA74AGSlOXcrIyx3zJl6blYhGHDpAqWLDxaAvbPM5dL9tbMKtcDPa2Whq+yCZZeUPHhFTMPFN7RQhIEILgeyiChQMrzlZm5He6DCsTchg2po+jte4FOKIAPYXBuEqP2CLNqTG6nrzhWQmvsDban2uRUhkzpwHdM4jkq7386B8+FYgkJXkObY3VbCTQpLLGYXLMSMBHEgsLdjYbbLNpacyp7Bv5pRy6M8QK+/CxTENzoKcIDt6ejkdkKtL4nPp9vpdmWypv41ikDCT3uy7Ss/O9C1kD7GkLj/faoEh3IS62rH7IDAzKIT8lPgjWdOhUFJqtTecTjWIQKHsJNzBqwQnXm9pTC/x/EYMBPSTkVBwxmLQSJH8hJVGW73aYp/kBu4DEBIqPzQHnDaSPx+Rxn7ilIqaMBRmt8RWJnoEGWGiUyu6qaN9Ajs5tr3coyDUuo9iaov0kMEIevdZ54geFjSj34G8yMj3Js9uuTiLkBvzIhEli1W8F4UWbfM0bcN7oDsgcvc9lqot2soCifCa3w7v9PQCxXz/i9gdkYwd5ziY6XxEGxT/taVSMBIN4R7Zll0zlwCvtRaw6cQa1ftxEp+D5yZ5OLbHSwzDiaBW1FF3fHZL+qs3g8JAsPIWv/zWMDRXGK20cW89/rBg3nSD5VbbC+ANxnzNEtrRAQs/qc3/8CjdjTXjW9mv3gwJFL+v06oNptqY8y4P5a3hZbnMVdu5qRUF+2YD27U82z8w6zoGHtM/ViSWCyWBNJbHsbw/0gxMqI7wYGxKbMj6+nbReRznu5G2YMJkvaS3Txuo0r4+01qpCRTgyr9VwxlV3RkP2TDA0QRlExkwUGcItMnYY79w18jrHj3pglBwcZHkDXxxsBdGTXa+5GYwVJX2mDw+xs+i/4rIhjmQx2tUzTyWJJBvPUOVinc3xgTiFbU8h26GyB85p9yQqStLk1Uf1eQFdI2JcCH06erIYxATT5LKwPnqT/FGuJWaAogbA+9Mn2agzpTHfr6kzEevIq9XW5O1MGZldd25UP/KqcSL0+JeAerNxzjCmCooDkjn7AD4bwlwsuQMQuD+Hx86QNz1lNrgcMRB/DVhvyj+qlP6ySzd60KKmhq+PpSUTul9RYfIJ54yaaUCRyKMuufZCGOBZQXFU1vPu/H9h77tsYzFWfuS+zK1ywVe92xNGNAucDvjy0mLPbw8PkADMT7hEANDLPhpPTgXNEP9UmjAZatpLboEmQ6bvH5onMs4d+ubO5nvCIQ763GJa4QDxkvJicQlQAckGHoD0XQuvxB6/48UC4/VGpcqNy6lndA6r6A2bdqi5dCM0Y1b2qZrLiqSFhU4CIfvTzg6FoQqKFKPeNQt+nep8CFWCy5HDc2jmI5aBupMIrIvpT6ZVkvC4sJZSY/3jWhaongZhzoRZwNT615YAlKrCttEI9uDbR6f67sPchMbDQ7qZQuHN50LGyVdjW1RivQjRUDaCr+mw4EmCec6lM+4EZNwYalgylL38Om0GRjSSP09yMY1Yq95SNuUWgx/BYImsLYkbQFNe+ZkqjJuQbASGC7V8ei3chm0CIzHIfMiXE7QbAUuZA2DnvvE255iLymJm8qtFogRsKXkfBVNK7aoia8eAgPes3qf9E90QPv/rwMJflO9U/esIhveCkkDvojXZ0MAbDju7mkgYz6JLA/1LfYkjrWY9+qeAI+coXpwj/nwiRLVf9MIwERkRUsLtq08hUXQwABrKpx5Dxe/5J1y1u5E+0imR6j+lxoLvLdWIEpm46xhY3CZp0NUhcN8y45mgX33kXGsO6UVfbZGSSpOiTvNytTEx+aX55iqEuRS8j1d9KxHNLBHuGcLmILIIE6lO2p8D6KxfzWWh8Le3gVv4gCvA8OH21OR2dT/sphLp2U7RowJbrMCtipdwWrBKBGGUyrwXr6B3pN7SLRGQxTCrsWAhGR0vMW2WzQSFE9xWjX+MPxL8Y28PNs6oIgymzvWn7EjjfvIkldGbqDWUN5ZkteeeNIp0Hy3Rb7oEMUUU22E0dB4CkvKGxLR2u0czgd0B9op5PF9OJDbZ+qLiU0VDuG+Q+B2+mdC87HzIS7n9yAovLdZIQCr8qrP0XTWGqft3pX8guyo0Ecc7/GTI7tUFvHb34c9I8t3XV2Sg9lPyDDY+FpUjvwN7Rno2ujWSiar6D/Nv0wqm6gnMc6+H0AkPGA2eZ2szmvPnnfrklu40Iesr2xksyH959MUqJgj/d2qSlUK/GkdqPnflWlL0MY65CedCURf8ag22zPKaNg7duZ5j3o9O4rurz55upkwLipaq1b4vDFh5s+aX+Gxcx1qxJdJYxJ7zZ0UL8CkO0a4b18B4j6j+3Q4kqo9hwgIXkajUOTkODnFlCHfSLzxOIQJ6tMT3PsetoF9drnCKU3KouxpKgLJWLiT79Ov5GUOO/s8IMEmQgF1wSmsdE+bDnAcaxuCCg4ulMf+eQSZZoDK+wxruZ/irje4RegmUjHL9Q7aImcxZSAjK20qh29fuOFN2tAkCL3Z0p05VK54ZzKnnNTkdbiyHpQ3PHdP9hYHLP92Ib6mdf1XPuuahknCsdSRJrig/oEf7KPmDq8dKzGYSmkOw2aT5RF6ifSUiqU/kO/0SdrutDwFVjwt6kpoqKkYwOUIUjEROGuXARhWyYQfkEJTYb5d1naVjdSlVZTjGWfDqZxA/ZOEA2pLMdg2uWKD6RjS3MfCTQzY7cK4jhyGaM//jaKJbdKcEwyUHR/CffrE6xruY461cQC8mfQVIIKnZKTWZbs5UBpR6XX8ctmX/661LhQYVuQVRdbutsB72YD4iZRvuRhwO+NVqYfdcIZWhLZAQdgdQUIIdH1NL935IuCG33LttwZnNIZ0h1leKmziBLFjv9k1G2ZLIJK6LkpNPTNPXZWYkSkNDMQesz4FNuynftlvBvssxK6ldAULbg2UoxiITJaCDRHV8YTOsz6imdgl2OfS1VQoTTk3pkFSyI3C0lkO7mZfRoiV6HRn7vFbpR4fkGVqpVGziV5f4rWiA2OX/YsdXbLxPcfeg9/9EOmom4Xpf7d/iw+9oPb5uNoRf4VN5fvTTaY0QuhhdB2OskzyYwIPsQdTLHPNvrG5b6WMUmSBZkuuUtSbIH8qt1L7SQlf3wnJaP/kghP6wbH+P6ukRnJvAnLwpGiVXK1Umq4jSpCzZclFV862QkTWZ4SucVbAMi6Aopivc9UvQhDDFyIByFbB5s3jHX8HX2XWDApVrm5zSLNqVMh5/7JXvOWA6cXBU4NLi3oEXF27GYtcgTZZaf7hJ+YVtqKMbUPUZkMWei2OEYrdKS/xHT/SLXEy3C160y1O+WTJyjh6xMoYbmeAqrkHNilW2zbyqfc9n4QCOcZAUQ+DfadEBZSBGt8WtYorwbTtlogGZfvGu0l1siHabJzq2osZfndqKBp6dKJAaaR7GWlVrDMliH3Syw6g1b42v9XY3W9LAPvWy4HtrKMV4MnWpTa23PqDlpx0aCjTtWotaBSnPHjE78mtWZsVVZmTnt+Ag+n+UW42XPVccdGRNvTjUFf8fYDuJn146WoXmWo/FFx2I7ap+71vL5HqS/Cpwy5b16bjJSL96bH91iscRIhzL2b4R9NseA3Ymp5z0V4Txh8VNXERxbkRKyU/vkIRVeebZd2OfS9PfnogV0qlt0zZjNy0DYZIJWvWl0Cth/9Vul5k5u3vh90kB4L7DaIk4Hg9bbjq6TBsLEQ76OKOhXlLqmNz+rhFzzaHNrzcnWBqYjrMJYy3W/LosKfVPt0GbaRZUMCjzsafVeUJ/YbqQErExt99ioRJlcNrKm5Azw0N01QW87slncjil7NfGFFSw5sT+r9LsYzOlonW/6LYSsDg2DI3AC9l2aSOEjgEcv2krNg5fzGJjJOEqgg8g4RsoQOfcIWq0Nm51KucVjPbEDPEB/wVQ1FVgfKN0lLz41YkofNSiaJSWKanssu2bIiA9LOejvA4ehsbCw1dJQKx9yk9hEW2B41GBcwBuIZqFeYO9r0XjC9LI+24aNKZzaJcuR8eljMCOdVmCiFklYerd6dQL7O3WTyu8TVSSNp5ofsUS0u5Yr/O2gcj+AjtJrPGt3UCA5JDKZP3IKieqA/5AE9pY5B+/1n15MMZc2NLbISJWKYDfipzs+M5GuX5DD89P4wFisaHKUhZa2gX/b0AsQmMUNbZKYZZtRe9z5p94e568IkxDy56d5N4JbXrRJE9jZiGp07i1k9ODvbKPaYzCjm/+V1nsIWAOG8TJ5rNwct72maoK/ki0b+rplk0dYQCOPsmYvr+nX+d2ULue1tsKMsB67894aDL2xJM9DW1fVV8hkfe54TUVYJ+P46U2GYbRDdCzlT1ot1boZOgNneL7VLAgWcufSvvmVFTnz5JXpWmZrmI5G8I2agmXpqHDUioIWc/kpIHJg6whx5kLCVN3MZAba1RntYgLeXlhcBjoZZeh4Je6aX1wjPUy51XI6GLuPCVxvQ11ZpAqMkwpbNSnhusmKlaJulC2ONbcegJhRc1/JQ1/K2XCJ0jQTh6vcLA5LDLPbh1la50g4IosX1zB5P9n+F56RgzmHZ5SRn8lBA4PAxX+QyzTOO7R6EI0XK72DmZe7xqHWq/jeea5EHl+PnWuHnAff3NXjBSgB38uqjKK/7wauNcts8schZ9OOAg2oVOHQlPyZwVsPudXBXFJZOG1NhZP2y2DWHVrddQpANIDqxvEweMBJvPo5SP9JmHiQQ3myIAFuJ0mYaR5nSZ19h+IwfOL0aB4XGsus+R1r2onA/043pjofRVVo9e8Kcigz1PXxwUuFyh57gij9uSApwObykdGwQh+JGUoL+aFiWTUqxJ+N7Ns2y0cW0bW6vW5Mc30tCQkL2l6kiB8EsocMX9yqVOz1VpCuTDLBwQVHokpg/hkLpcEHX2y2K8+pIrxp+CeP8dJryVeSKJENhCw8CyMQZAtRxj/tUBXQ9Q1GdL4Cuzxt3xK7owZkHhthwV+I8Cm7dfoIgV8wjAXIRDmT8dPgXfGeKMgK0/4jdVKAsz48itdE9XzZtPdzldwBNEEGraa7RVGzPImSnSH5zn71Zg85Me/JY1Vv/oKn+4Wv1OU285in+FxG1w82ykmVi6564ZpvRlRL96JjCrvdSjFgReTz4f6gwfEqv7ZcKV8oS4L3MDLzmu3ChjycudPVHqLx/McBHPqalYNgOYXnLODT4VrLFf5bCCqpM+Ajkj6Fsw6QYVunqpNlvKiiRoiuvgAI6eHEWE50le4LDCqXtr2r4u/DldBAnvPw1bdvJJrx5Mv4Y3uqzrecS8JIPJLwFKimUMB/sV6hextsRgplwq230EO1c/ocXvv1CPRuzPdmFqbJge8OhaeXNL6/zD7Br/JgILkakGq3hVVCgg+la6bTeG0/uykxc69S7luwr6qRCvAJrRe6YxdwkydZeG2R6bzkw9ajPobSXZCH3trVIdT+XN66BthkkKMtq+zllsNYFt2AM83j/0cWvC/dOPSD07BNKX1rkj8WHjePGJ13UYElLyWBAraR6GJS+J6JzINw3P0VuFXS+RSvG7P4XMsscWjHMzhgewY4MB7TaTwPpgnTfPOiAZHsN6MbYzhjgn+XUQpf2+uylhc/SS0+HKZOKOON7evE1E4zigTyKH0nP/kNGfhQ/bQ9lCKRq/mDppz1PpdqFBLbwdFylspJowj+NLVK2P1R/Xjo552aDsiGRnlFWHUL1kKWmgi6hMPPpamFFJB25KBrvAMDHQCPDFCXcerYPL50qYxPYkS/R1UCSX7gmpS4s851SrGpB4jfig9hinvck4Sj4OJxc0TEalfH0jxLT49NWPttMCHuxtmSRxNkjPT1gJYFLP/SbS67tWSrPZ9l6ZYih354B+Ep6fxnL6S0G3Ad8+mU2bh3oLBb9dhfXlRr9HgTZlQ+l2xN3DuP3n7n46DrWc3YxRLNZcTzmPgY57QFiEaY1/4Hc852bg9ST8xD6b7xSMh0ytWUbd7AI+vCqHpEJj4R4BGw2GopZYP3G5qsSzRov1SRBsqmdwTUTbpHgE5xyNyDVhi9+vnCaUTtUV+qsxU+YsHnQYU9XXI9691nZ8kKNO2nG5zTMPsOC1OE/phTvpo5S3F2GCd+rVzDKYyzGLvlEqasiMOMMp+GikZDcZbqeXweKqZqjRGr1zQX07XIyMvWyX8NjegXdd06U12CNOeU9ERNJi+JX9uD1j8zKgpUzbxC9QrxwVZByuAGmknbDzASU26SXUdMoWShU51d7JYzL8KRL6Xl/dAxkdxDghRcBWHgHSXrIo1XjUV1KaHdQeJd2s3E+oLFOx13T6s7PaX0IotjLVuKy0CaPV6bUnyxy69ZgPwTQ76IM2PK1Frv97NRe0grH4eJVuMod8Arj+YSUAj/v2c3evjnAINWIBfZr7YOR0c4PAKVghFWVPll4w4KfYn4WJv3QXq/p2xGTSOe6luW1eDxoGbMWx+gvvZQ5rhmYuIEjKCzDBJDMHnRLLCwysz29egWNbOVm+NRTe8ku+7LzNsSQBdOy57c26Nh0nQM3z4v1wr3sKKvNjHDkFwbUnITTycPQrpnznjOIbSYpohOjmwjOX1LGXDOWZ/ZtkzRa26DhzcxryhRTY4FK7IhRyzKRNmI7ckGz3KYjuL9lYF0+DO0368duYLBPdyjNp8UAt4MjttZz/503JZmOa8KZIEXIt4BYQPURIR8wOsPNdnpxTtMty8VAvoerwDpFL7dCSjvntx0gmOtc6n/GyU1KaiU/TgbpS9rBiS4ucibJo9h0muM0WfqA/AKllxirXfCRbVYo9okN+0iFjanzBLYwslYLu1YU7rx1XIryXuPjZJUUCZdMOevnrLT0XzuAlR4wT0bkqSVvE8PgjOlOqaBEA5deAc/VzTbZaZXC8l9noGqisONJmYrOaMA7vlukVh54gZs0NnRG8xuP02V0yOXRRW1sMioKNjMepPfqSI5AvdGn2FrZW3EfgIGk1L4c19XCQA3Y7k8BCnuxnjc8cPpmP2diFnXyvSNJJ02az9SLqZ4M7ojgI/dRPTIIcnH80RWwOOB2GtDSBpmbN3whq1Amis0Ur0BNyJp9ciHrRnM7fvxHu8ES4zwa3QSbJJXluDNw9k8PvDDoFYgl2oCyQ/pSzbDn674HO3OeX4fXnNI7aLnlRl8pBXfNw/sCjZ4gNVcveIpywLy6Ffr1Kb92HKGLKbXMNEAq0q67JpJ2pV2rMphySnL8o/C94GnB6aOr7Izkl7FQKpsex+PcVk9ftO9yY9UKdheZFdnjUPtTzNBN0sh6uiOWiVimOn3tw6n+kRVJ3WGmLfT2CDbfW52jVWj13PHT/vUrjHNrvjdKa4rA4pqdhd0kQSGdh45OqT6VKuRL0c5htmH5177ufk4fXKLEbKBoI7HlNwPbevlD3J3jcjAMxDCrNLoa7plfRldy4aoo0U6RAxh0bxIfCjOsrK2ERqsRYd+7RLHR2kiSiefGAfwvK+SKmlj4XalFyLpOMUBlpZ37caZ1ibIYR+XC7zFTqrZPezYo4U+GfrtFJcBNscqb+0cUhIn2ycbGPhulDYIrGqZzc0hdYnYk4I7YH6xH1b3tkZKqdvNiCmOrRdkAwTkjxwnv1Bnp6mWflzoisjUweVEzaE6lIg/G0NK8y9jmhQMDDGUJoCTygMf9MJGehZ1Y5W1Ssr2XQVnaxAwFaKHNry0ArmLaBU4c3XebiLbkd6M7UwHwoq9y8KGO/MseQsI5hgEHcify3Zi/4yQI1nvMi+wwDeVZ690YK7PZo4NGtTQ0ulTCfd4BKEVns7DqQYCZ/5G5rFaDI1FgokMrYIbQrklTavO/7CuzB6yBHWOkl0UthARtxi31w3ZxDso5YityyeDvMTeQMloD7TROD299whVt1C5KnKhBTT1DKgZR7GBczs2Jc4kluCDnpLik+J+6UZAC7QeR6bIE4Uz1P6AcBloO0Ds1crMY022sSDOteolJJYk2c27hkM2U5GXVgactcaQF8MNbuDd+bcdk9Bq+DSsTKKunf/eMDDRTLwqU75WYP2Dr5m68TK4XNbyqIgZD59pJsgBMYuCjVKGxkACrJBSra+LRHxHAIuqVw8xH6Uc+MVjbS5pNuhPvhxDMccjmSleyTVlrpRovJNKPu9xt6z2KISHBorhhwEmbbmP0Efhee2GAIid664/PA3RTlvG4Flt5DEoBot0Pwg5FL71iPdgo/K22JRbKFGsMBI0UpoRtG3vZe0GGAh0n9WqWg6DsFFJRvH8p0/a9YZeFpDd0sWXjK+OWPRaiWknjKntAnyKkn1jFkoIXodzg12FU0JIcK8IvSAN4oyfFpqdI3anjTaRSpCx4GR/Ap/5klOt8P7ekfb9MASw9wVx2zkici46hdjk5nexqLVRrPRwd5n6Ny1Lf0QlFNEEulaCtHJAWpVeM6171PMH3lLATqspta3pbws2wlBqm368KlXN7WIi0VcZmlGNd/mV9nUFP9JDRtMIlEzboIjIA0zr/iYA7FibEK7jR6YUyl3eYOJiiLFHzu7eHRntXfMI41z/Q3afgs2scoErOTfMaHe/94wkQ+BnKiFiy6kUVFn30LDs3P8G6cc50FNuQX7Sj2JP4AD+Ln0TEzGjQxrR8vNXlnXbEf6JwGZeCa6hwYJqG8jo87UEIxXUbV5fd3mXaX2EA7AY86odtqAtZu61NjuVq6yENk5awFEDG1imt8pjbgHUlaai9zW//lmkILmDUOjCnoQE3MhCaeBzuAuFnbfbqakskp4ulUyERsWACKd7JuLhQF1j/jA2NE2Sbh0XEhE+3fa77aYn0GdYV02iBL6Y1OQMNHEA/7w7PtuV6VhOIfuGrnT+W7gEhyiz50ofqOrQjlk8fTPEfJcA2WuStXg8Pgd+jGhiY1NImTB7yY5hFFtHP2KmPPVe2n83aGSlbc4DxqRfF25K3OblxgRUP6g0Xv4zLcJt+Ba/X1NGq9DYUzD98DQkx7mdhmwP99DMGKT1rTz5YiJDfnsrjRZfOGIXxFHBKeFwMEfqd7m/j5F36GQh3joAjL6WinZnhiPaj2SnbEFq/8UeQS7jo67fgkhv7o9j5Kzt9X4RIfxrr6NpQZboV0LwIWDQ8rOKeQxV0lZM+uYlPbJsPRXRVIHkzvK5GL57K4+0Dyd2+j4UgLM+LtVBoaxyUD4/Wq/zX02STQJiLPZ4SRj7M6HMZb7R37NnVXQJ0D+xOxwY/EnnN/0ISxsP1V7IB7gXIKMerS0sYWJJcqqG5zDLR636UczEE8Lco/joXio/GtEzUjzSgvHurnQ1RE8GdjS3ZggWQ6myBZqRHFMIMbZVFJB40oBI1ut69457Mvvvlo9DA7CSWkBQ37qC/ynRKIUkSp+A3TO5XYCUDalgP2Agk4ylMAsQkoqcgnxmHpyoGA2IgMVL4VAnaw4HScr1qyjt19LpUbsU9L8ocJHj970FYhpJU3zVVwXHYC7S+P81H1YjlnkzNDSZeIPtqtRwdLNmvF8VMpYJ/7SGT4+V6IZ0vVvxm0DOabVGb8+mP9wVM+MB60+IlULe+P4SRi5udy3uzMm1nZdAl3MEY1hMLC11dQmXy7xHNU9s3jj9IP3vxWpgARYosKgBh2LN3g/k3arlOuTPfoYkMevVuMbq0De9G3d4z68lR8MKqKGAwNYgsAg0XoZleRedrShEJTwud2O8+qBegQJ//sFUbaW5ZsLHOPt+eaqjsN5cAASSMz61BT8NnSvGBi1uJrYV9+rY68rVpQ1Cb7lqtoa7NaR36a2XMZpQth3ia5xnsi4D0vWWLpMWyVuWnzmIuoPrBAIpTYmp8jqBiBo24cu0ixhL3iHj+tmhu/Vxj9qKQVl2m/bDKgVCud3NFzncuXxb3R5M6L+teJB17M2+HgUrK2q6Q5aVXJwJYhxb2se59ysDx4DC+LnT+Cc82xFUfPLzfQEWxAW/TbheeTD8kwy7QLFnhqLuh20kXIhFYS9gz6xTTghAOTi0EHpQWiru3JXZLCMJqKzpjb533vuKs14ukHPhlOOVYjTMyDjAp7mW2T+arKRX1NMdxjtLd6vjgHAJTAwwUTBIwuGvR9pUFNZKNCq+MnH34nqKUHJuE9Dti0mCUPsj7YOYJDUdbJtm/e7vEDwDnnV/TEtoBo1SZWjfKBlRGTiVqkgpfjHjYxYIhZvMMCzdQQ/Oe2qYcBJ8GoE3pHqPNDNpD9bWxHhRdsN5psBxMD0bxkCU/1F5sKm7cF8UJ/8YvAN+ta9VkUWA8xYAlbZ9mZnAcTWJ7+erc4K7Bt1K8GjAM0KdHvFXxaRHAoLWX+swRVzIobYqGRjKavnOb22DeYdeYXktiVGbGyknvWx3l2OPxmA/neo8xBFv56xwruFxt3TQ6bm7FBQcb2TXAaPDWKZlYjM0d807nkGNiB0igd2pKoTqpwH5YajwqEgvetmSmb7x4aFJ1sLDOIHIP/J6fkMVANsXncGfyglgIo0UD6CCJwItyHlq4eG0qC+amyTpudlDV9ueAILufFup/kA4QOkZVQGuxna8joKmarLD2ilKSiGvVRAOzHvki704Bgu4goOgjF4q6nj1Sm5TEhkk+oCoYR/NeQKI8IFk/r268n/8xztbpq6okn5+o5XA2aSJAcVI1NwrzWspGmtxBr6Wl9m7EFyEvC+INjYMEjcLCma3ooCjRoGi3twt5SipEpvIeKaCMYWNr26w8P0J+LUXWsehBYRXidoPFuh4XIcdZ7r5OTYvbbiPOC5W19oTQzu2h2bHejeNfpB7oAtBNYFiHbgmjBZ5HhtOZoRCt4CcZAuFTUQYuvn66YWF2GzTbtxxlnvBx7JkvUKU81puReZmP66X2tm28SPPlr62qoG7BXXHEuD236HVCN8H9DrLKlFUiNJAN/pcfiuoveaw+oxIXPvsKmhj+pQ/wrShHPRh9gUmUWQK3tGoxbjvZbmNiweNN59LGstUSJ4D0+PrIBhwRR4mRix8+3xPSM7mylNedtb+mVaRW/34iJ7IegcThDS6gnvgy/RpRGYk1FAYOn147HSWngyCnaT0YljsEr+1RZobwn8QkZot/bM5QYdwJlEVDE4WvRjrmXL9Lhmo9XfrqGslFaSkGq2p7Tnmp7NbnhlTS57B+1NgBDjgfm6CzKmnwwxYM05QQN4Fdqmox3qfnk8C3avQSJBQySt1atWFHK44xlH9BNTZtYA63xBBuoNGl8/bcCIG5NvxJpwLwVgm2oz4U96YeQyTF832XAhIUleB4VyG146iHs2Bamq9YMaRDd4gMGVXHackEVtY3wFor4G00xPH1w3o3aEgEVE44P5BHwNQwDC9btM5j0CDLYXNlq1YQT2KiYiqym7vfJJRnkFtxhbs+pIfL81nFNNTY/yddovmRdiGZq1U+lppqf54OGxwEUaWBCallIKNEbzkQA1rBG5ecHYq2x0ai4p2FrY3YhFACzYmlLYeRSUkSOxKFK+NFNyZQ2ZecgxddrOGsViJ2Y8AbgPTpyFx1l8HFJ7Cmns2ZiidK9UXc8yukdnXfVPqrzlDfDdCmYOCQlUD1qeESQy1kKy3hrN+ClxZ4d4M/Xg4PJdyyVrHZp+Gml62heR+TXk+gcVZaBELptMoPxP5vWBbwNhxwVmK+Iyl4roLdgyuf7wwpjQmYfiRnWPYPiJS3caLX3Rkwci1MbXo11qCCtBvXKNt0R8RWtec7u9ohc50cpuGCJRUf1zulvHzAGKNeGR9/Pnsb5TLeRz+9ZrX40wxHgnhQtZrdgD+F2WxJzdnmN8DYdQgg50PNL1Z4ZnT93ksvbtEgHd53H1F4KYqiRNpREiP1aZUSYy/uUmNWirouuhRuvxncScsF393MmFM+SjqNsKbEolPNfG6d+uhbAMPb8J6JwLrlszCExNIFCpcs7v42C1/s9qLou1DSEmIg21CF8iNfxETFQp3N6xmAcvR69XqHSPEyUVL8xXlQub986AH4hmkh/pVTPvpRQte+P0izebuhWHcQy/66EH/jtMWqKrw3KKl5x6GrqgshovhT+y5lKkXTwLIHMjhsfgvWvygr2aOzvNh1DPd+5BHQplFPhFjQmzj3ClRE1IwQZUK+/dG+i6VRjzMryCG6Ofj3dd94463tyloFEaQ8QozCZjGzTgiQPLEBWqNUYtjA7LqjlLsNfo4m0P19/t7zXE1tINywByOjme7NyTLcCE6t6nYJTlEs2LRxGAwSfGQwsTCcrITiRJrLvqjHqIQdBgJBGALYHqnCDBR8DabTKWlUMBVK+Aio0LWgDErh1Cku8OeBzazRQgCR0ESBWTHahIDXcE07Dc3hzYlImt4/ADemJGp2vI/kUkmxhZ8NVQ1XNke2YYcaLUJPce5WFf+1aXA1VAOUAKbprE+WING+aAjfS8xk4JtU0PUIPRoBhG7n9FLqFFrrhI8xsm6egiEErtVIOgIr1P/JBSaUaG8HsuYZfAAkDhKq1mW7G6CdSNWH6K4aZpYvQsvqsXvDBm0iRbUcVJADv9Fuhyge+a5jGeu65FRNMKGLd42WMHMcqRv0DtH4DaX7YcTkQG1JywpT3E8vx3WhGoJ5BChTSfzaBWdQEroztFdnTWvirf0LTWiVwlNLyUq2M7IMefuyvKMojnJuOrJmpMElvBEVQWBYndEo3LT+xnS08ZSg21ntoBy+u/eMpnDTJUSr1SWE9Ev/yNpZFWA244V61ciu9JbJ7li2cBHMAj2yfTPPYtAy3y+938sh0QFJf2yQpPrRJ/oIjsh/ENs3HzjVSdL6ugN5tvkVmBu1BlO8Y4hiKqKeJ2CQQjGM3OqYevpIGsmvANQ8VbirfFiOLv1RRi2bTA/9zVfJ/qacaKMR9IvcTPTmRGx19Ko4gB9Ig1TGw8jEmniroJyk0h/LcKQUAo8bNodJc1Qv/QOYfYfbIYg+xxYnAu7JAsbwqbfxZKgFg8ke7/3Q2k/P1xSJf3uMUSXhAI+HPoX1KlcrCJyvTTCISXSmgKaTbnXurP7yklvrNW1a4DQQn2XdQfwc/0FtCgeCLA5dbPPtVdVrTiia8TgMT5qERC+h/S/y3LanCCdglRBP1/VmLad5VFVlRbK/ME+KxCNr1BwpOJMGL6f4Lae2vnorK2zzjGHQKjpgQ5teJih2riG6o9Sr+FgQjtEdMo+QZ6n7fWSD/HnwwBTlm8N2H/FAuexsQEi5z2dlZHNtMQZQP4mW1PwV+okbdXoKa/FWD9nBlgN4VV+cEay4isjJd25pkmNGeSk363/yIF0Xx0JeubqBSeKdRRS/Fi6JlpxRUnmmvzpyU1qPzbX2tseFY/Z5DYvIbLxlB5DADtnbnIjQonc34YIZ7ynONswRuUz2MVHK6Mw6iintmsfOdHlnxHol/rZbDi7+oEV2zyDHlMtOjHkZdlXczUtGmFarpEI5BVcUWe3aXdSd+0mVPJhXmtI97sKRIahfqYaGJxjAMhaNvTfjrO9SyUKxE2NS3VTHiLHxHwfo6UIzz7rzdYceJjj4MLkagXxLnO2Lw6NjnEKs75ndS8v3wf+V36K5fpe+mXqhAExU1D7amCfOIKVai33XT9/6f4+ZlY5FTNRLxMs9AisPh7cfBNckPUvk5aBg2TE56S2AzfW/sdnvM1T+LORCE8wgJaem6hzjEjK7xtRJTSdK4zEl6LiwN/kNdkg2eiYQLs5j+G0M2wNE2NIXsG84qHdM6rTe1FrTETqQVWfBi0nCJo03kXYxO0Wq83tcKIO75adUP56641Mws1pgn/m9tAF/liDG7yRn1tPeu206YiWzUKiRN6n2/g8RJhOHrH/BCZ2Ym02uaDwfpwXRPfjAz8rvZ1NiGRN5xR507Ni8lxw2rOT+HzQiLt2grnX7ZHVCyXS6J+4CK8oIlLWH5GGiyjwsa/XHeV/M3tfnn8AawFExNTG+oRs+BIdXvJRuxs248dzt6Z+206mYXTN1DWUG1KvDlMa14bmhO3nNdLN/gecvo/H8Qsa38jbyV5UnYzaWYogvaF0CAHCFAF4acPWAvKiVepJ34xOnQ0mJZPddNRwdtFVX/2F/gcg4PtwhRcbd+OX9LaXXzLfndFTuq8Q=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7nvw7JhhGwFUkCqbvesIOHjgmLaKmnVLZtLClgjTuCqicU+unyF0oyn13YiNKuCqKYwdSxy6yGgDE9cX/NNjQDuPen6RJS3Yqav59yBBDArEr4pb0+UhlNirsmnnni+/YDlFHE5GtugvXa5f7DzpjJjswS52FzwqsTgG9uq+a7SalrUnRcEsX46Q8keST0EmWnukP33RizYGuuPWzcqj6b5vbpMHEhNOzHCUw96cZSSzJ3fodsizaVapr/pJ1GmHefsql+8QMsXj7JZ7pligp8oTaPFhpt4VkWYRys3wmuFfhVSisAWLB8T4JC4kIIf5idpK6OVa8fmQ+h7T1LPLMyrn5GLy8YFamqC3fq/kwS1cp+rZVgkd/6+XxyymeLjE6ATIOVuQE+N7SBG0ZIFxq57EaAc3+W8jKDPO0cMFFoW9rHsZIH8usoSY752Xv1D+3rqb54FUeBLwCgM9ptDll+JZzREvAI0b+aVeN3EOwv4Yt3NEmnGjfULITeVVmNlFMnsW1WcbTX3w57F8rWVKZTyvMfEeIerM86q6WRD9zma9pV1y8aybcdStf4cgOHFWMEf4+vAiHA5ND9JHLnfqFeswyTdCJD/HV+lGsO5XPkKKZGZxikao9JEfCIyo4pBGm3IjsOdOvXd56urZjD5gwYzS0vzmKRDmYSt+Xn20CJ56CFUOO9yTd10E3DsqyfTH+XJ7goWVHLVDjz3/W4yc/dHGKRhJBhRd1yHZXB6K8Wn/FxpDtJB+NObdM8j+k3x5/McFt4FcxXtLgZxVTbavDJZQHkxUnZ2HvAL5EmW9NY/0yhh2mddQ3lTnwiK2EsDIwdmqNEh+tTryafvL1grH4HNO4uKw606WcfKf+pibzFyrTuE+TgOfyAbJuvCmTW7nGx71fY/JsLTE3ckzr4sCw3hnqt6yC97tBsh8PX6iboA1pfUDRdzGN1zCEYBFq+IT5cy1zQndkr64vNhTtpEopk+D+5wYGOjcLjHiWjMZZzlsE0R8SqmvXsTpbqdAMnXxZUkX8+ik3sJTdOVKJmE+0mpJlXGraHw9tgZKVoh9TbjDKowDQz7FiKkIIO6VxETQ86K0zacBOtXgQrwVwvWaIi7DxqsxyhNzT/up2yHJ4YcVNAltp3UTh0S7xyTEAnu2930hsacrGviDiN3s5h0AaG/rWog3xjQjzdExTlXKCBK34tB1nQ0Pql1zUUpKOmJc3u2Yh4fw64Jj3qihWTrCs8OFn8bRWDUIo6WIpLV6/Z4MqEULpK34hQkYHAO0aCbqczOCNW8E2hBCB0VZhDUUg/5HabfIfNE/2GQo46UQG43uYMaqsSjJVW0k+jtrq4SKpnxHEqQ7yJJzjTkLpGuptBSKpRAT5nY2XbEsg27fAXeHU2mn4AHc4Xda0bUhlI6gx2MYq6T7/K/tq497lTwFmiOZiR1EBbZZ/KZzuiBr1R5czc4Zvyznm2c0WNYM7W0zXXy6vnnscGwEWA1l9AyULdOV/JmYGel++5zTIQogIp2Qr7AzsQ0TEiBkv5ng8Nuh5EQwArxpnyIjwDh16a2vR7hKWjdypOU5VwsPQhgSYs/YpTyk0k7EAuILKbYez2+k5Eo/FWzfvYT8YXWiDAAV6YvM3GcBwQWln/pUeORPiGDxUOfqsoP+qHr6LCigF6E/o7BU3Q5vD7FZEWaB03TBNFrtoYu9fMpROBM6czfoPczzvmv9pXgb/7aLd/OQdTE29P/gCUWG37o7FVz8acNsGQe7tOeqeNXpvRTXjGlFJJft9+clOyPYyNeSsP/cMY/m4p8jdgQUULERtSigH/EYUBwaBOy1Ax0dX62goUGtbJCy0HkQUhiLf2RN9avepMMvVbakGwcSHJBgEP2gnE3M8O2HKgl5oJy3HthNPs5GlzwTvFgXaUthLQz6IUde5YKF0XKnTK3vmh8mc3h9GuAFh1/pG1UQ3dmlx/a7P98gEgVdG+IFOEPPZjNScByLBFPCf2IzqqnPbh5xRZHghWPWXxJAKKS/abw904nS3/4h0VaoiRiflUKTVPBSTQEJGMXdV5s21Rxz8NeKPDdaTSZHacycZfH0bfp7OOwsAGN2Y2PtP06mRnf/QUu9VPgPo1f92OEmICGjnJY/q/NVqTS/H0DVC4Dr9t+yC1qewacmGgx/7WlDNXTp284kWCB6vzxqqCbXmMHoPHI1oIkQiILIRQknTW/yK4mbdkQK02dvntV7JUeXmzk9h4IH4s8ws6GkrEwZodSxU5n4Srgrad8IF69pSW+n8pQoejqgSCz1SKfsNzJDUvCUhpoiSQetBhXDURA7C6t5DRPZ2oEA4+gNCoVWZKL1Vr12IH7RUQ4h2DTv6ZAa4MtWSW7jANCWzGsXrsfLScGnq01rfPnDz6mkeZnNbORp74bX8mVn8px1mjdVAtlnDizJX/qHFuBB+lsvCjxMl15skl7B+IeovFCIFyTE/nwDKOSWPyTpkppVofVJKXWw908e5L//nxG1jizHju6NvgMT2WNgzCuzxmY8mtH7T5T9pBU62DohfuaRMsZsOEtPPYppHseNxuITIZsuPouUUwiuEsVVc3okO/BD52MsMKPmyziXboL9wTT5VD62wiyYRjLuICzw/G14tLQkcBU2dkLT/8di6jCQGI8RRdZlR+AHSSObwMB+65AdKbQ6BJCVb7Em4hVwhiflAd95hhQBlExxxhu4c4nXII9DhkaBFsr7AJOhzUEp0ty9Tn8WRkZtW9t+yxfAeBhGSwUKQ9sU5AGqeP7275B4x4Yl3XDH3KER3oyDJcjD/JRU/2Rb5BjflesABsnnFs6Tiq4Dc04tKzWQ+9iGH3XyE5/DplKDotZmYcIsVDVHD9tokZiC4djzY8Dfjw5il24jHemh5nzLLBlXDwPhw5agvdQRgwPB0Olx4lsbQ4c7ciSK7xBBFJ+JyiDEODjFwx2bC71MdE+/SdVL/kap1i0hfmF2f5y7sOpoF4QFqHI9WtKxhlcDy6WfxWKY3g2wMjcpTNHYoMGim6xgihbCgeoX5W1cZqQ/m1rQf2iMxD9myt79CjhtSsijZOVcGwlUeUggwmU549tcK4DDwFtuJYjq5pe6BqdUA45XjxP9Toi5Hgo6swUnWQnjk3k6/fjm9Q24ykBH8cUQhduIZMJ2P3+63MwDjeNdibB3n0G1r1ZYAGU6/2dABVaqZBqQM82eRugXsIK0gSWiDAE60es+RUY4mtr08ulMUlKzq+AGx2mJsM0J4CStBeiRSbtEp+cgFwOjgWAh45iYnXKIDSznDzWixtsEW0pds+Z4jKMJJCUILkLfCdIaetRCMrXABqyVNAAv50F9c+dKsHf206kIjvVQpb+WgPzYFeGPCVc8G2sHQ1Cx5trrlG4tKjPqONaxheo53f9JEbml1ure/wPME8ASJBznw3GTWUddI8tSn5AXHuLvhMKKJ+BdNb2n/1DeZzDwHMe/UtAi5GDQKSMM+rX2fwWAuJIaw/61GaVAQR8Es0U+q2+ycqN04ArMXcTNUcst0q3bqbnppmPd7rxqs3vU5blVn8vNYWMMIEjGLHew1/CURey7yVqQdl3ZeRbjkN/oT2C778ZeWLqwh8FJplcqFV2cFuO84CrxqO6wrAvONzTciN1rj9GkMAs2Z0hg1w3vs02T7Zm2g6zFtmSE4abihlD6NTdzaEe5HXx0vU80VF1k14153Rv53LYmllG3+H9Ia61YY9wr9qEbD0HjZYM8MYn8yijRnS2FHBNVFLte57wfNMfAIucNJ0IH+no+lwQPD/KYnG0YCG3WcezcijlUS8IL+Br9GYsxGpKdXJaDxbFYIb4Xkg5dudEalQpx61ZBsgUp8GV7T2gkIhhzizssmdQBVPPw7z6LX8fRu9jtbV6yCDYa0WWK2EnwC6RP8eld9kddeX2TLxUJS9HD9CvZh58p/mUp2Pl/zJV6eZ9nL6OYKOS0FvNefM3rb2dc2FQN3ZVmsvxfJKT3QqX7uaNvCR1SioNHzBebV9YMzZgPiY9pYbd4xlyBXZlmerMM3Zsslr/Huhyrw7ZI7eOCVWTRuBpr35tp5K1fv+oSxoFfxJCfdnBTZHpk0hC3qvi5egqlXf2my2iWL0fop24NXYwO7rtXEDegXmhiaBe749ynerVxIpJ1fC5jvtYWP2zvwM8pAvAevgBUAEoFm9aOx7FON+dBwVApgKxFuTiVJdk3i5wptjktQ1tRCAIT8CkBxzeOSA4y8nAkgPnGXio6MF2VaMme1Rark9lmIOIoPmujXKGp/ofFDwV+0xCUKSsXx3+gRtsm6FBA/4yvwjDO1E6fE+A9AeUG3kvZyw0thczTzDIm9JrwaI/+WZXK/MxqH4imnokQYlARkbCY0Y7/yLYd6ZIKiPFAVXNfO9U3QFNEa9pl18zHQrOdBr/9K7f+YEwAACM1QKgH2k9WgDJepxtfhj5tTT5iEgOGb8x49SmaaLuCDUdlDNiI2VeYQ0V93/T6efCrQnofr9zapuvg2mZwOUINZgEC30ftSZRdyoWpqzdC45TxFxxdAQiVWLXZE1gVrjWof6DGFXGQhsMFh7LEHjWttDw3YBV86dkZNuzrW5KqnIp7iHmbOhzZ+yYNP5u1wFRNj+o5joCGM++L/lylwFfZGc15q8jAV1NNsy2Y8HBtoyNHisXARmfLNORDjRs1mSpDQrByekWiXy0dv/T3YEDDqGnBuKfBwrFmcyfGfhNztKFYmjlw/qQREf0AbXhi4qn+zxtaxUeYeJp4yoWW59gSG2DuaMH+0FxENo34VrT14WaeVaeEtWRbY0Lx4+rPSBMQH035inTAOx8meBbakPmkKhqxRmhe3nFNxSOUmvLmd96AAZdg8EEdMpTz1M0KwbRy6rIen4UFX1VN7EGIK6tD3BgNMles7BW+X9CH/XxODHpvCGhXWafNic1Rlnw3xm4a+ykfpU5Gwq2QwyWFsVtyk0RueEgeErQCmrZBW6WYqVfSu9b4DDq2/hDcHkcXs+G+2nN1AmkOsec52M32l6Dm6Pkm6QMgWRyUDi0q9ggIpSZo2SRNEf8FWZ2Rb0kB6P68um5OP3ZPPFzctg3VX+kRO8nFloIe7fQnVjUue2rHRZD27QEXOC2fgEl3y+JhE/XxrCuRxLQPtPt1/lVGfb9r1G8zj1nFNjuWB4Upk0mgQ4mal0SJiNuv/WHZrU/hbbRopY5eV0PyHBlZwoBzyRGn7XbuFDJYhlCKThCkxh1lVGa3JSODJXYzt+cLjrgUTltuiX2sN938azqJkUX5wMU6jEML6SdHS91zZ/RItZCWujwhUpnoWJ/0d4S9Lwevl3bPaw716ke+/XNSPL7PxSJXCG4xjvJy/V1XUUjgTdv/nP9awTjmhD0O/Rpo4OLhXsmCdspVo3OHyavhzUTfh+iH2OfA9YYBH+7mvajP6LF8n+oT0gPUXJT1eRJxSjt/TXLdqdPUT/k7XTpi+1A+N7hvx6NU0wbhQYYL8ueIV5xzLqs4D4TOOTnuA4H7Rz7/u8HVuxDvIqdCMtvHDSExGFcl4vyfHnU8hl0NIEqImKqoBet8khxX7PNsta/GQAZputnsr9OcnW9xkClAAmU5TXjD0VbtDf4q/T8EB2z1TL2fZ0Nxq2alHChVALM6smWaSKTrCRZFjw/XrMU5G3eDzEwImEja08LIKH2h3A7SQEH/Qf+SyJEh9nCd36ANqFWbo+J7+uN7x9xH5+63f+YakPCMslJrsSqysBubTKRJ7uVpVqdxJtjD2GKsziNR/yhB+mlEVRpHeSeUMI6ikKHfx9y7yBGMzrLdNx/tnhnsusblAY+H4z1fT40vVvsMz5j66WDmb+Ff6sGaeYmVkQjShMB+02CKAmpqjfXBPjJ2/Zmn0MP5+xuWwKyVGZwV9hSlDvjXO3m/v0V/1cMPI5JgFhGB7Sa6XI9FHspZmA6HTVlJeb2y9N/bxAVd8b2ZBsmjnB5AgRfOvKbNM8qXDHZJWr4OLdxk5wOyLDJEnebhup+sg+AYQRQmFPxSHSxTqaeDrs9GlVQHw5HHftytbhVD6FZZOrjPLWrzLSmYUsXtmx1URmOYPga3zVSaRby+75pNH8j5hMXlArWU7A3oWysQuJx8Ykp71KQOhkfk7ZlAN4W9FpR3jLudUWc+JpADGZo2Rg69cjJWfpDP1braae11smi2VqY+f7mfVIBNKdJb8SbdSc2tq7RN5ROYSXS4G8s1Bw6s2O4SswYw/fWt5Nic9QncrN7zxi7rP5m6ut7ERGjSMBqb7c7KouEUSk9hhxx7K09hFskDkdLE1vxBZP1+PSy78m3Gy7SvBuPpqAN9kFWlmqhn0wOW2Kc59wY2WOw71PQxvlNV/3FWPZmYebdLRutTzvHBLw+ziovlRoSpPDLvSHn06O2H/7e0LrrLMF6SGVWMvncjLPGCu/iJHTqAqxapCfJMsT8bpdlRIxYfVaWgfChrmxvc3cJpb8DElzK+Znifwf4P9Kw/1qrV5t4RMGI1V0axkKCjXX3ndcpJ8vIyALfAOs+cyCAJJHlug15xMADhrZETU9M+nqZrJD8f+aGjgDzou60SgLGA/p+DD44twisRzKZ5VE4Mri+3J1BhBeL+otsO4/uyeipcW+bemlmm1HYF/ZFwyF6UmRdAgmgpgKay2cDQ/Tz5kUt+OOGOAA3Ii+MNmeMg4IPJey5OjwGToYS6jFOs/KZhzMWeYz7O+bxvSdohaaNbPmN4hhQoE2pLJ2+GX/J73HCwNYl8hpfA7B5t5DXPDxC7Jr795/gyhuEzMtKG//omAZdIFOjC7V19sbPeEfwktP6SCT5cC05zgiQGOB5tkYiJ5yj+0Zkf0dVURXlh7BPTbDMq6Ow6LBHkSR9FaEYRjFpCB+tK+to4/DPcDx+ZoX2kqQWc4CUCB576owfViy5pCS3VRQ67ULckXLhwrCF2tbmgxnO+7gxPuvHXWrS4WYy77rHgztgspDuVcYNvvQ+0rTJfspKP8kjxeT5zaEcGVGfuvOCS4UwrBUfhrkqLxhud82vJSUlF9PgjahaqTCvDh53QVbyFsKqqIjzxTvSDMDDqYw/42FWH8lPnG7DLgQj0jovoUYJCOtZkq3rdmB6CURc2IoWiHdRduXAMTpBLoQZvU3mDB3Znv7IEW+9ZuGeH3M4qJgMYjhI8u8s6QW70QeT9T8AS96rzY7XZeujQPAMZduwGZiYddwPRZQAXKHx5KK59tr7CBg37iIhI7ud74H0q5rx+Tzm+ey5uGaTxa+OHygN10QXkli/Aup0vhuzc836uodPFzB/VmDLvi17LHoV1Rr/cfLo4SkvCxQXjEoLEOzQX9GT8w8mdh6ijDPfrDX2ixtAE+19CDYJsKiVV+UbVvVjosBUcklPniwB5Kmofw7JxU3d9fKuj4WTknksciBt7pVJ5ErjqcX/S6oxkWoEuYtLmQE73dJen+tp3tGA8oNNGbpIWh2/uP7JJq5NM0mVHOAcGkIM87uamNOseJ4AbyhODs9BGi2ODYg+ImxnJoaI2J1xihyQr7tXHpHcw8D9RtjBaIL2Sai4abemP/mpso1/GI9ix6Qhai/t3EbZmiZRYkLNKCF5E9DKA5x1x2/zXBMkQ+RpbiFNhm5sOVIaWxmoxw69HGZLmx/3tq2eozfCetmBc3d5FSlA1m7uo7PcIohCmyllLRSjQflCkeRgGORkfdLoJcaE2Kiu961M9FX6d0jNANuGph6ktMycrsGh0NiJhl2RMXlCpEmCOJhMBczVkf5wnDEclWgOdKJtetykjSX3sBzbSOu262X/TklzSIxRXFtbd5ENClGeo3C98XwdtyO7k2p0ujaF49OrX1OPPFxRqBkZmXxMVREcLB/esmch1zPCPLaVq/+HPF+pzCMueACpIBUFqU7zvYm3NTs3lKE/OFtb4uXgNsrfLpKrgJuktDpciIln0VGLOY27iNJec6nnj3JV3buApX50OimCQq4xZTO1O31vOVA/iM8STlCiTPwN7YLcklIo5e5MZ5xkAALaMXAtyITXoc5cJkS5QtMNGXMxHYzFk/zGKMm4GQ+5fjfvTj1om+oXo2qYtRYig1KYj7MjL1gK5yTo9l1oWlUhLFwLNRPOlrseLBpIWpYLcyLOudYH6cfiJwI0tKjCkZ+Chx3zbZ8C4A+/7wfWGnRmc99CUfeEo2CgKY3iDNVSzlc7B7U7pBJvKEz7Zb+4rgOh03DHUcFA2QYz3Gbjl2FopouEjWMPU9svcP+SV7m1wNFmip55MMuonjl93b6KxGSKVUHenF5J7XNNURZ4I5diZ1XsNq9VnHtoLZ08EXL7nbJSXE5BriVnrczhqU39QS01RIF7l6XD0b+COrMX9noHpUvCJTy/wLb33kD+16HAtj12hebDDk47OSyJSaqIqtInWfQLoMmesdT7/0avpEOcphJ0QifkHXzclN76C139AWP2kFbzTJx9X5VXfXmXJwgnSptiF4JixmcDuE1yxWukEqBtFE4UljGSdWtLHOj+qLnfEfYFvreKIYHzk9iu0rQCYsJnxIEvlAZltFQJdzJZapz2hUfG0T27rCW44/I0y8MCO3qJBAPHFwtY9eRjKCzsZrsYIk0IxAFVyM2AmjyMEVvC1ytNACV4L8s6QbO/sPVamifO/7weOhOYMdPBvVjEPfB5UCeUL91PpthyCojaTHWCrhiD3TZaY+z/GTHNh2Q3h9+YYeghNOOGQgOttsNicHiudmeeprtgnBaSezmYghW4aaqWTIo/28iRRjPEHzp21FnZsXBhLMtWAHE9QOJdXEStVqRr3XkMJAbnxje4i29MrhRMDff2CMZlJmAzsqzWJCkZylRPMM4cqTo0UwvIjK/L5/opBx9UVStMj6p2tX+RCGG81G2EXqxm1Czkrp2tcCs80VMrCyLbrViFAHIULW5cX3RReWOd8spSBe/OsYtKCKuQyATFsx3YPYHcqfqKnrmmKWFMB3HIjmp8w889J2yf+k/GlQ+qF3kcBxtxnH6yGL8buKPCDq1YkB9JgRpXJT3Ua9RD8tqQZu5buxU44hgVZke/R4VxUfb7ichJU5OADAbZx/YqtXneW4B9iYevuFSxcuz+NnTAwGd01RsxsC4Nh6UmGzOB+utnkfOuY9R+sOATURuqpN9Hvz1n13fyV6Jnfgd1mt08zk7VWnwxQj/12mI+O2HwxEC9WkGi53wdn7CtpCvykpD7a2rXQx69piFRWN42kUOLhLKcWksDcrQTe6WTJobX+XSRhLnJfr28TdFOGPAHJ/wK9y0mGaLjTHQhKFR6beaZP9sqqTIOgnkoRT3q2hyav9SprsFmf0RUNEloywLf0d+L4MDQ/zV+g4s2CnOE6mTorKCi8OXP+pdUel9KBBMhJd0YGrG+WmrCZSQSSmqbacs+8k3wAYYkGAMfVlAGOxSB17X1ukcjEAV5/mLt+zk3SwFh/VH84Psi3DaFJHYTGQtDcZPofIwu+WWsQnh1sLsIMqrwgHrGYB64GtrHOpjIXdGInFh4amCxWvnlzArE+asIrG1W+xvS1SeHyYTFeBRZ0EGnlkAE+7VsLnPzjna7fo2pyuY+F5gSPnhAYfOesJp/3mbwhk2qwwYWgmGKCU0+ZeK8mMeKaCQM7R0FaEco89Rdmx9iohBy7FH+QinwBi4gwXH6riuFt/7PTbwCVASgaZ2+RvJ2Eh0pqrGS0NSmTJB7eHD7sXx16emuzSXFY6rhJJvhWyjbaJJDqWTXmW8YK6zTfyYjmN9cPy5hLFlAQ5F1t/yXVHtpiFJxfQH1rY5A3InV/sAvz6AX76yqHD5c70vPLzXOnQaRpvgRjEtXbER1b1wRIoMfx9P9zvKkbxnwjLBP4lHpqqhqnTpy4vtErOctFgKP3SNGd36qaAM78uuyG8Rfr6Q3GzsywxfMz+paxxXFYq+SnBA2mZwkTVaMiPheEwY8PRQuHUHF2rHhHtxPZ/f1km1V+E043JIkDbZ1Smqs11+RjunTP61UFdXQy/X9ccSc60XpLnP6H1G65XehBXrQvGwMwzQrru8n090dDUFSw6xA4myaS+ER/UxLtevPdMp6pJN+LzxvuPrk+lWNVyEvLZBY66OknYlbU/maCNm2zlOqQgfQFVABYQ2ckucwReiQWz2JIcyDLW5undq+y/rl6q8yTF8vK0zoLcPKD16Kg83e83l7P8WnSLNj9J2Sc6s7gUbg08OYJiZ0qkKPCHJVb8B6ImuXkiFT2VRDqtDFoMx6zdJFQd6OpbAextX3Eb9hkbiH5CtXYWUtNwgMAi069v5VUFFAG711OPSF+Ycsn6vN+r8gdLLpJ5Uqm/M+cdnMcNWsA6eUcRts0ww8MKBtAN9vCElCHOm8sG7a16xRFxE4313qcyGQMU9rQQ/DWkX6ov5nkvbQwmrQBBfqTl5fElu3gAHPePX+tTnCHABltjySTzm6U8s+UmlSM/mkaeirhAQQ6QfrMG+QJ523NrmQxUxoicHXG/SMwTSpqTQaFAp8zw/CXIux2/MF1DklpRD1RNnDTNkzpkH5JC1VCI6YKALYNjv7CmhANam58tFi2bP/WUEJSco7tn+5m56xOnzHK10Me8jcn8gLg+lh/NBNQ+nIYL/wTyqTWWlrV0OIRBUvcOWXMu+LL0WmzdaoWmPX0iYuwgBwRb2ohSEeUQxG0jT5hjyNMQr9I1DAmQ57gYSKcsXfpsvMMYzugjxSN1vBaJlZDUlS3M4dHjrIr5aBGVhUFpxhPU4qvWBXvbpoZK3tTieHpv0Cp3ZIA26Iut0pA+594aeCdXOdysB2cmKMlYA1syFykwKfIYsNZ2LLyrm3HNeAu9m4KrPPuh5L/0pS9UNlOsmIGiRk6Hg6PjJewc1hcpey6w5GAE7eOWGaLzLyyA/MGXZYME+O1FLSF8UXs2Q+ZhYKwXZOc4nB6wJBbMqRKQTEYrcx7GW9vsedAs7oAjkuIi3rOeI4Jm24YoWxJjxDtS0W1rhWirCGm3CLpcAj3G4/hEYaPwqGj6lkqe82tEM5tUFxKJAL+N84FiK6JlIvpkNfgiVick8nhgNBYlqbzkBkyhmSrqUBrD/VomKjebcD4MkYUrCYj6HfCFIlDlwojR22Amq1N1PoflAboGmxI6mz2juCFTsmBEKNS9EdBN/GIXJm8na1aOCVCIjms1oaN4YkNGYC6HKyppC9BgyA/iPBO68nf+KQU+FCA2P4WVLDJmpl9YUCCL0uBGr1ZH2IsvQnu+89I3J/VNNeVGcP5pWv6E59seXBH5qJqQnlxJfrhbSi43uqeldDxyPgQun/5QzFQix1AiJ46eRXWM5bZ6aoeYZC+E/e/5gVAGpn61CcBuJnpo1Z2+Vzm9PPEaJwlPkBm/5jrJ5nnpZKrTbvfPVYd2+N+Bpdxy02RRjMeemmcfqPcSWdLGOLBet7uyhej2OcNuSX0kbEcQaZUGie/v6FXRfbWIDKm4wTY5ID1yKaMxYr/E3tR+B1cg/Yu26BMm7lKCoWsrRa7yqQW1+RotY+V1eO3lC93rF436xppa7SLO6LIpe72naPY5bmRAm41eSZLLto6OiT3pl8SUeVnuP2BZN8//Q3FAtxXK70Y1ZJJAq75Lq2XPvbDqtBlgqrfVs5h1RoLZaZh9ZtKD+TDJvAnsBt+ocrbV6CBH1qGuTCYpk1eQNL5iYRfx7tJ8Q0Z375BmcqTqSVow1XBUofE8xAUgl1VI0EGNtcb07RqeGT5xjXYn3ln1sYfcbokP2BUbipJ+B7crZb3Uy4/Jaum86Xy5GqlAsh+Lq9h8FgvTee5ujk112kmSbRq/vx1rMj9UyH2A6aODa4fNN+D2Lqnn6snoyKK25COqYjAnmrvuQCaSyXLZGSMZglxOsX8IWYdKbhJJSO7MuPVOU9mIeozZpMkmWDr/ER8GPPyaHSOvMZux6A5opkdEU1X5Y3GzPtsG7HcZWHPHLBXwtwH+zWUBruBHgEsI534JO/eo5gTlx3/n0Qwmfb20mOpo52Ssw56mDNhK6mTR6aWXg/RjrTgom4cXbkFWrx1ffUMTm3373H2Vl5hELvUKg/RawLuuYJO/GgS7kmtte7vkeutbgh7q0P8LkIqWapEp5i72RV34Hy+ZT0vPT/slvveiTF6L7AD6lo5/IwDw+ArkcTlZQOdDeg5OEKPcwtW7LKvcVHUnE20jFra7UDAJxRulzyvM+UYAZmJ0TDr/S5B1hzSJ04vH3M36+IuT4SCGXKgtyVLjXJdSznc3E8NPMjExOksynV91CjGgiNsUDMX3M5ukxlo8ZwU+JqZ6UZrZLwMW5BQqQU+fgfHhNtmVcFu20vP6sx9N5Gw0CliXlvoUsL/M5GzTzQvJtANgbVlNyy0PAH0bC0wFf9Y00rLZKghpql+k0MDPapXz/yBEaNoH/rvGXKQVtWxIPtzfmtWJeVqxtrvfsr92mSXxpRNsG6rl4pQKAcAjnD0Nh/0eyb07/DdqXZ6f8ljU0WQkEVZfCQ5CXSz3NDMH5QQdKgxQftyOuqmNVBxN81xXJ70oW/c0OM50WNDhV1uCPeH8520EZrNHbbiOYEv0Wz13YhA09ihaDzVd3J7foZvBWkYhgN9TzsbOWsGf9NB666tyKxgw7IqpILCgj16JmuJoL6mOvtfNCe85b9jO+CmB878+pStlR8Jof4InQnrBSfgMbFjZSCEHZa5xbzn0/vMH8y90jBrmSTNHoM5xN0qQBLbJ/f5GAKFWMcJgGbULGDXQ/VNUTwOXMgr3N0cUcVwhuPtbGRNey95JZlB1OetqCvExrcKUGv5g1qTzUz+WakedSQpISXx/mb7+5F3vNa/MLW2/xGd+1y84bAjkQKpLbC//NZDHlraGPeNh6lqtSN0staZ/5FKhwqpk0WpWNJxIPf0N1s6jrtxlO9/E6glBZZwr1pgExT88VjJmvUIpNbjdkoOpXQXvSO9LAYJHrIXIPOk6Kbewblsrtn1MXfYXLeROZpAwdAetObcGrrfoaVdIK1pEsAK+eCE5IEZ6I4LbPl4u91GVk5zyj5Bs6hF7o5Uwlg/RPZ6lRBsRQV54+YPBLYtNXd+Pd4qG3Jc6nP1oyngzprM8B5Zto1vuWfstDQ2624MgUkuDvKvWEvOgyhSfjsyG2tYC/lzZbgGW6BBDdnn64QgYBM/qVteuM9sdY19hcYz/VaeNA2sY9j6tfrczTBzZsrhWnvxaMWoHSsgZgQsUk5aolYGdq0/ZC0B01zNITvw9o5bp50bXL70OFySV6kFvB8K6/oH0MITg4Aae/4hJfjHYHeMiyvwFaSNrg8LWWUaFZHZI2lMaDB3Is0ChQ/yHZ4BbU9NzO/EIhM5Gb3DXQGJP+P67A3krViAYdVFqHsmy4yDTx/lSv8WwyRy8UdsCpl1XZ9l90CCHsFZAhQuQsLvwy4A3ewU+bRRfOffw893tKmse8bx5/VQqxqrDBz3FJ7JAAhXlLTMM7qMd8o3A6GV6ft58wz02dwZi7eiy04D0DPEYPUjT5Mzj90A/lYQp1xQLHO70F0UhlIXFfCG+BAwg03yZ5kUM2aSiKSvE84sS/u0MwLPZcmv+b/TSmBm0slT6FZqFvAdrCXxBiXBd5AdTrV+mPBdflkip4+ON59qgQIaU4OmtspSVJLhxl8pgCw48OVarFl19r5ouqJVGXd05EI/LuTDOj5awFMRf6YME5ocqXIRu1EYwWKLq0PjoVOxi73JN/741jdo+BllhW1nlf0CzIHfS+cOxjHPEBb1H1bSnJUK5vSNvSgh0xlYISQjRQ5kXjyzrfmMTDOBJReL2QVAkJ2PX62dWjPYERnJn9kJpUl6L+P9vG+qBnhdvjlv5entUSJTFbrbKcuiH8CgEnc1aom54TzcMTn9WlzvXRIv4lkVOgu1vzZuunGyNaNzJZgMq5dT5DeLee30Mw7EQpIiX5lX8oXJhSo+5iBz5a2ENBF1LTVvowo/bZoSL1pTA+Yoe55Pu+pxRRtOxAvKynSsBtxhYY80LPdiCZDFsyGcY6rxgOAHCW9nU1hLp8w0uJxi++pX2T1Y76jY8p6CzhQk61gl2PiDUT2EJILLptIKVV/LAywZbffrOJh1XYSk4EGnNlQnj2Yt5x44Y8H5ZvDWSco+d+dwt22Pfs1bS6H3pUJT9I1XIgmZJxPyZhpm9LzWw73yxxxrsDBI653WWfc8+wxElHtiQ4Jd1DBlDKTydm3KePnqS4QRPHs5wuZW1GU7ho1xn7XEt5TFyyDG5E2Izw3MCiu/dfnzHM49oNPhBe+DnO/4Iq2FhFtvTt7QK2hk35ddvvBTdhTsNZmaFWqH2hdlf7unpsAHr72If5Pq9+AtSZhQaJystpnIecX0tyT6PsH5D1G/SEy8KSFrnb9dsOZh5fCQqlk+yyWlzKMfeJlUyPKD/17OvEaY3xtGfSQVyAtUkWOp8FI7uzEGsVTwyAPxhMvJTU9mI2A/3uNpbRi8me18a1v4m11pMvsanKb6b4/vVLaf7ASzZKX1g1I62Pny6t1r+P/BpsSsJ6y4kjzZIWJ+CfbrzimeDZdj8TuaraQidFqqNoNUhtPmdYTT5fAcXpZfq7NRuM+XGEGIMhW4i8rQ5KO4jfgnoZDkD19VWYony09aMvJ8E00lrdSrR2WmfI1oisPA1ERl90iGHrpOweKWw6kyBfpxbm7qnUNf/Bd7CMrMr0f5qKDNiRi501zSuzS6D1fte9ojeBxkhyoIGe9yzoSlQcad1lpJ6cfw+VTlkq1F5f2RPrbyLCXBtYg46zvJP1AkveViUseXovyxpAkLOKnijTob4b+R4fkjGx81SDggEmRE3nxaK6EvLfOJRM1QtT9oyIrosDijWRHMkl91XcSHUgiaQTx50++LhDlCTGnGQilkp7dqphAlWyX/3jnkVRm9oOz9M60ow1hHZ27fwGJuCEDvJGihNfkv6GAPRYUkhRel6HMz8sVEK5Fme/LXfWgmLkhRf7NtXQ25CJVVrCpW4neBjLifEX+E6yDtSN2nO9ApU+InqGjGDc09RJREvv8zr0L8XP6IrQpPYMvi6b/5m84KwWrdiPqwTuePbau/1rIpiPY+e80kV2XRKNWue27GxC+bjQCVU5oyhVNfrRGRNSkeyPGDYhOqht6pZEmKoqaLphw7COKzPOv8heQ5eBQg0tMOMxsVKG5HypMMAc7G+J3dsTMty7db/DW52ddVBN7MTArhJh3TOTFu87qy4jWJKU6Sgjno7hV8Z//ARWEYquVg8Z1c9Z3crn2cONxkm6nuFC5MEr4vyJIRk5ve0bIQ8WgbxP1AD0heRuvo4aXGpwfQ3ceV6CGWHjmOezDjBLDyFewZ0AXD3fsu9hPZfXFaFKaR4LIKQAXq1Zm9MzFTxZoIQK6dGi0/PGHWfRmMzGk7atIxJxDy6gOA7eOHJ27gVuq6jsebEPj9zhTRZrppM5ByD2cqYCAEFN+yte3ySURSphALyHKbcV03/MLj4gZqQlexZaPAtTEKdXSeTQ9iUJv5w6/iq0iJYPpVWxd8FU6ivrFA6sKarc65U9fR+nS2wQSaVQ3pC659utO4nVk5LdsyYYoPwPDznPdGhMOBsVUd50y4jkCLUckkUGN7A1mgujzcNV0Pkh2WvfKpR2E4CzZqfRHhrTaV3EC9d7Z5iSxUTTOcxuLYPXTPLGNADEOuzycEFvsCSZCoZPpkCfSiOksZfdFNaN5c6VSMkfRwlg5IBPrL4oUq17AER9TtDgseRxhBKBvFR91o09NHaRICcg/PJ09mF/d2D62NIqviMqiyMZ5/U+gyUPXPhghY8j8d36Pz2nKYwh2ldMzC9pAsMWKuGsd91i8pHLQtTTtlmOZk2qy/p0bRIQ+SYhHB5pQoQXmcfYuyJouEsviYbR6o2H/NwlmydwvPTk3YDX+uD60i44ggyQ5/er2H+fs1Jgsb7o9iwI0WYPgxMowqhWPNstLHqLXRIuIqSvoxFmJsEGztQg+aChJ+kqN0b2FGWpDD+Ui44nNzVI6oNigLQOc4v0TZjABOCx4u3FogWySpFSjJWGblPB9KhJhIJtYkE5B8eVbwMkEBlnF+0q1MFtRVDrNC+QWjAtMfGc9gkdBel917hFVxY1KsRoUJO6H0xXceVuZKCdYoo4q1EWMDBbFLaFmR/dkrPGJ1Ob5qQoiqCGX+EFMl9GrdaKcgyxAOSO/lInD86+QPN6S+eMuik78ekk4Voch7FtvJy+Pd/qF3sGFqVR3dSoGOswfodCosodL+n0Q6qiiZ7+YQY7P7x1vbhf4tmaTrZ4nHoo5rm5bW1nFna3mCfjZaHC7OrpwKlHCRkEjxjgy9WPNLGxemEMaPGZMfEklkwaaIxL23I56tI+GLqjqa9e/vXZieXWErhbSunqJIvybtwVnyA0qBqyNh6+XXXBYxpdeqwlWSVYg11Jfplmrl+iP968rOynUe5K6JGs84NPxAb0LyekXwZFJzrctgjR8B8shd+jasrPdjW3NuKaBuvLFLOyVh3THB3goMTCsgcqq60r8e7lXDoeWE8F7iYE56QjKaSZelGk+BWUVYWC9fHw7nV9F3vnWqtdgVN3t9Te+OBo82E3tWJBVxnWqWXHTQP9xAJyzQCen/EjkK90Aky74JZ5ZucKdK05kMjw0EIs6MW6xcoTaGS/CZDNTlIKYCJkQl4hmrwy5vOvZ34biTHAulxxy2bukUuSysDITfOLJ8qx6fjdIkF5xq//U8cC9XEDdkSJDxT9WeablxIUZfXGAP6GbjkT3Ka0bYYEWyrngHVlQ0CPczt/rHlndAUBCjjpTrnMEaUpHRkJ12tvoGzDKzdZhyuJWIULGye8cArYGis6nGsGyXvkotE0myX79mQH+5fdW23KNtrbVUu7ZGGmGNEdY9rK9tcQ9EQbOp/FFWVop8/tZ6y+4jUrqeWYpok8Do91WR4HCsZkKSYeTdgaodOv9fw72jzASwDuZm1dLLZsr4cVXMTRVBlTuv/4RUdZ3ZAKIxbgKo0hg8zsVDrVU1mPROwIrkvA8Wl9Nn6qRhmv77OLcdDxiFvs7ONar6k1FfNEhERnaVvGEnMSuf2TF4DWzTW8gM2+p4vgpwRITr/WLldqAq6sxRtew7de6Q/5/fdEaQOHRMjk0OndhpcMnqOS2sn6XPgRAxZXxYT1vFHynY63U6KepZBpwf5G/+TkRHGBul4yG5KTDrJw5G9UCfMe06tl24WG4Ykmf9IKcDgustXrr+/sjebZFje9RnFipqxJ2x9bM6/r2esQw3mMS3j7xh7/e4BqD1Zn3FRC4rBbSxxrMPQIkQUankyDLu2MuyhbcaWqYZVEMzVBvjE/RqKUFZLAI2c4hpp/8rw0b30wFxVKLzEHu2wBWcspbYlegxKN8IJaxvx3+EXFDnWMc4o5o58D+ci/FooVOPj6SZfYJIJskYdTpMljJAbqXAw/USBNBjGs9vO6YGMRs3L150VmV/Ec3Z1OsODtHZj1Dl2K1kt6Y3itZd0CjWVeX+2Ne5slZYCdZWEqrEZz8Qxw1icZfRbZWkH8XLHMAwemRofbuVd1pOnyvsTSiJQnctLkv3sPUpvO4AWArtOc0i1B6zIcrzRi+DkOYkJJBu0iPonhBWsyP/Z64sd2nRcZ4aoTfHK6B75kGtO/T5VDSHFDrjVo0+fuM2A58R5Ac3g5KulnmUy1Jr/B23q1pKpmtNHXdQaacfZlIuAmBAZpnI2f0ir19ouNv1k5EzDJSs+89PvJEvvPDYkp2Ds2x0TQE3la4jlE0RBMUzgq9ob0+nmDWuBP2cHLTBpwxVUNZAg8iDiP3PoEDiE/dpHvI/LSGXcwGKlZk4U/Her0ACDNn1kN/H+YH8sXYJ16/lQXZ8dhXPahn3srKFmWIHrF20n23V/pa7SRWYEj4aEh+pdhmRhhIAzhjHBpnw6SOSJ1ttbjs2vRKamFXrMKViq37Yg2mOPhiC8tNq7pxmILJ3TGsxvp1icpqsck1NPEg6Yx7yCybEu7UZuktjLTLwXLHRRCF/Cyjl9HYDUsyDKiBlqTMgd6veHbH/42kpiZSY6AeMkHaiU0IwRQ279egVMSW0iVD0nssNmlMyheS3ggrQBeHiWIhXYAnKhh/bTT+4VYN4R1lioObHPK6UFnlteaNPJVRBcJFuA1Wwi/YVxgkK98qA7ZLVcK+Lq2bfENtDQKNvUn7NOEu1wveBCo1kYLHLrr5ijYVNptxT25xBzOfElm9AZG2N54zmopuw4mAqAXWuh+qwAM9I1g78dYYPSvfAx/2TcqFc/+H6IgyUqI4sCrEZlJMnaRq1kwLb+PKgUWt9CAGtTjKl7R3BXHih+fBB+oeBGBXIxxrG++pIvZMfA/kSdpp7Hxgi4kicrbtADXSSlRONWT4RqvZcfMt49VdEZ4sYw34+NfqrZ2+QXryIhi4Zy39aWFgsHpibGVP2wlZHBgOEEDAFeXIcGxT4yUB/7Ek+4E/W1rCyM3gQT5qMDp5AVZAV5iYi6tKoUALVcEq1KXjS1AQYPyliODxc/DaTDOanbFepS8T0vKQpEQZuqVioHUG9YfUO9vUigni5iC1NiOrcV5nYh4z/JlFq8RHXYhbQLD2VM+df5321874LybMAkubfp6WdmmiCtw2yhX12FdAFwBMrERH1ozo7mY+Xa05xk+waJjX+0sCjdEU+hh0MimLS8osy7b17dqC2UxGpkifFPkDLgb5Jq970QZxZHS+YNvKUZ/pMRE62KrgfygcJYnglJwLw83zjXRTzKVkeiq+txkQeGy9R941lyQeqvXuisyTYmZDZvh63yWBDvwGvvfylVDARg2D9wXDbfdHnWVo8NQE6FSZG+j1C5sl1XHLsKGxpQDLU92HHNXhuKa58ybh6Lrdzh1gVN0oWNivPzAUwlQ2D2GlFSV/5UryQnUyzGPHqJlwaQIcY8+GWzUzbMkXYDfgGNM4iTGq1uWVnLnqKPh/qtlDgJlzBQSCsKztFcEY9kzdQOEZeeBw9RgIyntDV4C9lJDb7gOj8dep8609ED+owXeOZVWjA/h43qWBrLzsDmvL+jWUI9G0hfgrvY/NsAKfnFP/M1n4aiXsBOJ3rDsexMHiA5LUeQBFUqW2ee7MaJwx76aZ0iGKoLfufpY0MWSecoqIcwTDCvb5pk8K27B3Nsz8qM3jBifVxJjK+BN8+OUfc+Pseij9gnvbMTnoHD18jwz6BDiHjK181t42rZLgD+aR/gXky9mnqgUpHjNHDEbQmn8IQy0fuC32LQH+YUlB4gxoFvMMDqG41DD5Z/wWF68G/ciQJDak0vs0atL/kCtr9NHiWa3FG1lQRtOfnlQOzDuV7jXxRh2aAyjNRUaN4I/SygpGudWPeAEUYyqyShQ1arU3Z0G8kanSPBkWMp8dno/NuPxHnUVADyl8+4eBzIBVYop0M+XMZtqRwTBj2arqYGI1fduKqrNdydblLyJUMZyRUSmosKHjAM55Rg/oV4aR50J6KXgDCtsSKO9T5QWnAIOd6QF658K60aTU7Tczq3Ve+0u8RQ2+tSSnPM5qXcVwSibuMJWrThDirqRxIBiAerJQAa5FvxTiibOu8/6SYXKHgC64E2F12D/YHwLHvYf+lNB/BAN2cxx4jXy7d+EocsHaIdBz7Qm6yHmeNozs+fPtuKJcASc8OdJOJpkg2s+K4VH/ur2UtoVj+D1HhF9AuVyMsI73FctOPUc0r5+mpbx7elVJuQOyB8aBvHZtVFlIIHt3/XGCas/r2b3PzuooNyiH5lcrYmbJiXYvWllV/Joiurbq2YISzcUsGdFmEscLlAQpx1OX5IFDCM6LN/u5PdXCeHijN0bQSPpjLSva9PPpc4wcPKLGJBh7y4sEYJvlxfbi7Gwa3lQE5GNGdMaWe8qplC+jOxIJC0YQI0+gmgk+8vR/vSDofv7tXrePdQJoWnDpQdXqjOdwh6reoIMbXlUO10fG0xmGuDcFVCGji1BUNDJb3b976GbFNdt5TlbpmrQ7ZHJCmgZb+0k7KY4MBAKTnpQf9X+DklgLsbLZY1QH5fJJCFXimIKqwyjNjU9xLAZwmK9ksV5/qKMiYtSG00DDZuGznUrNVPgriJK2YqRickIUCGBgKATreu0sxQux2ZgL1s1J8G91tTFheMLMo/5ER7pX4gFWDz9iA3lTmhsJ43psajQttxT7Hg9h7uUxGJFllI98ohQ9VJo2eC65d9pyEGD2TPe9QBooLJ3V2jbQbgUrlciy5H42JABxGIeoyVmaYhgrParp9NPgwveZG0nPJu7ukVRd/jrakm1YnD2x7KqDDvkxlKwfT8eRM5Cm9yDeBQJ3dQx4EeRUfV/VXgKyghTjCVUWXAh7r0krvNKUtcyj1CNeVD2pZVWP/Wze+93Jj1Ta869Iq9zBWRDuDo6Gcj+J4kMEDX+etgHT//HdZBFwZ1UsxGLu65JcjGJMpaaNcBm49rlnyaNqUFVfEu51gBiSj4SrmC8F5+UsI/gynymHQ/H0gEqu3GQNev6BC2yNb04R4BErXoC+Fk0EtcXQo5V2cvF4cau+IRKskuhWP20s2KG99QA6GBmLtU3Va+Jqj7Q7/DMTA6LzM1nJ2g2LGcJ/A0EDTewfKMP9A7BMvn8P4fPhLgc+vmDDJQRandrwVRr5NeABvnxFEpqIF7vfstecGqjSZGYwZdZdLaZhMMCYFvyjEGn3YUnbVXfdgYU/rdYxxH9OXOIeh2LymaBcFqByP6c48KY3AmmtQI4H1rfU1EGcTFu5orJSqcwr3hj635sZ8GDBu4+NrEHpTwrPCRJ0GyjFDVTF5CZ2P99VlUS6YVm+8Sd8kXuYst0otUxYZfUbgfiXCkPZ4u4Y44CpPu3vR9qsINZVpwZpxA/CxpBe/E0PwQRVcQao91GN5cMapgSo0Au8h+KNZW1SZR8YjgATOrYONs3BDKq1qhqZzeU33N/CQYKBtgIcXTTdcI0DLlBrJvHOufRnHZ6eio69nQSporm/JrNdEHKHXl/3Gp5imfY1XXdZIeiQFf6Q6Oc10cmzQOECVTq9DsvQtSoIuQ9LKWx9jiglhtGV+/PFUPyuKt8kA1Ruqlgna6lSn+cIi80SDJFlFdQiZIg8IdW1itLwi2urEoeYiE0GvCA33LWt9pn4tmHeFCICR3SUN9j8VNUFecRBnr0E7Jtcr+WvN/Tk4tkjaU8f+vVexaq1DIrWIyPQlxMHL/4oA7Hm3DDJLBicBBUtHgjZkFPr0oJp0Ue9lwFBitr4Pw2SyoFaXO1rGnoMegIW9X8vkfLAFQW8nnaYaB0oWnLWCxn7N/Eh3UD6wYjtBQjknmSRF8bF4puCpfRS33/qvtF6a5k2LRE7nmO2xSnuLGC7MAg4yqs4lA4wBhsc3XqgWy5oqkAo8Fn3wmSVhtayyr/DL2KYGtnUs9FuUw8I4cLS8EGvquauILkr4maQE+42QVBOENxk89NdS6U7YlbioZg3upEGOi0tC634crEnHEXbw+6g+v2zjP9mkscCvoG0OsrFu+aswx7jMpGDWsN+osT01MdjSI25qhuswPZjtuL5m5oVylc1oZ3k40g1VjxWSvmFSPPvuktRcCPE8DSsbDkDc1gekilu44EtRxsWfKdm6Y31U6Fsdn9CWJggeLYHBxrPahCX40A8HfYq7Vm4QiwWamx3NSGBaCq6LCFylrzPihpfv4+qD3nMtST1Epnm95mSEBh7qjQLbV21J1tK5eqho/YsNJVw8fMgCFa2tPIe+HUMRjw0a4OtrNneBAhYF/DYFEF1o/RAcJQvfQYn7rs6kpLnTbvId3Ns0jQiIax2jfk5uvij5F5/XsWO3SZEKGOwo2vK4nCXv1aOOxnXSDlA2uhTQvqsxnU0WKBYqCiNVdEGdHJdVVFsRVhsLsnKWIjgQ0hzOL7+4ncv7rI+w9JHcCIm8r45XlYLBwo6oMzKxb+65y2P4AwihgL/ZataCmkMRBw/Y5p3nxBPiu10ZuJJSCVCUaWPifiXoWOdTFwN/8K4HF4eb4miRn0rrjAsTP1fPCXli+PQ3Qrgx+o7QDlQYHZxEND7EK+jFtfU3Cv3neluG/xCTfE9kJJfocO/ERHGnlFlnnVK6wZHRqxPLwvxGhIXYXYIM3cvK12jS9+IP7aqW/P+apg/NxljB7HwGb4vjtVLE1cWCHTDc9RDxuEvpz6uhgGDOXeQ6pRJ6eKNhmocLCKVPiXv9d0LKCIDUcOpGhTr1liJ/mg3MkSW1IqEkmB1weoPc1OH7IrD7Dy7Azz46a8s4E4/nNz8lzT93tqsRwFWwpQFI68KW5V8yjvfEHMVKeR54pfJqtwZYezalrPptvdq6tjcSmwQUL3X0QtCIipHw8+XSdhjGz2Ikc8KNkISKV6EZ0wIrc3ar4knqTZOBOYC5UI/570hljlfBQ6Bgrj+7cAjce8DlbRo/fronkXRGQZB4DJMrCNr3+RasVetrsHGnn/3G5KrJ591gr3vR00RHRj9+16FCJpwuQj2QGBJAdfh74gPCX+FS4/dm+yJH61fXHZjl51ACHIZc3zVf9asgqY3PrRsDxWj882e/YJd/JH+ROJdTFL4uoQi/63KIunZInYlk1LrE7zRRTpPUNo4XxQv4wDu+YKU3zOV1tgM7yYKf+Ld2v7clTW3l0u5/K3dOOBz1mHtQy2Pgy4AW1KpfWKzijp6fn8BwqVdxSDiUFl5EOrK67TdglNwwDvtcYte0GX+MOgV1108/6+bgEVIqEmF2zfd5pawvhhIdMynLVKmSxojergKS0EEyih3szNwdLbHwrej/hQYNd38FcGvnE8Kx1pdmOOW/Du2ozUWJnmcxDQBUniSHJjxaV6B6BUY9ZW56VJf7lkX3plvmu/M4n9xhdX4tYTT0G4Zib5PDOuPD6hC8inXz8+N7ih9GMzhWtOcS/zylZSsIZhiAWaCEMnx5EG+nNNL6z6i+tG93z6qbGgb52/E6ztrI2XDy3vXsAgkj3Kj2dBwF6bBEICvkajo43LZz9hlsJoOvgHF8+DVGmyDCcXG3UsIz9XRmv0Fu30zklYjXin0R/J9hLNan3IkUvSU9ZB25iFyGOvElX67n3DnCKKE1sA7Ub2Yaa6DjGFZfQKZnWnI59NTUN2lE04hv9k8Useej8luihzYLs+N/MaD4n0HZgdY23lrIgfgEb5J+N+RB6QVAGgxqhrL+Iuo9kjWe0FXQa5fgmUdmDAA2SUPVUpoZKtcp6eKN2al/mNU8jh2XzHBmHpyztE1mNTrojenwMXJI+MwPSPwsSbTlPe7TMX+0bQHIFkatUsSuIEuqZ4G6JKoQamyZSSBe8itvoCMhun9SDbSU+G61kYtnymJN7ts3eqp2hRNRGY350bEthkPaMo5y+MA1UugU/wS/LKQI0pEzt1xXntas/cMOfUluSqV4e95hI6iRU9RCyOKcHZqZG2b+C71HlTqI6jvUWbfj/LB1U7XP3Ux41V9afemV7OSageJyfMNZSQzH1uGbgj2d2SvgWK8L8X64HgAIg4Gc7DfENbSQLpLDO3lSogpMcwbJFUlruwtRA2mmtPdqswr9Oe0FBtoo6z9poWWwm1KZP4a6GQppX8KBGCMZRLiXlSPfu38IpTbcJk3FFTo1laE64+c5Y0yOAhAoqXh/AGYODQjcoYVtP6C0qf5UnJTQG65+NJMKsKNHp5eGxkQUm8AtAY1CdL5KhXkTexEfOV+AklfOQJ+kqioBMSeLyk9loLEOQMXZpH1EA7NDd4UyJFC3YttjJT2M1u0UGAIJI97IdevOT3X5/2V/jfoVM6aK4PW39VI45KSNRQPKz0pEncjXAet1MwYlLVOxDqGwr5YyF78tzJ84eRY8r1gnkjx0dInr5aVwLo3d3GDODv42WsvM8p87Tq0E5PEOV/H0DgYZJEXFcrOjxkLlrWYnYl8uA+u07unPQ3INTY3loop2v/9LDJRolVqPqnzzKp0OZ69TR7bHHZGy2GhdNBmr7O+XGvFCoxLrcru40BJaVDVLSARftPhw937OOyE9vtIRRPCrNTEQGWu25+1wJJcS+UL07LphPhlTgmlQF6Wgr6TYkvFOsixMGDSdph1EqSqQOtg0YEzoTjnqq0u00GlSN33B8lzGyh3Ub8oX80zfeEv50wuk0ere66n1buBOHMgVG+oZjdv2IhtQdHR0193YTbGzwxTLeP0CYmtjGfq5x22YT/H9Re6bAqAH/zKQDxhP81hZOBoVEQjDPVmEVjKtTN+p+iEYHmA1Upc9IgwqJeH/sS4x2Fj0uBl4PEWIL7U37g6k2jjU2v7639sknm0wC3GoWD6MDUBjGyKkQoFvtZ2ZvxIHpGSJ3TWRqK18roheEMAP6U3UAoxn1btvIiRZqpPZQ8dse0PYp+ODqF+YbvDyRTDaWzJ6kz4WyGJBP4dBLjk+KAE6aEleAPrjbmfoP4VFCdp8Lnf3UhRjiE36zlv6OhxeCxh7X/MHTl/dIx9J2Ur1mz5fYiH2H7mrQ8V0NYhJ3XfatAwAtVOocfyZCfMdsHBoOSyq5U1ukBsOQI+onuu74ZumFFGqLOxi6uHPT8sA/7HowJVSYF/cHAXr+DPxFTj+6+pGnYp7qqyFPSuThSYU2artsUStfnCxE4if+J3O7yHnYR6fR0z+zdCd/gQFSUyzFmAHwZWoPD7zmVLjVi1OgQo6HzJZIIMgAUAGf+1aW2Kt4s9YA7ipjmUZctCviGC/LDLZrSpVgpJ5KUBFPs46lDAiDuB9tt1OSgpge3P4nwao8jVDzP5y/mLxao/yUB7Wdo5gXp5ICfySk7FopvwnttRwZAcMFioJy/2xOMPI7uvoLAuvkJiDSMXF8KeiEXlN1DOhBWUjvPX3NibsBvljRPQxtpTY5Zd6Eag4NQn0PD/Mo9Sk1zwIt4m/J2B2PiaBf4z7VXbzaMt7X9QlkG63RXah4bTknINkJ4evla3bl+/51ByNB1D+7Ai1toVC4YRsmUs97VUWFLPQ5WWtfNCQ//znF2MbrOH2/FkBrftPG8lFGf32oUf0E7LyqlVqchr67Ob4iQC8Skp05/vrRA+1++siOEEWGmthysvqUKOyVq/oTdml52Ku4zx+i6xIadqQHPbkp/mC7muWdpXxkYgvL8QgY07jckVJWOHxJrexLRYQf8xw1E0ZClzJ+dKGfzTfUjQQ7uPyoQCnVHqOhDs6lan/ry4FeJQko7F0abvpp2Ct1LjFgy2UDw7XOqfO/8zmCFtu9ooZGNSiwlv71MoDvord1fe77brKx1JaSOhF3maTZdJCmnSzhborQbjO80ox56fyl0juI7227LbvM5LupGOpVkooxnk3MKvpI3QsgEaIJnb0rWsPt1js/Hxuyekhf3gKii/MKTVUO9Q5DAENpOOucucyi7Uci3/Rp8K3ZCLgX7wmitaL5KoEYaeKCVkLvqZrver2dMQ1l8mXkHglpb/A/GT1GI5/5eQybZPloUs85j9JSFtVps72w6UUmYTQTKtkGa4beXrFq0BfyiF1QSBF9VExR/pK0/M1+fxsPx1PDMRFRBG7VUGB0IDP+0rFJIHLxQzo+XLPSOnjPKmFXEiJIUCBWBMLXI4ewwBGYRY+APKdrx3weNV1H+jYN6E5soRiItpNbg6j8CFfWWdGYikx7UDzVZhT3ARaC0nKkXkgGaxX6E4ts+gV33FoKfl/1Yuk3xMKECSVe4hv8g03IoTYibx2MSSP7yIDXTLvpldVp6QrcpAGHUNHf6GS7FUaTW81o3gL+Tw+zEe79I2OefslBWUVDjAMz8zLb+fcc0FYq8prMwRsrxo1fg5SkvKWxKfNQawtnjObWLnP12AqKo37Y9lQ34d6E42X4gwgqb/G6NIIH3QVDRMQHwxURN8WEx+lcJDMwuajWYBte8BxlzSLRl/E6BR4s9r+2LUFTmJtSjYh0H3OqaLRJWYt5QcCWibN8ATooAxY6Bwttw28Bw00+TaGj+lfCnIEDCtHaCM6xfCSerG9HhP2gogdLoQ9u/MxiuOlD4qJ++7Kgx6r1SQQK0JI0/AsPV3VSZuEKNNQiZ9i0TkwVq7mPLklY4aXejZVysz43dKu6D0IFWFLWxWmOayutHtQJsRlcON7bXzgf0iJHDS/52HBmZMXu3w4fvQhJw8VUEtwEJ5zGAGYPQMCmJEK5Z7wgt8V/jMWQhvu53CIco6t3VrpTtgoqgy+GA7IgTp6ecBPIj3vQRVAF2JWFGtEThNoZOAcB2mZ+AAkeZM0XxH1hz3Ifw6i+FNTfNIVhWZ55qYdrF8hkGba9cPSk5I2IVPHOu02qjW/VK9+y2cmVDUfmt+O/0FrYHyhwx1eX2jrhQv9m+u2LRDTaTxq+WFtqTRhWhCE+mN2T3eyujNMh+x/z86WvfYBIl3pnT+tIEMIZPvVrzeTSae/hpVhf2RpXwjd2NrbTgyvpgiLp4UQ8L8E5gncdUAJKkPx6GOG70Mb9NJZ1iFqSbPZtuOvBJjZx/yUHM97vW4ybglRnUIubBLrE0JjrljH/fynRF224PJ60t8rKUsNNk2pZWskE8qBHOkmBQmG3AxgNtgwjRnhJZJgC5mniaR1UGRG0YkPerIsgS01c2PfCII9L1DzDJdIuGxyPOh+ZcVYLOHYp6CMgex9frrK4QgC9HyWyGTWCR15HQ6oS5bRBEE2FKKMxhc0tpOZexJg0AkQ6SMzjaROtqOkb7+u5j87r+Ke4ARaBVHe8UAuuoP8o9H+j2dqvvyRd++rd4q1DbM95LBO5MwnL9JybRjG2jn+p+EFiV3MQkNwfXbnhxsSh0v9YiOsp0JT9bquQrdaFyVvbdD8LUPY2I1M48vL4mI0bY/Qyz3wbrLPjDJb4ZaGiq07brlCMWY1f/gUp2b83gOyaffIerH/JL6CPXv9Q6mzxxc1GBeH1IscEAXtttkrrZKJW4LKwQEfUaCd0kXkwuliJOQZH2FBjLn1VxYfdyCNW4r9P++sfZhSq4giXuRZOGecjsdOPXU1cE4frZSaj9jFDC74PaswE8RhHnXXdGzM/INeeLXi77aqnln0qfgog+zxWUKAXo1iWPJeGJPf4FUfBfyYQkxlqhpMpxG8A4i1v22uzwYZRSmy2La1zYn54P+NbrQgeHvoanoB89y05rbrmFEHHAy81gcfJ85dulOx6j90qsZsz3QmzuZD7NCQnRSE/hUcU8JYHGKmxPKY/S93/JG+bt4YXaClh0323+3ouz/50GQEHesh+vjd+NMWW3s8dxKz89TgNsPKqH+UHSt0/nNE2DLvqkyic4LQVUIPnlgdWsmZ8KY93htL6bzqkDNPks5BbXDgzO+RdmnVEmtUAWbLFezIqAMm4K5c2bPmHoiYE2Bq9SH2lsBLEj408glfxuLr4y9OmUKC2aAtBtf4pAQd/IZsI7D7H3bB2KaT9Ihiz5xPcWRu2U+A9dOsyQz4/N7oeuNcJYEdqa/juSmEunx85nXJbzyivOvO8sZ4KDXcW3XkhHYnI9J0+ZQ5QWq2nDML7cOIfz0T1LegLCCCXqB2bywTWGWr09EpCN5nM8gPewt4ypBoMGI7NVA5iFVAdp5RSF5rfi4T2bY+hCQ0traA8FeJSU/0qJ1GHCFMWlZIBcIHuPDPnJ7gXm2FBIqhAC/2YIc9AN90IdmPTPrkOcLg3PWmBBdIdbHEQ+0zpk3qn9I7b7kZCR5ybC5gDk74aot7AiiDwV+zlpe9WiCJXbMXTXRMsX0ru9QpNXsRB2bqwMNAN7tZ+jRrUntxi6qnF5kkmWTLh2kQqMZMp91rGdJ0cVMM5MrFPn02asP7xIiHIiRuqXQCuyH6mkQfekQI87bAv4kSW6tOPAXzoJt2eXDR8jkp/noy1bYLVo3ViNm/8AygugyonG0zYzNS5hd/qRd1vghdHM4q1w+Ox4mIJ8RMapli16ollaCql60fRWidJPhzrTpfhOAuOcqF6XqUSpqFSd3jaFPAZLh04ygIEdbiHXq0FtyDRBukpf6f+XrVSrIJvB1Qdhk18VPBupD8rkJ+GyJSd7eJDGrBtmoNy71QNAT7wIa8BPDN1rFrdIeT+ZnTQaoVbKkMOkjAbEpY9e8jAJ1myaHTrvGJMSfyl/2Gm6uWzLMBD7VRx2EQ7bHYfP/I8AWaMfsizMpt7ruslfR5+Lm0JTvB/PpH3FT050HAtZ+RgRsRZTruaWKfpxr2pHJZicQS87Okg4u0pNzspY0nlXeG3FoOcmc4K9221h29NSEl9M6anIT9OevX4pocSf0p+qQ+0YvgiTQ0uP+0+QgqvzGgE6jhPIs5B2Pp/Ss0Hv35e5e9qEqx92BO7vaNYSXv6+Jb6n5WggXw8XjBSwTEXa5RT+JvEgWcSKviLm2diDshOps8PGNjGuZ9Nh2Fn9McjkDQgfZLiTwBkifLYXXbLV6xfFSNyj1Zn1C2oC4AeJF7TfHiZlYzRurMMKTVJ7Loxb7GhEnKC/vynpAeffnge2d6VcalSc8VoEIr+ImhE74PFxywbMPryceGSPZS0elNG/lFIAfaKeGNSpxf5TKWRrn0ZCF1buzGKnhEQGVwiYYPbqX2SOQKp5w4LNK6qEo7J+34PXysGiGuM31SXn1Z//6G0lia5+L0dQiioBCD5i78mDeErEyClIz0xDr4nxaDjADmF6wMXIk1mNhFn6zIB8m0BZNUBW8Dha3Cz1CRjpQ4anummCjAcW5YWOD5PPbsCxr/p5hM4TJ9Azw+SvTqfv/FKfovdGAAXyUxy0/5gkaua91/xzJ8+PFVRg76xn7f5oMng8PWi/DpPj/3/iHOs58tNwOFzuLDUuUttBoS/4uplF7gIIB/gBdeLA964KijYWfQDGTB15T/FexomflGOOhgKI184yzmLPtT3bPjGWpD3F/z+OqDeGw+8x7Hj/apQAbyX7OhFeAfo4eLaw/a7o2CTBbhT0KYbnL1Ml6SnANDJEj011/4utbbSRwys2mMyR025ZR/u2gnxz+RAXk+O2w4uQwzcHfb1CUmEPmeGiXNLrsTw/ol4oLDCJfaLpY3J6BiuwS/6nHVNr5VnZSNrDEEDf6PVIxSG/NGkw6GPjAH9u+RPckH7PH8qNo0y5G3PxBfsKiPpTdpB2thcB0nvWTzAabQgtMWlGcxFyadi4phTa1v9RLsFyVIz6dLNgOgPCk6UQKoYyTdtu26flQSGuPVK5DvR3SYC+g+mcpGc/Suz7qKyxcYEZGm9skLI15oCY1aD8VwvoaFnwaF09q1Z+SYVOyb7SdOYV8mvXHe1esMhwQ7CjLl9HHvNaKPlvM5T2sWY3eUnCn2LIcI01LP0r19gfrzCnHdlXoCaAlV2guvyupSVhByzqJ+5kTs/tbT7KDYZWaL1bvhMTfhx/wJ4OKq+d5QBP9t7a26a+vj5ZPbqfzQKnx3J1G6/P6Uydxp9B87MDW89t/82bCVcZGO4hZn48MhnxZwERvemrIy7HNNxhPA3c45k6vOS3cqrDc93rJTp4K29UoxYPPkKsjEsMKdjdw0PFa79zffVqzjHXNtYm0nB1sapzyeq8TCXl0749ovyQBaoGuoTKhq81/E8woazp1nmfRe3hLkwwVWmdmZ25tboz3v6IbklC/eb2pj5W00aZKOxTx1/n6V8dbHFPEWdNqe9kb7JAsLwTYiXaNnNF+IaZioJ7grvuo4LkpTq48soDrM5NA6Baq0OFPDMqz9BLEKdl/Y9kQSvluKx9HUbCkufFvAkgsFwMub6xg7ihlOG7k90OFpKw11yy0yg3bDHk4HP43grYz/e3VpazXwQyesYPO68rsvRuIPgT9a4NJLHjr0N/shv8otx5ypO37dhU3kCPvSexu78V4gpu9v+IVcM/iNS+pr3JdwxuwB9UsUSJsUSuDuFS2Qv1OBOOSMgYDFIfyKHOIowv4JEtaneKUZXP4XlFIPeX9jdhvU/3h9HMTDeaSEm7fUgdU6Ku2Uk8XndPhX3bI0hCmPk37I41UsepsyB26AyfnkDR1sO9o7vbFbrx2OoAvbHRCLCB0zfjochSZhVguv8MNifhII4iGCkw2EOD1NsF4aTr5DKvtqBICpFGNeJPew6Q3PWlzn+Ays5VPMyJ4Qa14Tc2r8ugiI4iRz/h+rlzyvJkUGCKMRYm1zO9IKGk4iJlsxWwL0Uk+4SCAEnwO+DDHEPnFzXRtmuI0qg9EMJP0CwjsYTfPgPpRNiQ6i5/eYjqhPpvm02c+D+odsd0pOJknXwlJA1Bzk5LvdlqIsSGWu72doJvpKX84k+h/20OfxMgODMJMSZX/6VTiOcelvIY2fOhjC+SO6zTxsvwRZ9n7K6aI6euEEar50QkIgTuhZw8U4k079MzGpwZLl0GZOWRwwcr0dQoYteutwnBIx7ykXXXZIJt9TCLfXQ7sDkScSI3WTa/QJEheKZabGXrDZXA01ooMsvuTSUQWEePD8NUNiMBfNKEF9EWXlFcSzXSGESyLc9kkmNkfKncjbrmoJHLhrZzIUr+/dtyJMlCzTMwzuYRC0HcNYCVuxxackr05qL8GxdHslb7bHN3BXE8aVkq1vurdbZe7Zb7sc7dBYutT4eAbC3AaLStyhMwOjtWqSz0hFHQLR6D+ntI8vwlSEB2B2Zr1uqQE5IZ+L0Z7DXmyFqsxXaPgwPkk/0VQEoZEFgbrcgPn5cW75npfBPCunWVu90ObvLCsVuNfVrJK3DIXVcVkMoirn1EQ3HOHq6tW4uvprebFG5UT6iOFQLI4T3ceI2+3KvqzZQSlxZynCnmQvNKLiXYRQ+cbSNicnhlEikmIcUKU+dgic4BiLZnqTQ49YWl6OfG9HDJxN30angIHHc3XrSu0Z8EIipUOIr0IdMrN/op/vxJPAHBUWteKlbqyWRsonv0P+HbwfxjU+VqjIOP+CGGx3COi8Z5aQKc8u4FKzOAk8C316Qyw9vQ2M1zEyvVW7roroPZ87qHwdqvgBgiD7Hk6+OZ7RYeDPTU6Bz79HSCc6vvX2J+UD8Y6A0HMabhvV9GE5x5bEVT+ZsWCUDC7gBkqTae4rE0B3W77wEcaKbV1wj4W8mCeIU7x1pWlqd26VlfnotpewwLPviHoOeoLa0J77t8cifI4sasjVR58Ct6G6yXR7GrjG17LWkN/nfPkRUj8raDVSyaM5KEdN2an/81XFFlpE6+H4xR1pJkSx6w6Q8oZQ8ORMJLWmcM2sO4uU5e+vKCxhr+J4oUWqavg9c+VxAabMeOsLAbxOA/TOFsYbmUEm3NpjZ39KXMgotFQm7e+8lhHq+msjCyJjry1k+vOIAptcZ7CZ6+TizXu7TMyBMy+hZJcj5vQbKmQZKzOI7emkgN0+UuoF35ZbCzvu/PXOtd0sRUGV+nqZNsIEFWpc7ItfylM26/tKPmyqqHByTxVwRD+3YUVql6ERrhu7eDdLswapFtxU5EW/LVDAVIA/0DjNb7FiX+P2tvXMhktpzwRtovbhkvumcZdn9rU0O8xpwxix8r3Xh3JD32pZ6bEqn7A1dkw3HHy2E8NIAiw0q56NbNDEsx6XmGr/cqhjYWwJ+tL8QT2++p5y82PfjGfPwtJ1HQ4SoEPDVeENApsp9al3PtUFJzsTM/tjBiK9f02iW5kWQXgOa/QTqBy3RaBeBrpYWFbaicpoUqBkCLNr97qXt4bH1Jtk9XEOWkn5tmlWo/uwO9cRPm5+ArtRMT6zu8vUlDV/0wqbTNxMape/58CayCJvbz2bjbmsXiR6dKyEpRREMdTppfOSE+6WKIuNG3sMqEvy696RyLq5ay/E6NP1QPUuC93FKq+RNIOqNWIuCtc+kloCT4kIrJWnMZ2iUty459pQ5G7GYQh8GJrfLQ1XLo5LruiwBl4+aFaOFPAOUGHFqnCYaZeQyyCImm+sZPQJ7ZYuZXzWdDksYp/JGxdEwL8/Sl94epLtr8BcmxfXzd6wBxMnmCKJPh2On3cu9NkTScJ9JR/DWhyx+O2Y3xQGn+//fmzWFQOn/PcmAEifLup6Sxd8vICJNKYJ3yvlIDjkWT2RNgFZYgwPKRND/1A/fYsHZwiBG0jsVt23T6nhvAyKBVoIcjpFNvvk5sD8qnnjjoBYkKFmCN6+Ne4E58ix3XjJjKIm3XHuoFyHF98reVfNo+QkDkQIbjUWmfpsjbtPsON8Zil8EM8CtLq9G2X5+LMeI6RysoDJ4ZJcWXO1Ie6p0TIjjuFYiBU0VSfhoUNFC+A28sMm68DakeZxLjVBLytw5rvmC+hayxHmarhEvBTK0Jy7pUAcwwpWbJB1VAKW8oPGJnmERTP+3vCRZVk3EFm3y4tSmi9VzVFDfA7tdRM3vDVzXSUAYz4UFmOJCOvDl5/9eceX2tvi8NJCsbpJtv2nsLmjPCnOlvVpOehYW4IxHE3x5Z1yJw9DRPFP06APkH9/qVtGZWO0snFNmwdm2srYfZmFhl9HhoKLJRivPQCB6UtR+ZpTRDAYe1kTpMaP/N3iC1KMm8I8h2nyEA+V/vyciqzy1CLX0vCUj2W1+9sax5qeSRs0iApL5fIfuUgH01clEcZkkE2fZSmA+VCuUc7pF3/yLT5wY1OH1Mhc3mPvuJt3Cl5eO1e2xngfD59Ln393OjnQv/B0Mo0vaeLNCVtH9+66C2+2fbMZYlGwJfE5m3SUPyrGfWe4gmOHREMHnUifmi1HcBlguCymVAPr2QAS3vpjNo3TcaqYhzMIey6lmqG/9UGeLLulPUvrQe3sof1gyhNjaFrv5GL3XtWxFhzgNEbU7Uhq5nnyQXYV0iKL2Mj44PIhOAE9bqfTtJMeigtyNFQQw9uy8/i0IFXyrz9S0OSOxirZPHYhW5WyKRqW4aBMziLZ+varZf/R8UtjXXYXm3nb19WLI9pcSVZj0KW1A12aXaCy9mz4nEiNGaXlIu29mKdpiidRbuMajQEetI3w10467pHmOufb+axjfKHenDiHMWeLwZtLmwbXUIn4QfA+vm7K6ZhMzhg6kC2nocuY1jEHJs0xN0jXDDOvrxM2QFdZhKJAFRVmb9iNNa/kr2nxvsN5s5XNgAi0xQPs9oOjr13AsaQ6mx3VkzwJKTfwhtevpUSG2hLIq25WrWud5h7kiLJZDU+i2NThl1KIleb3oMK1BxbEzFEwDeZ4Ztbqj6lYc5p8o1QK+n9KV3p+MDG8JFfy/KaxJx9+8ntI9DpRmkI2iQGg7nkL80iSaL1uTjo5ddmvEbeKNf234BbZ7S+X+5UrfNAUdecQlN3LvbcDzOin0EN4U+xMyb+0heTHHyw018ePWeLREykIALtis763T+o5dmAh3wmKObHIK93S7na0c1BamzOypRmfvSb8eaKmHd9Yl5i79RrxEgVQGzFOrniM9jlDq/WLtqEDTeS/RdvQuVxjyXuH46in+dioCCafhC/RrWFXOr7CoBcK0G7sMdZ+8dihakNJ4v9AW5Kjy3rE5XAiqrhO9vj6Oz+vKpZyOSU2TaUQERkrlax1NntuixxNbKPngOlwmeQObAyGT3dJWQKJOh4WE/2mwZKLwx53Kb1rSukLtIge8SSUPF/s1YFO4pNjxhMZnabQusv8QBqY1+7vsiBD7KlWVGqrKzM+fQ2DWh3QANdIt/exp/xpWng8Jpja0X1k5J21wbliWAk3vgzNENwCaE6CMnPdAFsiU84InjiLmvEVajSBxjshiYrRY3XZdNm4y0sYzCcT87j3s1qEsyAGWWajt81lmbwtr0g0H0ubmlW0AI3NdQtFYY3n+NURKfHXuqpRHb9eZYLPsEwzHQ8gcygEYSNZyBbMvFR0WCd4sKZfvC2LsbQECIqyyXlgnE0nL+fbYLuK2FyJQA9NSBZ+2qN/PlR6ZNKfMy7Gi3NdYO1v1bQQINAfWGuD+Tzh5y8lFq80YiKMWOHcA4uUVxC/fF0iWGtSxKwUEhWWfcBH0WIcmabNH0t1PHUh+r3BwLVfKmRdFu/QgBr5AmvRoby7iQfWKClhNu9JSnGQ1jOplbJIdG5uGtV4uyQngG1OETsmqaCKcqyOs/2VSPkoYrJwfWdSMySLc/RgX0Jh79Jx9VEpHzQonOcW6A3DrKyG/CSIKZ5d9CsbuyVOlEN+uzpr1qLFzhDr3/FvSxVodBFWAWoDCMIp0/XP/Wnx2PsLpdvCzxvvSuU4aLQr5NCrS9c9vbIvse9gna+5pNy/pzZGTZOqeuqb8Cp01Mo0wq1kP9abBUv74p28NY3GHfCF6AdI/ZTROazvO8DC47miv605hRt558jQhRhkChilv333RsbV+LJwyW5IHcftaekbVSVBKaaMJG3wCeZ8LxVVczC+O3ziaBzS7/3ZfmcCksjUpNmxv3U+Qddne1PTFBzzA3Z0ZT3Iq5Fagx4OkipDnwnta9UyaM2YZdFBsTDO0i3MiSrItQGYySjJagWt5OonIEAbddj2wUM3Y7WZcZ4duLtJNwQnTJ3PZJLf9EOwMYr5pEWc/tSfXwpgikxI54jUtPggXAofnC5kn7ZWj6Ne/hTeupsF/ASKbKR6E2XRQB6u+ttyCFhuMtOlq8Dz7jIbgsptfdyVtAKmVLl73gpsss0GsYcuXlDgJdGExHj3mvcJDb36hU6hwTyfhTQ1OmWEFe70U+lIgXrV5vuRSgm0nQxDFLjFyAzC9a+pGXDsQC+sshcLnGUN/OCbMAhxkImZU9ebFtJeZFmBGan9ehA7nxkn1cY7GTegX6bjdmY/cCnc8A1rfcicY9SymGK7IAzkQ0/5/kUUpuH4sqolcsBirIl3PtQbSy8G1OW6uvue8AkyrSuvXd0Nhj9iN5uAV9NeFiRAegfPaQ0IPDLwyZl1zQCXgVMiL4T6dM3/f4njlAfYiaVVGS/hlOXKBTTrzJwCGpgscHJ96Eb2LL/sBZgTtAt+AVk7DzeTbqlkIlTSrlHx/qW+E9OQr2Q9U6BAqift7VsT3DhC1U7ZxpSudHktrlP7afXwSEEdqRTwGvtIuu/DcIxOHYOyhFesh0EIRsiMzsK5BVu81aQFJVKQpCzR36gX4E2zXnrb8+IQQu6lwnKvwuEuluCfa4zgfoy3BpigNwQaqiyaeOSzFb3CfyRDmKyX+hHG3lM+zc9yTDO3MJ9nY2wuldKCcFaQeC7bWgZFrCVy+L+zq4KSC6vlQPgojBdXYxH89xdy0bp3z1NdeRTcstvGRIw3oNF/CqofnprqMDVsAZqHAvjt7pRRobNIn1srEOWQBY3EBfn98IkiVBCNft31zT4Lu6DV3f93sTs74v/E8FilCXvSgCdlWHvoz5UKc3jg2zEFY2jnGZEWEo3H1eGx/mbLOFYlHEoNbUUvZ9VJPaySbFga4hBNAsIE/8d7XSzs8PF0w2k3taYWTyitvcqCYlhxnILx2xkx8r67c05aj5aCk0eZiZT7lpngqcVWq132XrKU1N1TOnULgRh9NieLYgvrlZmNCS+QUXmrCj8bI9/pAlxmq+OxiiGqjP2LtcX0nnDV5Eq0XYN46I+9w4zNtDvyp733t3M3FPv/03e8PvqKJf7XuMRPZsNXZZowAjLhcGseyIX9+i91Qd9JvUjsFq+Y0Q5Fi8AL8H8XlYqfsKWh2eN4VCSL6LWxurbQTJpBVC5HFm8C/RMSpWHX3WkQQT0WlP0hwgrz1YJGlbGv8fsedlgzb+HbgZ0dZ8Ec29U2m6TLVSBKD32XWfLM4P6rALIkmgQLBA7Cw5Gyf4jZlDcbOD4kDAEh79jkWtuM+t7DXNRe39o6TeuH6r3z5OU643JUf+HDshssQ1P6T+pnkzpm569xhu1LPykJDbK3ar2Fek1o2Ow+EGuvKZtVAUfKbJ1d9h9pbB7WnN7gJfInht/gJC5gu/w+vSRSnfw+qp0xZcerVcrXuQmXqOGJl8Cs1jPptBHpLN3sZuS6qibPZ0m1EIyXQ8LE+0TtCYBgYAHRP/FZpvT6+LJzVe+YYlv+GcIL7fpu1+tZbtwl4WRg72i70Rw/6wRZx7CIJYC3NziuqJQ40gkLx/Mhtw9EypNXclo5T+q3YghK+EPjbCn3MlQlcY+zwqUzISFdv9/dZBlQH+4tx95mDn/YMt5yLCmkZvYFotTW4x3qvO0gwW+pddZu6PJhn68h6u7Q2TVZHGPk0CdoexWtiVNol9Vqa9Yg4BJqmznFI9xPvYBcjXn6Y0VpW3hEQ1kS0V65sg6JbUi5xhh0uAT11SgXeUkxKznJhl5YptK/V9umHirXtaY/Sjjw8HKfRe2UlHvzdbY8a4iwgUhJ6HBnTwf5fGxvJz7qNQBUMXXagXHf2XyFCvGe90INUxQ0eMWi+0xQbu+TJz7PjapYzmmt9NIKvaiTVsC9QeKQB+7ziTwgwu6fP4McyGPo8LCnGoq8qJU70BbLk9cWvbKeLWMPkknuW6qMTsMC4HvlntnAwfgOVKeU8/jt8k3oDUDSu5ByOB6qsjwEqg/zCD1PE2q6LxlXJfYhWINaTwkS9u4S4n3UwZgpBQy3NPSlSUvxmUtO9G4utVGNjWVf5FudcVlgeVrE9pS9fzBdN5DeH6q28yqkeddxw1GzvxddeAgabeVubOVff8p8xNlKyiZACJgf0KI21J/2i6CR+tm5ytxDfJRtLFhPvCTWMF0F+xemgHePkBpizmpZ+bPAy5xpBJTskBnbmfURJGRSwfZUlRTIv7R1ydkXLCvAgUQFZP7VTc1GluOLcUeGXU624JZJDglzmYG0vnqK95K9BbpQ0EUWsEjYsRH6jsV7ENcpHLJl8dwpbB6uzPvBcJz1ut8RpI5GuuUg8Xq20L+bdVF7bfgDaFoQBO6AT74u6nWQ1y/L+VxR+LiENRQngcsROdCuwbSfOemUy97iLl4+OgXd3lRe6XuqqhBMrfDJz3KlOh9WgCnb9MpqvrC+fkgElCpEHD4+PPZNPluc5T4ProhvbmWvC9DRJiHe3awajeuZDV/8C22/O1FDu7VGLjVXilNW8QThCfJKYiieqkQEExSQnz6xUE25Icm7GSenLKzJ0qtj80tsTCifTAL2b0UDSRHDz7d/d8+jinzcXAE3vS0/1JyKLqaXsgIiFR2MNxrMfNnL9rIhFddae8JeSLgAcqJhLfOC4BNV6eoEy/S/A0klk1fFWvLqmplYrhubT7HN7wiNvi7Fyyi9Yu+B0//2rojHlP3HIB9lrqZH622cwnUP7ZA2y0kG4YdSTmYyn8jK4d+DL3hdDleJrlutjJxJfwbUpQL6HNMPUqPOQEGTmcwOUhr7Dnf1Ti+61KM2lXTeLzO7tYSZhBjP+a6oVJ6iGAwuB2zEPLe15L3Ar5k37o5g/2GoFRgcKvNMT0ljXB1S7gUaaNM9xhNBZ6bSj4DnzTlxukasXH/KBegTLzrN0naIs8TOuKmpo6jdfNFs1U+zqV9WiYIxyC1lK5M+ZVa30nae1STKjNAF6xTLNkOWaGJkCM6ZpnADA8gyJQUGXv835NANx5C9xGDnoY8DPnYIJzDajWTDYt0NciZaYy8RGgBwXgpj4V+1qw8W/w5krnDnZ05OepA/TLCnzfYw32wh+W4uO/+yCVvPrUPX4LTIg5/R1lKcpbDKq3uw68BWLGe00BZgMqC6Is/L5RXaUU2sj6Gdpb6hsu4BkSfhHuGi+VobJHYX1tR7soqE2OO3D1YBVpILiSNMNQrdKYgkeCrJBfjRUcaW5Kvsuhs6efSNIBXDzzp51YWOYZFhAGhuq6S09XNvOcEIapxdAQq5646KMFp8ydpRq5qQ93W0xSJgIUXYtAKA3ELEjlmUQXHc9frMOxOeZ9GfQNUCg0tGWwEpzl1xh8NnzjAej5MeQnCNaN6HdxSHg8EwpVBvYYF8oT9IokLV5kqykE0mi5vdVYhuizbLvWN3Mjp5nnrjrpD7O09YsBZxZs4Nzq5NmTEiYkwInKuFZtestTfEgT5UMdbOL2spm8rsameO8bxi+CRPhdLTdxuxxnydfcR89I4ric58H2jPvfg1mDBRXXIgf9ls8T9C4drSn2Lsci3tokqMvWOJn2/UL4s0BAHLRw61HmG0sSjdS8mxM3w2XVxRsUVmmFZ7ooDA3H7sf88W/QseRkzQ2/yujqFoV9Wzbs8kdBf5hurdgkZBPXod5ljlCl3Nku4SEhjqSzXPUEYLkH4zNlOMbx2NGXx4jj6e0f1Q+VDcZjXyOKefF2H0tyBTd/j8PMxHeLM7u9mKIl5mF9qDiDJvGECazgByBKuBzFFswfKmVYFXPC71Tr0ev+t41GokaIMwoZNPsjOUuiJLs3xlgfY48u8rw/kJGtibJZTGdhgupZxtFQ/vWHEVLvNCTva8tUZD8n5nQQl8vWq49aYTTA/leQdXLIceQFffTYH+3G7cUSykIUphwR9SMzs3tTrHRD6+Ty9eSa4X8bE8r6wtW+CMKeMjyGqm4TordMsnvSPisD+YikZ4X/od3SdVdyPQIrLcg46ZPry1jKe2mrxD97+OmdKr9AZ4U3pCWnbdx/W5ZD9b1G1GOO+DH8Co+hd8YO/G82pAnUSXjD4v95gpX44rouwiTjiYxUtyO4NLo+dh9G5a2r6vFlNvQxhxCtwQmVbzsYnQb/UdVJ5fOt/47VwS8NOUuE2jcE6HkNlmqQVPMl8N4SsprDa3tgBZEBj8WW4eYBEIBroNbEIyDtEpRv+E1MeRhUkhcBdzFz5qr3PJ57hAertZ5nPRb/5M6cO7SvKyPN9Z6ATCbvi+XOcpGn+GYlIqCa3oJWpQJ95clfTh5TyIewI01RL26nlVoT1YjM2CnwP9qtUedvhQhO9wjwc7JGbE2lEIWXpc78y6HplIlC+IWbmjzbG51zespEOy78SWXmv3hGkkjDTQ3IE2RBW7O4V6YC0d7viJXMI4QXWu8s6JPybcosK3I/4H7NjimBiqqEcIeXPkzJ+QwXYzTUwgaLJWczqIGkEDD1AE+09uh/jyklTjXIYz6b7hA7mqPwJVWvRX7zqoQ7A21EpJb8xBE1/gKlK3q8NVnDXw6W0X5nRQBziKgxo5UIgafYxCi7F0repJtRGCLCcnCZsLlIK0J5yw2aOQ7u3Oqtek2iVrfqW6fyKfHIAFUl89Pa6ClBD5U/qXirlsO3BTf4BMxxVgowcHrrR2hXpzf9dUjwUP8TGhZJ7Xdz1vYaMp3uCpaKeri+lAe/WwSqBbw+hWbfImQjMzjK3tNPx8Bmwd4A4sgHOjv7DLQxHXN8ZKRaqYxjwFjHsNz6YgQyhzrPgm+Ne2c3Mp1MDlsO+dWGyPBnGv9O4Mv7kXJ3FF1v4TsXa54GDqFKelXXTcvKtc9SEhOuFFxGNb4gZK2TBluS7pjJxOR6+5l8WUATks37U02VgmTcklzmUWzicfkaFbixVw4XsnhyWB7pZCXZLD+Z586FxX0/sF+OjA28GkCXF38/3EXVUhGhaZJ+IvgXPvgIQUHRwc6rWex86vT32sG9lzlWBhMC7VdsG+E9t/F/UKWpA6CvUHe3cL+475AZboE+LgmxoGsVSIqpXdlqKYr22Yckx9No3eKKl/Wx4mesMr0Y+ROt6u3HyChINMARcJCaamqJoz0JTZgl5J65CKdb9kLxP4gVcBXbwDpW08N7gzoTIMmsoaOH5KQxjrwxM6xxlqNn/dsrMgVTLgN5iAUQGceL9Nwj/hLAAI6oC1oqiK6g5COpR1id5v/okU6mEs7fg6xAsLK6aHeI0ShAUjGD6vmzEjem/CL5RRZbn0OVD6LM6BwoJKxRfvL6kd8pYzRwNIEG4WMjZry4u5USIqRGfxTLZfpFtDn3AoyaLnhUlD"/>
  <p:tag name="MEKKOXMLTAGS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Cquhy3y9SPyyEmv+6+MyXRqMzia1F1c8Hh22iBL4wwUR3UDV8qonTd8DdhjUilZVayQI/S8ZfdXPo2jSTL07JiyUWaFsf1iHxnq0fVIvckrsSVzIyMrQDWBHprqcD7I3cZqdk1LRLX7YK1kYz2FEPXkQu5wasCNBzU/ipPGrCqKXrxZJUGdcIlSlMknoIeKUmch7NegOn6u+9ZgxV4QFEaiWCQjRRGnVowgCtWDQdoavwcIAX0gk708bsvsE5NCdBXwxHGrC3vDqXL/tASZuJqZe1pc5gEaTnugI8QGL16GA4ra3BibbzGrWxyQwOU9w8JtEXIZ8S3fnpl43tBlRziCwtU5Mg0JW0FDXc2SfPJZGZiu9+eAAuJeCRoYlIs56qgHtV8FS8hO3Nqc9qMV6bJvbLlFLxInkiyx9yJra8O7DBIuaUGQ3SfE0s7pFRQjiew0n5wavuCsDn8zpQ7gdcPnfc5gJAHbZNz8Fri36hdn4IQRfhw1kIb+BvgJDsrF7m/WyiKTyaGSWPldiFXVEyL4zd21dpFX4TUQRLRUwqQo+Lj/lkIcoXrLSoiF0kvVBKt3RU+g32T/AyW+ABgwbJtrutK1UMvkZq1JSxrY7khK4ePbq52LbXiTUJyj7tPZFXlHPX6Y+n4ng4+jNROQDpQIIXHt0JOs3jKLwnaJzz85Ww0iakYEhGI+XTHoKmoLU7+ae9mkIHX1JJ78ZTBkUW2v8MSCdxLj727lYIRwjHkkfwLgDKSU+WSvv4efoR8UDpdhUWf5mkyvdOb0e7xcoPJ09KinttaYj43MU5ZDSXgIQIbjPCFrJpPsHgtd11A3FYoQ4r1dshsrsC84LEeBZMDluwTAIef4qrZosL1a2EDkfDbfudSceoZyK7Dh0bk57HZYtnMSEclvuWPiOztb4x/23FHdjxRtFdeu99nKaPXNvPLV6Z7ieHGeFgo7d/pzoBNIC0/XIQjV+AJCjmusxKggXWClMz9JnCMEaFhfTwuest4uDTw7izQ/1dRLndJl+7ZCs5dsUAFJwCpLuqCIlGsL13GDUr+CodU/s9A1ETXDd6/FcgY7sm/gNXquqFnQghDenlD/s+dTxzBioFzIhZYuz76KrPluMOu56SZnlD77xLluePliegfkJNb5n6yng342w7VXxzLPrDq0Erk/84l2JWFSTOpJlSbQuiRzWfBACfbzJJCySn7COcKEcntGjK61DHyUHLw7wirT7tL9mGVtwPlkG3QWJbHOCgWbg0cwZe73BSUASgntsBFTackbda6LzYdM9qRDC3XVRhOT5VlxqIIeZ5UKYLZbf5upu+u4jTacmfZhE9WMOyzfLm1rPOVtrfmwlUbSRnTVU9BvUmmAxz104UfF7mHEXgqV+x2GODu3uFGt7jX5rnMbo3CqdtMMNRgGHrg/sUzL3Aim0eFCAos3GcESOXLfbfIFELMnDlqqmmQYDuibyHLm98aZ5WTAPe5KVluxXNB0ZJAXF5LHQLtdU3BO4bYMnCQrUUmAvUcfiOWtfh/vEU+HkPnhl10nrbK6pWKT0MMxnttuobGE2n81St3QWvFNMxilbr0Li0s1dXyG2q0USj3cDlztZR78nl9+KeQoY4kVEsNokAwtUG0hyC8rGixmIYfbfGQOmArxCNJXPJouejXvoILX3yMm+cz+xx548LEJiKT70rKeht8XXupiqx4sHlj1DHQGsPSlyuS+K+aBTFu/xB1Gk8r/Bh251eX2sCPmSn/lqZA7XSPG2TzVF+uVkdGB+B3g7alqKRbl8teMEilXG/pRA5wJ0FRx5As6HOcGw8L+iWQYjV43jXi5lVARfVy7OedXR/SVma19KQ/nT+0sOUZ+fnh+2R3yM5atu7GcOKG4uQx+CqDgD56FkFqpBeDwwMHN7q9FetFY+yGCosfhvwpUiPom/BQ5cmDagdIuDBuNPeNTU1MfI68VZgrFI4bXip7iogS5+c5b51exY+YoNGof1sTStid3RRyN/ZaqErVLGYEZ68nr3AOghW6g8/0+dyp6ll5YMBCQWGC8H+u21BwmF1NajLJ6LHsOfY0makMNnjLUWTzZnsIMou0atKm3eLL9GavvKfk2YQQzVv9amkAT27lixlr3Uj6+9gTO4xGPvY8lKQA6R6V8DhxOBilvUkLQc6QvFS6saara9JPsyJ/A7BjQcW4EF7rBPOi6ZlWfPSsuYqfrZtEy3yESSDQHaai1KtZi/9+tJEjxlf0+KEVCvmFcuRap1Ciw8q8PlA4kIcsUvQfFbSI1b/IYpWXTXmqUJ8Vrgwuz1sbys+yJwS4iK9D/Oiq2D4fOKpdgK3BHxRlf9vhf3Fa38lYyaQ4b4T6zlXYj+7jFPW3stMv3kFjbHS7TyV84GaK3KbafLXu0fVfO9qfD8YTlVYQUhZf2fz2P2s8ywicyR2jl4TRobOwcUbwMI35SYlL/dW0ACkEf72XegwCmRXnM9JYWxnhWUp0Rf1K8L3X0bFM/QrIM9dtVHm7cMdVpGX1R6GiipcJvIFexRYAjsoWEEypCuPto/yrTa7/ueSALHR1MYY+G3/hniLJ4FX+IgBVgaBov+7tepS9FLWGNS5VGxkaVyZVfC5e1yeZvpTJj8O/PmUXJhZY55owLxJqDdv49txSG6wzsaWk6nxb6XP1BCWPxq/0rLfZBv+B3K+4SCgjkDC4Q2QUMuASYS50WQ7d9t5dMw4pLKF+Fqjnff/6ZVm6z2rPdp3U8hx1qzjbhrjNxwDXLCSQ12xSFv5EgvcAjwKnGEB1keoMPL34e8mtobT811uqsVnIu/CaXPxWPHRgWPNrw0U2tygC2TtQDakour4TMnT1cSjDG4btdpeTR0QkG+Z/bGOL6Pm3yfMIoyxU0e5n/Id4KG4kgEgxik0FTXab7djRF4K6VF40LATz2+GNZwhIOZeoxQSk9pwvS5UXqWow08SRkKqFNHycGHzcQRNBZprl8J2NMM0mjFCsy0z0jPXR8/9u0JJLJl6H1nKYKLqK05+l+LiG9MOeKQPJQwNX3YUtzL3WkENb83eWkY4mlns9SMWdMXex1TNGM2RqAfBpkPhWfGjNLZc+UQ8SFgY5RFWKbJ1vzR6QIeU428p3piImC05dryn/plF/qw4Oo4j1bHrvabdjyXniZbrB8w5UKyJhwR4vb6CAF1wL2AXjstfvwaKfqH34t9JIB488BgxdZY7pdpaH6nthCwkJmqw/v8+CCCZECTMmR78cAdwy9wzLt7C6ukko4FlIhiw+ngsKBlYKuCWP2dfcY77QeZRmIHtWGW15Hp/WIcRY1+RytgK8Nml5O61M4HkX25g540rIYZRNbRX02rogwFvqMXTc9KMTs5LiP9mTQQ17c2Erp4OvQ/Ni1JZzPfvvmkO0iSjM5u+FDCU/7u9Cg88YmcaoAJSD4i30lxkTG4L1w5Dd51YVltsfesE73mniqOO8JNUiX0eskX9nbOwxTBD5B9w6KUlztI5p4YDY0I8TNvI5ofSB7G7UfrKHRgutUuk3EYK+Yk1wLU7rI6v85yi1/jO1U/bkttoTmRmREyNiEXrDbxFRf3XZkdck9w9UDj0PhuwcGLu590M2ZHRfKB21UFw3FbLaXeL5DLqJNybTsM4SqNZSr+WOhiPaIzHyD7LwO1hWhaX4JuHigy/OwHl8hM+ksr/uI0zHGevn7f0ORPmI2CzQiIjItZsDRNgbctbThsdF24/Yg+jzvCw26kMcj1OtsNm446V/AZ2aVJ+9fYehViyAtz1C1TBHeEnDRor1JMjLkAHFE38X5xq+n4KuUiMNMGztJ85SyNVAyK0dynSPY/6UnTqMGu4KyNiZ70r5vnBc/7AiQvnxTclxmUF0jLL5GnBd4uCXry6waMWCLRB4Zv7RSAGV4UArdspPgA5euqvUX/er7CYLxI1vLDc0mKsi/gdnhSPSHH/RZUjKQeXiXtm1yTFwruyrBZQm+bNhQ5bENH+hy74KEaxs/ZX4YexGt42BxSMpvHH7wP0dN1eysi6A1/r38yUkoaA/L3k7Nc/XOVBVNQUA23ZxnPzm+87ZKilKFCqmQ/eGmsuocYT1kAQlfjNctonSmcFHaZI1R1pE7nxixxoQ8FpOzRbJFhWt4J0O5RoBzNWPQTntLLfthD62FZVZiM4M4TustGXAys12PU+XhR5dCRrTEeG6tKbQPwjzP8C6PugSbadnPqzOsO6V2rprHPiyUigcLtNW858DdlEa30qQxZQp5RywdspC9yDUzo4dlpNLloXDl+ELJMi/T8fkH6LPFxCRtAP/9ce9g4siuD8pql5pm4KGo/xJGlZSIiWidFc/xEC8VY0Tz71q5NIxMO9UxY20tAxdXzibKfXYb7uXeXbVnSYikbPFUVB1te6M0+26iNnPq+zpktqud0s2eqMYRrtaNLjJ4o8YKZKg+nXM2mI5/sRRpQ/1m8LK+U7kZuWDfahrEFKqhTKpe5WHfrmHRZaOTxClVD/r1p7EhTzwj+PyqCEYEXTJGfh87vkz2JGeVSZpsGfDd28vdFFx/Wbiu9xCzFRu11OHzuEUNXHIyVvgoRYA7w1X9lgkEFOdDkcVqWuhLyMUjL5bi9ibBSFz5DXoW9GlyI6a47L5gtJ5UTPrlNuB9kIdGvdxRRu5JB0Ji+w7sOSOkEDbQ41HWXVN4cTis9eU7A8hxRB8Tx8w3vmnifZAEFeFr/d7P/Uwys2s0R00rcjSYv3vvC9W0nGtNMWLgJDa8EBQ56hnALVQdQZf6v0cLOwtBGRCXZTAGaIcpril6Hr2hctIr8eyUNJMfrc3P5OEGXtjwQnPn+fS0PHNFYbhZAT/avJrnbw7XNJ5wxqQhRpBBIj/MZdQHBlq6ubN+Lb2sXujf6+iVDLJc3t/K1tm+NcNOK3AKOrFA8i6bz4oniK/3iwF95I8KAsVq16ydl4FrwclUNYanrgZgPSw92umT6SeVQUyJAr27mA5j63pVur2DPJadAX/k4iSA4jqrkg5ZhvVEXKmoq+5yuKbuv7eDhozbwTrDRI1ii18aaq4Lzmu091i8FTMF444COKV3yTpCJKaQkVt/42MDUkRqvJx/O2OqrU+1xMLh41/2AO7HW6YOj+8rpEIiHtfECqVHvXhVn+dmdUF0TxsL8AnQHqfMk3ylvQGD2BnvM7H5ob2UGXpd9nCo4kr8lG72aTfNL283dXCJbalB+qIWG29wKmQSHrKhTP0rfKM49LJiKTJugm5V2CSsA0QmJW+mC71Pde6z0PqunOccpNNRzkqbQNQitymoa30569a1rXJ3022UqKYHfsosIncOaOepTIla5kcAxdoGrlLBNgi1AFTTrDlpgMKUcRr5Qm1hkIKxM0B+dCvwQnBMCwrAXrIROtXKW5UOE12TaIoS2GrNyOO2iIiovndt5sAuOoDjEB8r0UNp5cTQdumtaHGD268zFE375bMx6xEyJKffrsA+h3Yxm3qJ3dMjCfNxvwucO+myJrLK0/9wjeZeHOC49JGAXLmvhPKDxZDwSLhG3TISCnTx0SgkbgXJi7nOczZlQhUlC33pKSDjzG5s6YXGsvWXOblnwALWN/tiGJOTjuZY0RRVQuDr4rhXS5nvf5dWv2mGxSXDCh1Lvb1wD31OW5Kylye1NrW+6t7kcxVy8mGn6528X0XZARUW9sYeXUtznHsUJjvl18sHCjor8gxwece0/G2/xrrrxZXuUDcQY4g3W8cfHlJSDQBVY5whdRLiehw/VWv4qR4gXJzFQNQSfd4YEBLeCjwoehHqsiaKzWH5wwCF+cTW23rW+MmUpy+r7zq8w+fXO6AnE0pvU81/kNd8jCOdQVRTnABDys+9iW/g5oSpxEv5iC3+/k76MFeS9F1ckAP/B9HGY8UF55NUMIL8Mf7yO3faQyBs07aXuF4p6OXU7PcvMtGtch4hbje0p28nFfyfMmgMFMmkYTs6NgJYDRvqP5PriPL7DjsB5auxTVhiAZ2MeY1G/bcNFEVIhZwCSDhVfD03Slt/CnxRTo4KGb4cip2Ub6KFfD0JomKHTYLiIvU9IPClFCGEhIrYROcXeqpwFIbf1QAlcoeoLrDhOe+RPZ54coPvuitnQVpbX6+JHjAmJ9bQH5lKLNVXqUrfaAEDsObsfsE2Pwj+Hy5bvS9W2jwA5Oxt0ww6mT4bKAE3DR1K5hmW7YckR+gcTq3LbcPZgZRSBExiX7QMLivToBRb8RRtvsZ0a3ULdH+HjHdxsLKNtlX7V76+X7k9Nf6Drcz3bRfLv+m4dgeLMoofXJi7hGC5ZIOVKWXoPRUF9+N/aSNWqM/SKoeC5o3xwF/0aZ4pQVUnF9Ai5YEdP0KTsYLlWkAWHuv5I5tP9fL705e7eoRWwF72Mm01Otnpq+xQNufqaGXA1wFK8KBVtq8f2eODtkluzE6jAhQ7b0ONL+h6BlBZj2OFNwKLfqqAB/62hKuV6h9cupA9ab37TtN7inhfdw2ItmrVYr33LK5a8jtmbog00qAClOF1QooO9YacCzmVpC6UfCtOK07GFuT/9908yamqdYD9rUmUKBJp5tu0sp+EPiTkonKj9R9Yt0F1+wPL8WpodFciAzhAF+w7hMhJxpddTH4tMDq/NWBk/n0YgKiJxVGGJZQhfcxR2iJyPIszuy2qmI3RePwuMXKe/KqsiPcbJaKc2dF+d82lBFklHw2dAZQZkrxjDka3EEbeDo8bkU7rbfQmNX+BGZKrIl9nqcSYANFSZHJob1EIxNJOsYwnRkMB0B+pkhQlcfUHqWezeu4/K1gpSpYkZJUNYBGt5qq9S4vKQNecqQ4gHyizzvNnAgJ96a8F+WjyEmc3IaPObsvEItEOY6q5vSic0Dj5YXSyLZTQun3xaFiTWmckd1fCAToruu9GrgVG1wEH0Dm4ohhCON48OuqRLzIUyRh6pxOHHLelRkmzqlifHq0nSaoAwCoANQWRtyqkQ6L54F9UJOMhSk5Y1YekmacSXPu/TCXx9fqZUIhB77iFD3eH4udePSHUTo453MB+g1clc36LrB0HIX8R7WdcXrbkmhBOqnSNHVIsBxNq9LGdJLXKodQkA4wXurTAqqWvFjMQznMG7K9QyPqn7akPSWlcxkz//dBINLrEB9LM8v+HufCq/T8hv5gYZP4FOd6xMQpgkdjOMpKDSdma+F31JK0Ly/RQYzphQVAJeHR3yI2P0YkE8IVa2XL2HDkTcXQp4sIdAqGNu9kRzbppY42+aKSurr3AMu284rlpPvyRD6ir91A7OVY5lh8OaBFxp9pU7bBBjIYg11poYXgRQ+GarE6PZC8EhbOypgi5a5sgfzLonTa4OLzQC2Hcn+TQ9HHrJnf+3OwebbIaERlWs6FDOBoWsfry2krNTvh2tL2lNBxb0gx7JdIK+GjxwaE9I91opZdIVMAGsbXN6SDKB7QGk1BegFo1ivWpc4+gAFqYIZW/4G/AZHZC3jtwCSZgCh77z1h7qDeDdqhdsl8QFTaAUIlNWBpiIXsDMOPCL6YQHO0FljmYU5YnjxkcePTXvTV6BpDMqZ5bmt/Ii2Ec9ZXfgqwQV3H3B0LyJb8fyJ/E0pcuZLzSZSS74PXgFndE3rz1yaaxhQYIpXbQ52cfpjq1Pd4OasPI48/JaW6yA5GAGX581uTQcdQ7M0PBBWihoADgjduUOKQgFO9nuNfzG6mYRsB4a3Mat1SZvqnsxlfFU27LDw+73w0eJzZh6rBCf/ZoY4W+UK/4+y29KmsbAiwNRcARlY6o9DjzHfnwcDc/92hLwyB0Cb2wGYUi4X+tUIRlm8sxcFhEGPqw0gERo3aqA1g0qsMuGEKA9mS7jy6qZv8kO9352ZqJ+AOfcltolpVhYTfvTyacRpLmWzpVo38vW4AGwh7NvO28yzvAgpfALX6P202MdDAmq91LoofaYHsbRVIBTor2y77d776fN62lTOWZ5FKopO7Mhe3iJ19L0RW+2kX0b8JSoMt7vmilK5P6Pk3MHuifIjny67K4Mv58c9z50OlwLTH9+ISp5aDNIhD+OkLXJVUeWo9xbUeZQkW+3r6pC/+iEYayAFhs84fwvka7EojAtHPWyHaBx+BMnghMOv1OAg2UyWXZwtUa9iJUh0xo8+/LJGwgjwnTtNaH/UXIjTKblv9Uy8QVjuvWEa2b+7/VQOJfYA5lA6qgIQRM/9iVL2qeenndmosQexnXWg7De/z42sGqWpCjm80ov9rP0lxc2cWZnHRaLihvqvQU1PfVnOj9Ve7L8So7C/xEOdO/iINvsv4xnxVBBHrmsHyW/ZSiCCxOHPLRhiPRTMIYWvzk9/RRp786p8GMaKfQhtpVXrJN6uKppdMiumC+ddxDdi36Bh7J8KGIfuoM27KdMAYV4ROsJKaOs7bfYnKaG8EPgEpzS54XJsVsdQ6Ksy3r2KnVYXY3HKgJjJoUt5/r7ra5l0JuFbTZ7CCr0XldLbmvfc5F570byM/QH1xHlNK2J6M0Mv6tRjTmj9TKoeNYQVDK4JZMmjne7Mv/fBZmhS7ncMLFL4HPH9id7+NbmAL0swf4bsJs2OwpGS9elz/LY332WjuSL6O3lbDEoTZjnF8Jp9AmlJ/dBw+XVTThSYXteJsKZ9mRpMESGUo99FIAchGXY07T7fJg/4EYFBj6CTOQ4vwtnWAN6oNEMe/HITKeQKCQ6aGrvX3l0mu7gO78kRgnwm4U8aVk66vCvVjpyQL2fCiOfNtEoCz61ccf5VgsbZzH5gihsZBaEy1SN0SQp5S/IqKj3ofj0YCTac05oNPXtLUkf/9SeOaVX8EtbsDUZN+ymXaXeVxAqDaIp5rH6AsYVE8M/vTjLnUYN9qHsSVSWGOaaYROuVz0k5oqjfyfDM4PQzfGfJ8Y2PQuDN909WGo2PEI0tj9dqYIzDR/oP+PwtRwfOB8mquOrE/MzBIJlSxJ5/xuHvS0MaDkK8GBjuvODubLk53qLugGu3+xVui5z/Ms8Z4D4VnyH4IFiCVbHoB/KdMvtFMdD9rvGmBBld4bqaHUzu+LGFIfMiiTeUegDSDN1Y4MXm8CEVlWCk/CafH7WO+RpSmirXh5hHW9hHqqZdceQzSvbu1fw+mOTyFg76TSYLa+Ca7+OQCGa8sv2cpkKt3XaODcXuLTMHFNmjR7hL2DTOSaZlIMNVopC8W1mYEjJJDs/8smO9LrhhF2b8SwHeCdnIGuw/vBudSAG0sgAqxn+0bxeMb2kmTNO3MPj3RZJj3TdXB2LmLXAbKsLE6NX0yyWKVuVR6ckt8avetqk09PQnK/BZLvVuWSQAXgqGnkQOGpLPcc3oHqawPNHonfcl5bGtkRBEVkW7co/JZRYiqcOi/vm4LZY4MBwDSfQaoxnABXr35+SdsSvSXWlWR2gPwBVKxtoBEyZawbdS6Rryqd4lyV0rhG2fmKyk7Iw91hMT7SvvSnGK+1rVu4LJn07PLLo/mZsZB2WgytIVDQtKZZRaXUQnR0gCyxrxDDm5gPa8Jzmdst2x9QV4doTl0mAi7H/h8EhbQkKUfc5rJ4MWzbW+LPHbZEETYrDsYzLEPTEiLXs7tvAc2pLRy91Lfo2eGlPnJk9hLmHZTnNPkkoOMSDwv+BVZAlZaKmz2zrTwIbj5y8N4qRvjSe3SNc/NMG4feZ1WnaqsRUITewtBnh0cRJk2ZBKTnJQijllCHDeMjJhPEyerCMR3LJ0AOwovQfn5UYgITYY3SZeHE9WSScoakEopTWPzJpu9LY4pugIe45/PaWGzddKFdepTlnDmlX14Wbgpusca7Mu7Bs+dyXEnt3R7K5N9xxxNt6s5re8DdgAhK/hViVZFakKSyhny/N2DuQFshbPK9VpME5swZ6NpXzahnxFOMYa9KFtb3SJyfuXO7v31nbKHjM5+85UNpFkrSiGFduj8uX3a/EONbPMJ5ij0hOEh3SULT1c4i36TuYWQvfjy9LP+fqzr7VCLJmFpsbZVkJhpe6MVxWsmesC3YAWIjr7k+4DhuJwPi7E49jbzFhlKfWRV3q9sO8SSGkRoR3A1fQAP4h4VNQUpKa4V5xOle9VgPwv+CWLykYuGQyA5coqS0dfTY31hD1hjihT9vYA/t7IuOy2NpiXhVreneXny/ua4fDZUzfdw2nNwTjmHCmlt33m7zUobRiWo8f9HbFNz8uZ/LI/FMUAcS2pJYjvV/hhU8gxFTntngCIm/xHxWx+X8TAOrhBVW5LIpahmwreP2NPMRVsu0oACizxh7EzomVi/m/eybM0PMWfQbZLBbLKtI92RPuX8gFZ+p8NqOYPUTdzjam13IVdWnhdmpAI7wGUfKYOWPd6HGKWh5pF7SGwin4ogOEWQSddUchTQme8p/yCOyWgu9z+624GCj1OQYLfI0MCBqsi+4wU9RXxce1O6Ms12mJvcj8zQ+SWAnQlCONyAuL7xb2EmJtBVddPu2mUmZEwAUAdCqvvAB+utiXutaFMywk7YOMCg/K+WvWGHtNLgP7Fr3o0Bbi2IpNB+tAcUl17u4KtpuorWJJZBrger2/HoRXVL5JoSWoJLYnp4JCyL5lTJ9qEbu3SA2XKiBMW/xRDxzBFLlWqqWOqepx02xioHyK/jElZGbeQC2GTb15GOetRPzFpF6IYhf/6uDrWjOn5uGAa9Abub2Jwp53vr1jXA0YPLMU/A39sBeUS99MolJOjevjjW14JmkWoESr+DsFcG7eo0omsXh4la9uwnJUMmjUAbHwiKoL+B2OLJfrefgelunPKgxvFqy6qShE1gUpabbWfWGYTltPadvZ8Z33FSDl1WVJmOS0ZOIglciQu+fiErK2XRI7+h7SLHpGP6LjYOIdl+fLIxz7zg8OMgbSqfxRtSNWTSCcIISYdGREcSsbo9w6Kojyfd/swDwspa9neQHPwxF31KNmvfhmY/RU9hYNjUwKK5/N3BKmBM10lr0UvnoQ3cNDi0oIcBEGycucup/cpcdK+WQ1fBo6O7EeSpDYbrloqxWJ5Y93DPvlddKg39YMGecdbh5VHUREM9Ql9Xub+Zh/Labh+/OKGXQQxjKjEDKz3EH6gVuoYTPsKa43fntP6RkozxE3Okxy1ztO0mMFhrTCJeV85YO0sB4qhzk+cJwduoCG6r/kpWDlr4J/cMajG+LdYorwGhi+xeeUElW5QuhVVVLlwiEHM6tV0zcmbfBK8OqYboPLXBzF52Po6V38lph4JdbhxVoKTdSNwJfBzwU4E61I2zwxa/O1H3ihW/VP/lUOfPX6Jp/9lmZniHKebZxD6ylW5MAKk57cPY7Vbyp/4jkGfs1a2tgvCgMaChDCKyVYLoZIsivfCWcTqQ+L3zRfMfyMT09O9crJHhTO+RwQ4q0Q6YbFJzyl57P5HhCiKkZKXTXtmMFRd/JAGqVkBqkLhc4wLQL2hJ5bhfDpSEk91Af6J2mcujVlSzqMaY9WlT7hZKEsJSuIymtKkFv5JvhmjAIke1YRXFUUGOFURe9izwcmGfJkMTTxz7FsQlAk4d0LzL5QqEvMztotHq9xAKcrryNTOgUnnRmhWRibQo1rIPrd7BzE74CU2JqGdwJJJHXiXXifr3lffTEof0fs5zS0OTsGL3NlbwJGL8lqhfXhJs5AfIGOqrRC9j7XboBCx4phI6no+pnTepd7LLpDjxccg2BQGVVDx9AIoVa0lNIfSC8GGNId9W5ghmF26KrL+Pdp3GUDrJ/fxad36ls/8HG6qSPUKsCki6t9iMZzk0yzsUNWfCNv1drIQg0LIlyJZ+F0leWzgerd2B/Sho+RR7RwLg0dxm3eolWJLuX8Jz4kDd4w5Yd9ZeE69ywmkwne8t5Eyctdvx5LMVrmVIZ+j+Jn7s4TqbTyyM+YrCeIAb9Ho5/pc2qC8rF70l7UfRF9/c0BDgGml0ekfPVz0I3phsXgmRt1KJpkJhdvQkHl5NVw4H9HtlEdTG6UGqchlnh2Dfl7aBisFPWKFyCXFfwlM8odL/FHPwXB9jcuJwseks85+hgj45M3Blh916G5WVquH5+iH61JyXs9GghJCRNClv3mvmGCHT3yD3EANtOEbc+7J7rlkI6Q6VdRphBpQ09eG03EQ2kccG4le9xVB8NfFXMbXay4+bWwtz8szbr4xpuAfM03RWcb6VVuB+7XSpxmaQh8GDt1YpYMsWIvJOEL5cyxkzgFYs2x64yU9ud97uSDHeZQMsm/IPF4rkIkQ1Cxws8Dv996MlZ+PpmPMBwIArN4nnbFFF9JDRDeajCnlXsjApuhnQL/QlJhlCCwt93fBRLqvpinmwvAL08FNrQ9Iqnt1/+dwCJSZrR7FIxIy6FcpRXdjaqCLknieuyDT25AB+JNQafQeBdAJolJDmj7D2SC3J4rcg5pDjMfHKbtBzMIija/9cRlaN4CYUoXF9C9KF35XXDKghibtT5RyKgU1odiY2BWYSd0Ppe1gt2vNBmpmQKviXexbJH3K5PqMblU9f9gjV7rRFjJ77bhr0T4oaBDYxRKBozvEUD13LySqNEpE0ey++ZYeZjrWaG0yRO6GMCag2wvsmRUvAXA/cOXhv7w69y3wV9u95SAtz8tQYSoYopU4UXJTp6XX1lLwpNXL5/1RmMXya/y7POtFABXvi6kK17hGJZFUQ+J1MgcaIdNqUPUXycLG/b9KNUlCH4SAeBQVdbytpXr5x3BPwogFD0wAPVRF5WY5+2lQkCrZL+E814cgEWUOZ1s/COsRrDnNG46q6NAHfSL2WKmeyB1TvJkLcDeT5l/t96fi/7JZBYfMBoBUEwXjIcLjW8nG0wiRqkCb9U7+NChrAIZrUWBX30qelVOX97OfqttCGhUVJn3t4+yREUfCU3f87OB3JcX7qERhdiny+qHwNEYbH/QuthRIkRVv9Thww1PaUnHm4CBzBP0+h17F7nWfeOwzdw2j2uEsLOFSPRpFT6ApxTtVYWK1QFHeLOVpjo5iXmHasHyvawiQy2+/U/YZ1WoK+UAVtR/LKTP0H8Ef4NhpB9kanwo2o46iNnTH8oIhpInHtPoGIdeKi7OGrhXlsql8HEeVqYWDts7UKCvLr+O5Xdu2sg/4++67OvxbGRFwngmlITYpX/MkskvrjyI1De2Bav6J7bBlxhIsHMjWKs/HRGeR4iplcJwMbHxNL/KkSK0kxKhkb17RyjzkQENT/D/iS2mNDSU5GhTb/sT6gK06p8hqIzJ32xMRHLSC6XDalVF/AAn/3hjAEmPCC5guiqG3UZGi8LhB8t4l2KyH1J2FQpWrEFmUsJ92IQCjMdG0ZZgx/anp2tUpnnP4SPOb7o8X1mKCd02E8B3h5h6JixJjrz/9uBDg3LDW694pvRDtlbLjto9y1yjVnQXkzv025QJ19cFa7mucDALZNBKaW3Dv2u3A3sl7R7tOsM/T2JSD0eOj6kdRq0asI+MPl5mOB9gX7iQ+JfFvewRvA1ePeBeGb0yr9HmtTVudJbnzvnR0SpEwE/wGaVhV2gAe9H+i6thdeO+Hh7E0YS3ZR3uhr2sw/2sqtveDknHxS8sjsxxAU/L0/0rDuu3rHSgXzmnyrdmH/v+2vVp87wPVwOx4YGXzzujlgXl69AyUNI6uzOPmEyVHUcMYEd4zdA/HLKEq/PgCxNy43BEueAmEd1Tgwxx6wJ4rscsVHc9DL5P74AOQLMWttpNMEEop7a7A2d7HIXaTkG1kVqzueLEH1ebUpBWlGh/3ALMVTR7gflwAvY6Jg4tUjV1tJHCA96yk8rzgvGIkyW6jaLe+CKDWADNTRLagI/U8KAbdK0dpbyQWUXtKjt9rXmiuvOBE1DOnPW8UnPQLhBHJajY/3zPoQknatnn+xhIFmj1BpjN9uVg5HBVe4w8ZbbXGQnRrirRVvWn6pdZ9MJmJkJnuRsivN3roOGdA/00EvrZ5MmkmDAntbHViVwKfY6YtfIjSnRzlAgDL43zq2ygk36m+GBIgibXP9WDhvhblK/bUTtBtSMs5N2mJHGqwfONfZ9dFZ1sR5iIrBduFHAAk5RiPz9NrkPK4cC6wMHTUCdBkUrW5Z8MZiAMY+rSjiu2iEJjWHanOhQcUaYbLdhVvOmMpjq1lWDR3BJ8KkYg07HHw17HV6QoXY4jNX+3zUpMuG/nU8mfAU6W8VMYVpmMP75Aeg4zLdmUdDUsrgSIMfbx3jWV/m8Z2mx1RrE1tqc1YVlIlKRGCf/ClD3FsVWZ3pwp45AXQOFHGELnBqmOjrg84Ev04WcVdK7AyHhBk4+2dOiArz6eupTWr38WEKiUYZzLNFjv0uPunknZt1iBIDdRfuF9c3tIm8hJiVEeqElaCEJy5qenbfAycwaGvXsifzU8W0uNMxWM8sPaqP/wlSYxLUoQGxIafnmDX7gc9GhcCkm96bojZFJPnT6uaoWzi+gjM8E/3sL4u0jDxdSAUJzJz7JXRTkkMWDdyJwbgfaVBFWfX01igL6RnJQ0p2/Tt2da/59O2m2plAKfj2iuVGd1R/9MEuTEiPkDBpzxUu+aVKsrfwiwOuSiBRtO/8lZh/1RScC0PZ+muFCfaERBwwlKjjr6xMrM/TJgmPjCt7IZHxZXYpx2tvn9OpW8XJTCq4iiWySXIdy/2bfCJifHvDsp1flmoi1Ri5cXwHpxjB8ckvjvbHrl0Dvo2BdgleOFzCIXPkR35fTuGPMDF+raIHVRklu0lBzMuVrbeNNmQhkSl0uLTFGfWR7wzrWJvRNCb1KsSlvgQquJlFXRudtIir5xc5jXhz0pncN6+1KyMkiEA8JbRT8UjsvoPtUaqai3JBbjckPm9fLEGn/6WkwN1oRIpojrKE/2ze0JGmpnx2tvCpGjzTmdiHodatnK9JfNgmQwBKmHHg0ddGS6OYndzoRj0orSxMhYuvQ8sehXeZ4yI1ozEwZgRUp+eIC0pgqGQ5uleM4pABVbtS33ID1+wAG/C3Dm3iPIZhgvU6uQ7Bo/0UPudXLkl+66n+ZIr/A7xuBw/O2e/OP1/LH9o3n9iks4Xkn61HZ4VLQxGO1xmLr8EithMbzZgVBi2wlK3JoFrta3O7HTnsaRJFQMre3Fn9v7kWvhalBBa/wPpYMg5w4yFxHU5Mmqyn/kjukPKddMA8wEm535UzrkF0wTiZ2mJcrso6vuTPhF2BCfGA9NHMNsIzu46P2+FHWgzBfckh3SUwJoRExHLwQ1B0SlecCioArRj10lwC3jgCz0mO2IelIRwdoH5Xv7NQewilnRYHSQq4+KjSZhK2BNL5p0UmLErXLjn1wI9/McSlKCh2fMJa6IoGDP9BnJxBuTUxOPxyAKYCevwIpYEy7hMbpqThOQ8WwBUEgBGlnf1dl7u2rsB7b/2COJUFVv2h+Bzb9QRQwNrOci5O/MC6wxj/9wUe2jtbRHb4Jswajp3CkCaQRkwj++ta+8cqjxhuMbor1GRRavATRnILoqmxMCwZUFtU3sLAq7yzv9luYpVVd9p38rBTFONfuYQipZXKKVXvhfaQPYjc1fFstSBvGv3dY6ej40k5dQ2wvn6Q5FI/cqJUzfnI47JIVp6SvapkACEGivmOiOL26mjG9yLyV6xkuicsE5PqVh9qH9yw+cVhcnc+8comMK4YmNFhKnrfZ0kDdXW9dwv8L/EaXIocBG4oqAr9g5kUIA8EJkt2w6iT8K6n+JfnLRBC20jnr22k1k8OG3uLXQWYjI4kDohKQdrnTsfaTbM8Y9mAS90IxMUOd+f503pdjwpFsYPglaOP4CWpqPnBb3khXD7U2JCG2XF4I4wP3ekL2AAFXiRf6kyOTIPc5XmhHijHXPgbZGVfXkfvH+C4dBpgEquWJAeVggYHAph7rGoLXRVOjcSAKSgrlNlbhMDF5fQFqXW0u70Leiy0rFfUfGJntAZRlZqzZTbw3NskW+CA7vJK54CvbvRc8Zp6dQOCp/PSaFsB3czLNo6zog6SaCt3gh6nTNrT8quXgs9u0WUeBxFBA95tCTxT5LZCr621ecSljdJLKYsOhoE+7rmTSGsJ+E2ZCLQxMV9wnq3VAg1TAFZrHjbeN7u7xHunLUaj+ruVY9jFKzrnmC0rVANSkl1g4blggcaWLlB4XBOKv7yB5ONXzg8NIljzyLzBwLuVZhbhRVHlFzUMCjWwboAUVEzFyQ4B/zuOgV6DdB0FqTeHr3fNsoGszsfDo7TPLRb2bdm+MmA40QW/ueEbd+yrFxgvjfH0DlHNAdZpDQ8IjOg5k8lLBsMtAgDUVUUUwDmPZM/lXUpz10tdX6Lp6Z/sOeh1P+O12A0ghoOlUL9XtCmvAeToGCvUQqf8ivBS9N50mww5bJY5A/iRRHV2+0SZ61T0ehJ3v7m0L5K6ZwVHLmoDOp5txg2szgldz2/hzO2BiPBbB9rzhMt2+4pMMS6CylkUXcGIghFo0OCVarIp87VU/h0YhexlPjJ1+JWzKeScahp6f5eJBQ1FATJQz40McQl6UtooeoZLDIs9s7CV7QioaWsVw/nIJQynZsCmJJNJ9yUkXjk6j73UaMx/gBgBlKeQmE2e4nk5K2scyVlfmGR5dJrW17cWiel3cjSpjtO+N7wxuB04dOVFZENpxXsIXAZDJjw8uzF0z2TU+Lhwla6I+D5jLXF1AKyqqTI2yZB1/UGu22OXlA+uBH7pVcJqagqTCihfFh+K6HkLrFySLv6kZXgFjjaaLXXD8bkijpH7RLL8z71WHgFoxuD5oWkrPw/y5y71Bs9jrItlV+k/kTdHxxnh2eHfJQfj7VBalU3cTZFoTNwWSn2n+rvzRvCXdoZ/IkA8FOF7YHTt8z1L2PB7+byDN585/ZLneKgnx1zfuWwGM2CvjJ0cUUKUH+dXXoIlBnHfmC66WXRldtCOaBr3Als5t9nh3eVcKDIO/uWdDOrfTmNLf5YC28IDnQn9NT82IjMYFPSmbXDpP4gnOTaBq8ROffYByLcn6xhpF1btXd3fqdHupEetV5GNN9Fk+qqrAlu0580CgE8L9r4xntN5DxXjlfrTKJa/GbOkjCeO4ZIs+5R6vkXrG9uSL18l6Z88nlYBovdJ7wiIcLNbRau7D7x6hKpSLJJRbJsAlt4SzuOvQO2tOZ3gVtIeqQBFR6p/ouK3N1d4ru/QKu6JwkkNZDqTpd7LZn+ADDU/Y7wV81YXSU0oLdu3c8zUCOGjFSnpHp4lAp76T7ZJ5xSu5SxBrDryWwm8Ps693SSoyrmcZW28pSVxT/4UXzk8mTBVSS8z7e11a7lPG1cBGbkf6OCaK1xFuWg+xxDy4RfZNBbfaYgXDYOwLFSeUB0SoblgEOT5/Cj2lLOUzUs1K0Z4EZDIg4/eCx/eCoh/T55u3jwV0NQl/wVxYyZLKc/UguNHVBXX3CFSn50BUQQ0dV/OjNhTOYtYQf1OpPuqWW6H1FSnnblQMIUwKSftUXBOsRN9k/WWDTDZxaN869ZIqv7b5Y9RIGjiozizSUqnqziUfn8JLeXZ9nL9nivcc8AqOjq92bkJuy8fOQFeqbQfXxAgHjA9u/T/ZerJQnwpmXQJeKsvmWHeNSbdsC62Nr0O0vZCPbwfMpzJ9J5w+Khk1nTCzdR0tjg8N/iBSfRzdh61sTRUgmY8JSXcp/Y4B3uOA6uMraWlEMDBloaFMyTSMUZX2OZk53Q4AT2p7m8t+WjmWzQQ65o7qAn+PiAjsvqN8vsNwwuHOUpdljG3cbJT5cmtSN6o+LX/sTkuCn7JnnXa0GvWdVPvDQnqw98VW1ememMLQZAZJrMosJlhdYluK2JuxMp+YEW7ZKeImkeUCCvDD6GeWGA7TtOMbWBHkX1KykcK8JvDZo/tdCnZ7mDv74/HwEuv4SYxlpz+S9/E6ZzfvYervPjuQ55yGHvVGupzmnnSiIaaMzZfb3EN1mNO2grka/Tfb6MZuLzm5vFL75qm9ZvTXxArP17g0a2IB/+2R46OsUDtPtrfzm4jgy5t79gZODImDOS6zqzadgyjDK7oSpgymcfv2Ub71XiZUQ5ZBvl3oTXmw+bxmKjC2uQE6obhwleRE+aU1P5bFLRMgfl2/xWx9Zcf3mJy5GFxCUhee1BpaDoVAv4Ycev8CLLc+Z9RXvZP3GJcKHJZaGwarlcm22JACowj5Q6i4nLwE6puqT3QyQtfpxQaH6JVJ5vkLpbWYo0AOM630q3Jeh9v5BYjJEC9FMBaJcW+n/60Us1/FILhz4kJLNbExm7YhVc1cQHpSPO4j0DtQZx71i1OzIXjs/Ln81W38lHgif7LshMQsQkre1F3WHcKboLGHPd7PWDBo6B5XUp4xIcX9HzgYAfJbYD9g6gxa3STRAP9CbL3pGQmSXcdGzmPrVDL72lIaCnss28XzbpjeF/ogHifuD8irRkho/HkTgx0OXIDaIv/EINTdrrQRbvAGBiLN0e9NwmxFSX38slBn3TtUQY+BNFMhevq71aUeJpCi/XDObK+nhYIYm53hAg6/YD9SAellP0gjbSb5lBkxgi9X3BVxGN6lsFucAwG6FcUr+edZg3vDtXrZeo1wh97ci0GZLp4a9KyYDdxM32/qFdv21ak+X3dhAWPtUptbNpm1+tmeDy/gq3siEZkVBJJ4jgvgZTIb/aGjRAbCERZ8LsZi8UF3FwlnY7uWppuuGmbIzmvC9Zd6FzHBkY3ep2eeEsFzqcni2/fO8ob4UF5ccxFgMj3irBZ2Bply5HQGB7SOf+kqjwWb1btKEyhh8i2/3xLpXb6bNvhSLIrTzzlYDRwVM9FrbRS7lJBrJkeZox6myFunTYMK6giMeRBHsVQ1FU/Zo3O/u9b4UiLwAWRRqXPB3wVoxTMvtWENMZWKWetrPkVZZTcMfcifCCq3EnrlKFGZCuI5V6YfmilyaNasJjttzQ+da1mKzZl/Z09qniUwIodUeet6GlnplwTo3fKYiePC2r+H70vorqEuXkGNVdyLVTIIo9oYXC+3ef7smntCUGSm8m3rCEmoP9ShiED8IAvpkefEAHsd6YH8AoevxY9dQ831ZaxJXLF2UeeTVLf8RRC/Jh8dDkHz8asnCyniC5VZwWTyy5qaeESIOgdzbrEtNvidN1mGh8n6+tLxxSCRUqzc0cDJAwGFLqROom+oJCsMG0xwfvdz8MmSnnjj3iG75ZN7D4ZEmwX4W6QCkLucq4hzRzI6QSHuldeCv3y0biJghhNcnyadhosZAPkHedEC+o9cGbh2zTE18qkf5/4Hl70rFZQZagH96AEoKXifkAV9si8UFq6+1qC4sMZMsxRex7pyAF57lqVykRlOjR3iw+LdAJ8XF5CBn0dn6jxvJKH7pZlkk/acvG7ySaY9ZOmx4DNtAzUfVlpEPKdGHybaVWBSjw5ZBPEwgtSiH4ILs8WhBYndNhQVhdfF6JctFkMY5z8KCf+fST5uQKrttKBxDoZp0EfY/kcglfAflArje6GkeS88c+k4VsDCzRF5vPad46u2C5X/feIcGOFDHMsbos2BPowAUFm1rlgmiRBtsLytzlK4UgxebEg4qjQacmukSD8oOYKl4Ddif7QxZcKo3IQlNjYDb3We4TO37AdovwuIZfW9coGHnXHTzD7ye4J4HNVd4kWqxRqa+4sFcMZNYSLM7g935qDUkXz7g+pmXBrZkPaE23GAtGv/yRUdv5vQwhX6Sfz4Ql+Oz9NJ/cty3yTxWbprZb/TLaZvksHmr3HRuVtJN5IvS+eKj5tzyF7PeBEv/XF+ubU2Oak5yeP1IqjZPKRgYXv2ByqvLS1MdEgnRN0PUhwknZVxviYJJBRbAfEfnd5sT1zMpjuUcvoFH2H0igz6koLLBmFSP4vgidZsX7/6y6rOVC6qc08i5idvPH1kMjlnLWgDZHH6wbberMYwlrVZTNOqPFTWOk/YhOZGnk6lwx/Bs7vZNsiCJM7LFstY1ewvIaHnY5rBN6uBELKm1gta874YE+DyeuR23lSh1lv3zIy0q/LCpHSB1W1DW4Md3UWdIxqW4jJZWLKDuLwdGknK7hZ9iki68znIw/Xviszrh+YrMyA6Cj5zXlfkDON3Q0F0p8NKRANzzYydKYyTJeiA9PjbCCjW2zJcyHNjt6QujjbCUDlZM7UIchKrn649Ro6FJCfa1GB8UohSU6C7sRSoJfszNDntWU/QqJSr7nn+0ZXTZVUEGSLvqxAI7JYPHvGAffY26UZ3ldEHbaQ72Vl9TdtGEm2sJrlHNVVetD1A55RZWBi6zQkswnunJ6xYV5+D7kbtGLPloObyCRnx+NsPs0lp2nlo2KkjdzcH4tjMgbLOhoMspkFv/y3cWNDtvYi5tn97udBuF03DMhlyK5ejL4SlLbEbrssMZibmP37v3eypRL48kLtmpgoEj7y03DYbN/ozJ9ZS9aMge/cDGpB+nRuPlCstvIm91N4d8fh817GauXNflVPonJ6R1OCvZr8hFQmLzDFAKNCoVW/qtOT5qufpd6DO/uUslP3Y0AYScChvKXZ9ZfYgMf7/RX8F8XcdnXB4m0dV1WZPqSSm1h3RgCHQTMgGI8B76SpdLcsXrbW956BfXF+4mxgtj0C68JCD+x1ptpa1wHM6kIFyU1FzJPDSFjBCpQlc6q+GB2mW6rtzOQLlGhY6iAtzi3gBnNuOdcJUyLdd1oJWU29stgo7zMwHXXoDOPJoxhL90/qOFMb5FOnCXShTbp0JvHPbantB6qN1igSaM63AhhcxvyNq5L75wPhbvOs+1OQQ4Fy8sdWkegNwExVXXzXZi3axl2flZiEqw62AaxyCJAeZH2jMDX4f2JcKzmM2exrqs/uLBqySVR67ZNJ6cVMLRs/rz8c0ccNSr0JMV+jvEmEMwh3SzS7y28R6tSpJC8/KFBOZ5J10vI3tAD7JnRzjDCcJlWOAxHtxnjYeeXYBUxC9PKjD0ieL8kTRJ/w+tOYVgiJSK4FuGcl/O/a/A/zMGDJN39UFNXTHAYCSh8jfgp1SZ2+JUY1nt0kquPShfMSdJJVtku828ju6HUO1mkGKLCuBhrSJfcxai8kPtp3ZFRFZ2NA9QQw1esOJXIXY6ktJenZj0TPHqcLM49OL2lwc/oT1oVTZe4fPMh/juVQJYl1jiGKKwQlzE/I8DyED8KwR6uSnSjr5wZQaLGjliv9DY4m91pHlQKXcybGRIfGplNTXOXMZZLdXsAuKD012ZS3H3+8+A0HoVKoQvT/cnNRwp5JJ2ZjASp2AlvlsKBNJ68YKnjCgF0jdtT0HZGYCtiWJ/5RuBy+ck3SZ/XeM7yFtwb3dEzfzzt9vKF0BZQqPmcFwJAkqHpiic/gixefKNGLCWKhqN5E8rfSSgwHV40B6U87oNHJgCeNlqL9IBypBEJPAUO6/nCdd1DG8gfrrvbZuZye177g9Hb/jT7Z2msXf5nV0AvFYRlk0F1Zf5/NUv9FuVYOxKgfQz8DlnQhfPVNhosbAujqrf4f6WG6gc+Ii8DU/cZkvIiLMpKVZ7u1nq3M94EuGLUEZ0P+zVR7dOpCs/NKyWDF7OOShz6NlQQBXmxE81n3wrJ16ao4HG8acHBAm1e6A6xaFD2C96vYkfevk1DHtaG257N0UDa1IPlX90ynJwO47GAk14Go5LlmjWNFPBb5BT6Q49rsRSAJ5CqOSHa4eFfqIjWBB3ynxdCUO59iRxh8v3NVpzyUPBVArrCjlGt0OgdASP6xpKbDBPkSkFo4xb35sBtqgQfK9qaYDglgipZW9hwRiv6CivCd2rTE4lsGYg+XimdlJ8U90uDj/lPn1L2+VytgqV+XUc4m3XPQJWiwZ0BFdzrz9XFcT1UrkFaR2LHq7CLVnmIFr9vVYhO86i4ZisxZE1D9TFt7F85n60Ay19QMzYCc8kq7eIG69JUHGo0nvEoYRTAj598aPpLKFRFUARQB5ThX4cnKp4iON5Jsq+YDsqzLZ70AyBcN9T8Y4BGCkrpr+FMHqfGxjOJSpvmoIiC7+IE9Xqf944SnPENg4pSxbormfcDWIwpk/Sthk+tyv9qkt+Ari/cT5DjoP1EHeNPQjhlQ26wbxRc3jPAsCL1muTkxrO6AB7hopRnEER3u8phjWY4wMACwMbgHhp6nHHll1beiNjWtQHUiOGvzEZK8l4nD8DrzKpTH4hK3FJijzBOnRDeacO08FosIQk3+QMRV/ao19EnyyT4ReC7Vi9OSN9S4DnRclvW53ay+13IkSjJIlnpmLo8VHIg4BccoVAVO04m6L/9FauQE1oWBXG3wMG948J0OGZESUSXg2hgWdsoE/SBFhfrIQZO65TzEnrBALF6QXk5pGkmae72sDWLSn9+GESjhuXlzHvhyQkAuPvKLQ05IAuO9uVtSpa89t2SBdRBbbDAkZ1mhLAWDDzkpVAhnyK8rpTlfm/MnseDnAoQPskNeNn76TFO9zPfyXL+FuSE9ALqdnwc5Zt3yqUTIkRXZ04rDTXRDrGeSkidNfZtqMVhQcpeWNpxJjsRr24tCxaw8IiEEGJlDipD7RqvQLcBFhQKBqq1BgBM4PnH02Q9Od1wgwvlrTn+5D1wvotfq6WNBX/oy5wlbNPw7bQY263IEguVj09fwdNqijBp9TjKe8zB7r213TXXxe2+vc2PzzIR+6AL1Onk09nPqUfZuGHZfzLyA4T6Rdj7y7a2hvcJSZlJDuTOWGnEx8TnlRF14TdGJaAWqzkgsOXv5wQ3WIFRdBYcTcg5rKWGfvi4KQyJWSYOwQpD0SeO/eqy7bFYfZIakt5g8CJsvZRJ4YRHJ7VNjvdBmjtorw/6T9Iu18dNjkz5/M0FwlgYgCos3FlIfNqazckd6kDwjLb4z9gjlXgmpvG2P1qBWO0CzovVNONNj20Rkrr8tYoG0a4VH6MZ8bXoysN4DmiHoI1BtFI8eX0wDwUhhAASIMvp7NAU9tQwG/PdrdQ28plW580wzRaj0PRmGX56pQTQgHS7DH/YEb4Ou2kqzSv8Zj1Z64F5uX6LtOIAB1rWC0zQKHRHyjNjYzvpsiSuzlwlSoGkJlFbJPmlguCLO/ShJsF2ULlMNEMu2x5u1H7eLfejeYRHIqSlPw6ugWIwM5OvX5ehScDodtNMqzl+aw5lUPWtyZW27QsyW6+09tdSJhj3twgT4+WyGSe+6y0S5bH8nu/dWeVUfVLhU8stX5Dq8+Br5DgESP8GwqHOJf6mo3kGMxK8y02Mvh3Qs2sXYip7akgSMbf/diQFmWIDLDl2CZdeIjxbaT07w76wzeHaexxg/fkWWxiwMaRAvI7oVugHKy7tkCNzWS2/h7Nf9H71kpPmo47xthJ7QfWzzBHoGycplydUsi+ikmR6CQskucGdfrsS2K6C9Qfg0vFbOkqGactpRFg7PK6dpgbtCTzU+KmOPD6z+bZY1ntdyGSmvVg+0FwM/r+RKK96OIqyJ6iCcBXQsZ53fQdvKoicmdZp+Zy2Mg+GzTwglhJpb5jN8hfQrBKJWpTEQM6eBYp5Q/9QbSY5Ga/ZkLcpACC0c9KiLDt8BVJqRh4uFyNVBUpKbJhht7LirtBjfiIp57dPeY1WhKLjoqoQfG3RDTv1WzXs7fa9SzBdrK6niV52CHTaUifoKXXQd+8iEuQYnAcKBD3f7jfWHIdxBPgoTNN1uBES1H0lGAc9tbvSl/EgwpKoTHJMqBAMPDlPz+cNn2WvEgeck3WOvf70zCYesNNv0MlGGvoL9/8K/bXMEQ76/B+wugJWD3nc+f68f2K9u08MZuilA1Up363/H+J4NGaFpBdleQjK0W3qsDk0FcX3IAAs2eTr9Qr1uC4SL8RwhnEkRRB6ZmOVXNmU/1EqqBcRaX7KFo4n3ReKSBgwVLRDb+H/HnjCE1R6RwdlCa2OKtpjxfeqWWuBEkKd/NcuiDhqB6EPZCddy0Gd2ca0PmG+3n7xRtIwY5rWVr7wU+QqPkLQ/9gORfn+JjbSJCnuVTzDxs/IzQAoTWGtneJzvHKeEF2sdvKBhyHH4aAPz/8+Nz4f7y5W+ATPdj+zmKr93n9D6iGi7rEOCesMn9LXEkDpjrE09T5gpX9Pml380WYRaFt9sY/LJxYDibK1/o62Y9LlQgOB6PVOL/sUfL+r+Z7s4RNsPZACk9GXvaVMZEZfviuOdM1PX/oEcqPJptYLq+E4jFA85pWQzxexhJ0sX8LY8j4flm+k4be6BnATzX8bSm6qYgR9Q0T1rsXk/sWq9ejBufBvprbqSQ3UPh+JPu3bqpPsHmSziLSArH6fMKHkRgWiqx7PI7DVM89fgdk4eic1/0VOP9aHgPAXAdcGIIa3hptuh5XZAtM87wFkiWeZLSg7lEut91fQ3ftsQ4tnnj4sSqXHVY/2fdJ/LSt5f9586e/yBPl/d/6TB+cjWFV1IsTSb7zRf7EQ2Hc0yYwsp1CMJV6A4TEqqyWrFVCFbzZmKLFqdK2EYwd7oAxLbYnpigq7PZBFpquhF4+lyYab1UOvgvcoUpCFZaRVuSZlMsz+1Doo3ucZNAireoBtAszcJUyH16Y7XlYE/wfNRel2zCPfZhU4rv5M7ZeKj7WOaSQ44g/tjDUJr/DvQ1YIG0utVLD21jn2DT9N2BvFYJX5/5wW4CIyMpiw9/NxvM1cTdEecdcKA0Fkv8P4qyI1mNvCyz/Tt8U6DKw+/t5Z9s2G3sWEHnCftVWSIvY+S4EHnsDGh/nCFZkkf9pTJ/YoedJUTS8J4U8fFZ+YpDl/4QbMljuAH1JcyFqE/RJnowXQNEpPLkk/V0RTGxs4ut884Apek/HhlOeEW1LYU3Iz+eixlhqGSMUIXYPx0HbpNzg6PT/zn4NXQ+zzEpfPz8cv+WViDxbBrycG3v0MUop3eN1Jsi8yZzFQ8LcKoLqXDsowuT8fz/4CDHtt8CUzj0oOVedL5XByF3f/C4ZzQ0twgDUqGorBeQ+h8ctqhODxsOAn69/JT9iuoWaU5VjoxZ2u8ItiaPhTkgBEUKSWSJJ37EIC/5BUhsLsnQyajVsx4cnRadyW9N1TgBsToX1levQzwjjSsM/IPnxjG8Ehz3S2A1ZYsAiM7gkNS41ss8ajJnHpU6xJs/A4iNCPSnSE21m4btpGz7L85w2U4mub4PeL1hKwAoEb7EnjPrMmgKMauwnunPkIwBriwtc2Umz8skfhC1M60bvkBMo7jfYhin7HAdiFYePPPXYaupgcZ1J/xxWi0bZSaDmGucaWdLn7+iqgIQ7/dUW3r8CG6DqKaA4NnrRUKE7MjxRyb9nWrdC8fi0pTIaFMbmWLBPFKh8vismFVt7lAi4KjIogY8xcFNgv/K+vLmDVTkvA9DeuCnGA7kE+fScffRRdLOct/HkaAhbJOOpRvWJLrdztuXgm/shUyjiv3AMH5pgMv9G5XLA1TBbT9v3Fr2hffo3j1IJtjb0YcCkmyhOUieYlWKKqbfrJF0CgWKU0ape7vtAsM5VCXuopFEnkA6P7NoOqjHDG4NP2Dr1kUSCzoL1lcegFozmRbE2VukCf4//WlnpVDggY3RcK4sTiZNrpXrjCXMQy2HaDomxJCIHq3yF+WdBR4HgReEHo8f96LSm/IEJzdmB0ClW+2QE/L16TWXuWkaifSCpy3RcuEpFYJ/JIeRNNZ7M4X6UM7FI4HOk40HyiKGzNAGiWDqLXwBXhu0mh2oG56PhFLOh3kpNW0kkxuCEGuenIRINrQiHLEhf7SB40brSessnlA7tb1GAD6Uy4q4334AMcX0EsvPWWgWnDFI9Mzk0qi7DEe7kyQNBs+w6OkGMUSorEBovHNJ2xM5PrGznyEqbOsXntwVg8GFDi8+wrIf3dSt7GDQ/N2oyHFUAjQy8FRtovwFIL3W74PUJr4WcrEK+jYWyl4gHbzzbaoK+8FUymrp6Q690qsFwV0IazYlGiMi8nUfK3IELXPfKjdcIalxkf5v78LDHcSpNzPMmRYPrQBXmiJWgA3HO42vyQMN1u4xTyQcLySRjHKdmucPcz9O2uyC6UhnJC5DWWHU4VCJoqIi3FC8K4uKJ8LflwVX9Gg7G/oOyT7HZTJhzmr2spt8OI5vp5tHM8y4bhP2W2VN6WSuKQswH9vkrkLO7JJa1yNCbLmIQgq41CRs6hJa58NQFM00UdKM1gsEQE0fYt4uaXEY6g8dSERVXzcLUy/tk1m2fq2zHBM2QvdloLxj/IcCXzmbH/YDCYa27p+vpj4ig0gm+qpfgVzyk2A5fKK8fmWUyrBnWYOXXFzsJcGKeyTXZIKbDoIT0hTpNORzVQ88QzaYJMZp33IIbz01HU1BrWx2yzB6cNjK1I8ivXhZGOrhYGWEg61MHFUke3TD8Zbk97xVTSpPpBrqFTIz1qChd6KvZ6H6UqM0fdVq/zY/pciH+lx6tVhSUzObggLKg+4uV3W2P6nNEyEzF3Xb3fNAfZVwwBBQX3ZmcMNM03JYutzBt/9pdrr43sFikrf2hHjeFVXC5/Px5O9q9WmgHN56tnZBs5iJIPJPxAJtUhqHY21H12iH/y1sP96g1jCviRbSdAosMqYEyr7W4/PQgDK5GBzidrwqFDVIidz8T/DbqqPYUXQZyz6v+JrWR9my2BMny7EytN2JWC0yUfDurz0glFqxvmF67SE5IJbv/ODkNz+xbGjAV3iKO1uiJ5tUaoPYYq/wRtpwOOpXD4TIZXF9TbJLnnsJ7bx0aa8XNMZb3kWdMJON5npcHbNeTdaNf7Q/iHJx9k9A5uPIcKps+gzFTCzICPPfSvz+q1czGuT7aPFMfR1zPQYDTx3F6IMG9MWCW6yfUiYz2lFyUs78sbaAeElp5OwN+zhdvN6MwCeJRgJbYlXfKUz3ZhdWwtK3uedvyLaRZ/mHWcWkgYVsV8X/lFCGGneTp5hCsUeqpLNqAFF6zDsDE7o0Ss8H1QVIY56x5MeHnN8++dSSYMv3C+s6EBNPqvIu0O+iuYFx5WEtbF8OxZWD9wEiJMcI/ayeijQBNFdZStfcT5q6mRakP3PydNnqXh3f5q+JEuZ0H5WoD6OhhYT6ZkBeimNi48VPtntaAPQMETQjXEr5BO87csT0TQwX64MjR7WHyTQYIucdE8WYOAH5S5DLjMlbANoMwu4YYK9x/yErSeImujYJXW92aQ5ur03inh8GezjK2aZRKxUuGV2hU/aw20jJLEtv5/g5kGnONj6n0puRQ9JVndd6Trj9NDX5Fq7Z2lUWJSIA6g1BTt/2EPwqvLIWVZDK9/vdr1duO3D8LmUJQK2LaRCocqOSxdxgi9eE+WNrYZIRzXddI/XwI6mvuCv63Z/BiI9pa1MxHUJwfSeD2HChtzZrCaxJLi/g9mAXOjM1TQ4tQN8Ba8ZI5YeX252VGRRvhzXY7Ir6O2tAbQGIUN0xlE2b0yBeKSDKb3vkGKHYN51T1OhWcWAcuW/f1LIVhz4apT1ofi3NO79kGfqXdh+4SWgyeGx8G7ve11UwNK5c0eimggT8W88YrlOmRecmQRz62MMqYInNnWWcvyfD5JWwSU5OEzPj8UMH+vo4rfoVdnlTSVaShQuJUzhBNzSLhyYb7pwHst2uVS5knjjFnwuwdoHt92hJSMVIm8ce823Kb/9NVm5IGtzVm9WaCdzSN1p1stVMn6mqZfJjCs93RDJ9SFB+6b0sQF480TPp4oD3njpg8PYaNnW5ZKKn2coVd2P8ecivBXMink8+MK3dOcJivc8SI0NoD5p4OCPU13nEktYDpc4U+Y2wXWfjLKpLm8LL/TSx+80PCrsO9jW6Ph11o3cDCUbUGyFOOYkqOAhgm8yVXa6IGKMKaYjlrtHlGLUGdCUMNDA8UiaaWOLQXh4gd1navghZ5dkIGZYWz9DxtI9gWEnfjywAOm8Jc97cl5aM3tG8zOeIlVOocvPSVtgmJN2PctWhErsStaRYHNxo9ZjCznolxqHno45oLjSxCgZDGes4334OQO/ElMbxz2rcK7vZyptDHv8opG+eGnC6q1lwajSRnN36pCEo4O2eNHQAJ/du/aoZq79jnrFMqJNzDERdpmAhcMnWj9/12pYsL40ss+8sV9GS0ULAcUJ8qerb4CwmXaqsDKhAhQEVdbS9CyDPOTNtfedss9ErXtzAG8ECOXGC0YrlZ6Ao/KNmgIJgymZ9btRhcwMRYjQxRniyo5KQQzTtGl0gAlzjVirfdrbihsEYaH9Lf9K2hY3PbpB5MA2zAgi5IPcuZQsi4C5bna/gIk5lXBWXKcsoGp7MSRdQdur+S6yygkoDH5NOipBAhYnJf6vwZcsfUeX+B04gJ5W6sCVbd5JYWjo5iiJcbwIrfmig2m/NeriuqdPScLPOpIt1fm+fGSCDAV3fbZ9UB/p6pXV/8tShLQ/pqyzrwYP/txHMLGA4A+R5ZOwSEAEbj7tvAGp+a0StL+WH93M87deyUngtp68pI9Mr3F29NyQZqxUzuBGdlFSZP1ODYBeAEDOJK22DjJAlJLtLa2dd8WRDQUENuowMLDicXMC6LeQpEuuw26+nzVAsTPtZPfCKuBdybYRtE4v+PxfK4llix7ttldd6aTxWMAE/a5U+9k08Yl0gVwVOeCo7rFSt71jOJpKkjFXjesOtwWqymsJwiw6T2MS8XHR/SXRQ0ZzP1SEK9oGLX+PHd6i27tR9DAzbZsldcQBjCRv+Hy6hmFHV6aw2/O8qtJritE1ywqgWs2scHnFy+C5igTPJ2tWHmM2piLBLlvyZQdbY2hzA1UaKTns6/9HR+05mZFFJnp/AVIbmnCs+fZOYzi/fMqKU8F5RwBzAFlYuxe/sfrfBQkYNwkBoH7X12TvWRHU5OXccX4oi6SlghqGVDD6TCe6k5eufkJdKu7yj/7BAiNPSttSnSPRVsfbC80RJEzV7lSL7ZZcQqtjxgl3hsZ3cUWzybXBOfh81NDPLnuZyYHjJ6DqN6bNhAwABzHA5f81fLyJr1IeGR3RRtJBMM0NVpVH1I/1t/rCWleKK7UEMZmiQRjbxuVljlf+mWGupypqdep/CFgCN/zk7GUpGrlt0lA8cD/AUWJzov72CgwYsa/qeUPavZ01dvRYJKStZIldnnny/upsDFkJI0XCBybb9uIC6IbPgBdkPO/nvU6wDjThaJFNpoj0M5XyQJ6HYhyGdTlcy0gwK2ov5x6y8P+2X/sy8JOknVUTe6fZP+/rTNc0s4a+UBXjlssLEu3Ba/rS66YkJ2LC5vzUNw0PSLy65PQZIIyzcSRsRgQiJ6mx0juqSmSkReLzxMkGOWDeRcTufk9EJA0RniXfiUj1UQr2WH7tHowQZaIXIZOAAsIJn3Pc7cicaLbcnefjn0Q4LjZadYsLSTo9vrJePFKwDVwt2WCxdhLqULU98eRWp94LUZEdFYfd17UBgpI98WnFwP+b1VpAztD5KG8PIBiFSCm3gsBbScDLEOvzGgMf119FVxTNG/mH/hKh0FpxIgnn7sOnqJn1FzaklbqrYINRLw4rDcDAiNwInhX0aejyqGUFwh4oqOCH+8ZS/pRCJjmYXiwcMZuPVXWtfAkKcgKBEBz/dq832N2cWBJH5IU3iUK0tEMuw80xrueNXq/AZc9+UKncyVnHPNSLcKc+RJTMQAAzc1LEIV06va9OFHMhMwXvSI77Vm8jbUHqjXTebudu7nxP4Qc7C2km1Xa3YcGL/F38T2Udc4OL/BycGzdeaboD8MUGrD1cztYrC1NEnj9G8q+pcYCUBfOuf03q3kgWeBhdUpYfi9QZAQh1ilSeTfCh5HEux+SmLIEE+g2xK/chvZHd4c2V3HfZXgJQPOcSrNIQ2+5QxmSVvHVzhpVGtzmd5m9J4/znoNXg+BnedwTtgcy2/CIyJY3xdkd/B05kZHzIkNaBdslIhqjAO86aZemNcysAteo/Z2ZsSpcfrtqo+WpnnlyE4o82y3xyhpTJZGVX7SBdh1wWd4tsCee0xv+agKYglnMhlCuhGZuO8Ma+8qhcON49Gl3nkzkxfolzRqPfC/uYNQUUOOKhcovhU4vWPmHiwXqWnF27nusGdIcyIxsmkqyCkrltBw9A4KlzySWjjGNTYaB3ijBB+fbSylNiFWI2vVcWL5s4DS889EjApNmU2GlVbd1YjqAft9N1cAfGJ/8syfIxg/yjqiMnOpmFs3yGR0oSmYU3dmtwexMv06upFAZG0mxU96ZwMGmePmhfJFWNzgRa3h8oAo2PqDHeCVl1/2Yu8jRl4HKdg+5fc81Y1fF8G8sM+ZiijJgPFQ4F6+ACzTQGGcu92UUlr6hXDAOAfLlP6uh2DxGJlF2za1x9dlNtAAyBYdH3ZPIBqMOUrdW7qOSYmR254cYru8YnGFlJu+LFM5p+Fmq83610PZsVP6weBGExZB674Vd2ThCSC/IPPgf7VkUUyDjbVb6o2jHuFmjECMsFLwH0+wRwHYwbjZU4ZcLh5UgkSxnlZxdxl3ZhsG42DzWbeBWfnbCaFK8zSxY9YJRY2LzUeH5+2SPxAMiCAv0XfYs31Qq7inj1Qdtob8Dx1CWSq9vpUVInk/g8bcLczPg9P/qDuN7noWv7ufiUY2aRd3OZ0rBpGCfOXl18JTalECOAYeaHmVXEliPCpYKWVqhtZ6ezbstmpyySoUq470+QXyTMlGRIHrtmMB273Oc25EHjJY7RWiQsiDPw9BpyFdfLFX/AFQIOriQO0RTAyhCD9YknX3V/jD2BEXEgAkldkaAdGFjSmNg0m95Lh4DPc7Cz49AZdkx5JmsakNC8btnlVnR4lElK3QxJKE6f47Bf8hnrFC2PvuHtqfc3cE1s2xqTwpRZBkjxDBItDN3E6OeELswkxl5V39vY1l2JaNm3rGXFMyySw4sWCCqwLG5RLmZ9YyF/ODu6zD5rs50A6wT5+T0w1GGrUnhbuIABZmjKwg5Boif1Zpb3I8F1+hgoRf3KhOEnNH8JfgSuXHyzOCEVOHBm0LR7OS4KYASvgIMh90xXmXWi8m0tIwaCmWkatrZWH91LjoP8iDilr1E6yYUwdw2AKVdZciIR19OBEgHa22NOFwXAMOTCbn5y58Rho9/4/qbY0nnhsXdbWW6g5DiDdNn1dIR/DiJrpjfuGaODmmStjkF4v5nWz8LtJzH79PI/BoM3ABs2twkyaAATPGa0XpyQ3A8YICMA29VM9z1S5DcinC7Om/qUXtnozslGsfz6gmUXR6FchCrk2EUg1J67GbjdLeVwi11hl7mGNvdjHcdu41P4lJy6yFElJ1jdAW/QtIw8GCC/t8X4tfellKgqlJuRJfrjydUa8FrvSF+zVOiL7Kiv4CLEv8KI2Zd3iKACgY00et0qky8ofI6BDKGv+4N5OSPSORGBjg+csOoTzLmT33LN8k3NFLkD2xulvxY3k9Iu0bEvRgsTATjGpGKFj/P5c3uyJ7O2rwgcZql0meLxzyyGxpQkgLkFPu51KF5oninh+Zqy6+0HOFeA9RJOX3tLaRFYr/GQ/lJlZH2k+y+T9iEeJIsR7q81yiSkkMoaKC3kNa76jI9WrOO4gLpQY47AM80cAdd0FUbwe/v6ClkPBgIIPV50VGkY5jGBToUnN6EkBy6TG3Qra6P8FqC60AhVLaaCxWFrhMo0gScs4x1vPFdguGw/efVY0dJ02nWMJUfEKadtt9Nyny7H+grwZXfY8GTYGFWYrU9wcJV6PeNexiphp8kWQ91h9gi/xxXoqB8mRYSZH9HzQpxCz+m8hKPUPUPKEw++D6D4DaHrvmojVUUc2gj0jrq6FJlsAqCq1oOkSeFiyG7qg0/3tbFaQzY4t4wCIVKh4Ba20uTRPhLSqbue1hE7cJNb+DFLj7VI9stHzwjFzqhsVnzvydCnNaxAsc4Og+95oB3PpOuG+vNQ1Rr9sa5Noo1sSuxinsNDMUiJHoC//pFmOEnzyAKswvkJwyPJDVfHx1i6iXuw4GEmgXDTJija/PTg+TN4GunL8EtAkPtgJTqO4bUWyeaDqUa+CttT03WYW+QojSDBqiR1cfk/PL4QMdKUcL5oTBd6Q9dPYufSvBUzC7BG8a9bXTo+Y0XGkITwAP7SZAirJrqZNwh/DdAauoQt+VcDCzno4pR4WcZTmd3ZZZUr1GYoHTEUdJXREnb/Gh2XFg3jVGq9G7P0NjEvmjku8eJD/hLe+201IKZUybT8gdPROLmF9rlxiTGE1svntUnx54vnphg9rpm2VA/QILrrbpX5xIY8X+X/2WYNhY0UHZ/XjTfxfWuZlMBXZhNJvC2BuqbOZAEIVN7wogM9nRh7/wEJ1c3265Y2w/jaua9JVAZ6U/o09wXMmvB75YZWC2llHzOT55oyYEZfHSt0EBm7Tcb928woalUeJgorWnOdbR1nwBvjUc7VsGlnf+rPcmmvTe0wlPsSqul3E7CJVCwu2yj/nMtOXayl7DU93I5A8kuURd+AQXv47DJ/qZxPxNgMbkRRjiUVusVOtbVfIglIAjdESw+x7It8ZyE+FyzoajjzObf3iAE7A0iM7lMDGVtCdQzPl/Eqrulauf7ro7tK5L3ibb0s0sAeYnunvC8VP6my7v7/pPiIlAjGXLKvqcOunD9dpFFWeMu+Dc5l4YfHKl2uorisN6LACVgHZaXz5BK1w65+PHdHwzQAJFghP75Ka/fSHrG0HI/5taZVBM+ejNWWHy7PDQ5gMslOKaVpYYBKt+Y4ZdfEOF+C/vjtJ2x/liraDNazE6+tbVy5202SkLiH7aQNUdGOgRt1IItWUYS/YHCFnmm3tw2811OOoq1dSINwuT5HGHSDCu19YUwgzaCtpgA+ivCVta9EmLz2o2Kpan/qjU//QaEKeuYTDmoGba7sUW70uatpOsigeixCK4/J1NkTORpWwh+nCFX3rvHZWi2eyQG6UKyHNs2F2Mgw6gTWx6sqG/o/K6rgYI1G38XxIK3GOsAyVdrA73bgXnX62xX09mdWwvChBcCrrNUcILBnwReUKQl/3qb9GIelyWOxOYjBSodc0XLH8qx87CMwpVXyjg8fKHM8N/X6N02wW+0i+AehH6jjDVANoO6XLYhL4mu7dxedk1uFLj3E5pqpBCb+Z8VZNmyftEpZtp9xT7kUL6FeAlBOgZiLubeKVnOOtRDH4djSnWtKHN5vEhs5N77DVVNoyr6ERZitVXBcnEkVosQvohLtGOZmsKSWeqoOQFnJ+FhSxf72uTMd7iPSoe9IlqAwJ8GE6xXJ4gyG3x5wOg8SlQHaUZgb5JsrQXAWvuDJEGSromoIjXV3k59pmUyokNCHyVZ4OlDcFcueXSqvYnuYy4h3hpwdDoVADFj/pku+ocaW8hb6SmmA/cHhgF2XP5PeV60gzFIm4odlBNEvJc9X7Ht9n9xBvkXPlHNZ+W3Zh8NTRHKAHZDDSkOflb/6KBorB0hX1U/a8b4+2Ob++Gqiw/GzLymsuyERTDg1kfyMdfYVPqQz+drn0TeZWG+NCZOVTBJeDcvlRoZ7xusjK/ad63PsRmPfBLcOO4UNVYZXUjV4HUS8umJeBUmXCPP6DvjPDZkbcfTtw1sYggV1ohqJO6IA6N7yuOEiteHxPmYD2g2JRUryZmQrD3HlDi66uSSz+ZNT4xJBwX04xMKznK+RQIKYziLcs5U1e6Ij/4yg8UhEJup9A7hyaNbh72fmA7wlJNcqmKwaonVJe7gYJ07ltXfPHZndHOJJ06gQH0Qx2LchjFfo+FRxHYOU6PEl3cRzA9pOBDPujZjg9ZsLbwY0LMR3cScQ7wY/QTGr/IFGVifjfxbB3xfqXJg6XvCh84tvWsdiwixse7QcIK+ErHip9go5Ejiy2zzRrr1J3PZnGp8453+nq7MrNLy1M7YXQ3xa/YDcmentM7USwzJwOmYFwtoUfaNafouYyKYO+9mxWXizH43U4sEbnQvzcYkK0yjkgzEPCL8j1frBq0h6Oj7g6fVUpc/+0Cqe4+mbGGLX8D833wUmeENKTJWocedgfk+3oS3Gz3D6zM1k0pD4EqyvkxbGgDlYmR10gXLed30aeQL0nflMiwYbZ1bVnHoLGa2U/hOK6Q80KJcKIOglbJ3mCDmmBxk8RVbcsgopJqdqslMAODe+NYRU7YMOAzEDwtYThYumMGy7NTDuAkSTLRtPZyndLKG4WnBpORuILqlj4RGVX7my6KfNaGwLH0puD4DAyMrm1HvhtHYj0wn2baWEdBogKfR7YTdUn7WWXS6RM2pCLGb5bj0a0xHZI+4vrGY4PDdwItT2+706nxsFE/jhffN3i9+C0fi0dbedUYhghyrSafCbLaw2iNGTBSG5NAdjgbl1Ztid4FaQ1hxIwnPz1wTlGMU69mNkxEFBQmcl/oVOjZEo9lyhU+BEDMIx/URtjLW1Jcr1GrcjKArAc1I+CrFXibA2UThR34IOCPeDizQR8jTsxvjco5AgVgAG7K2wzQ9u+//ie9wrWGKKgC72X3VjAk0nIXbP5zwOMsyHQ1oHol6hcA7SxUWnUo8UGXEOesthtV43WV9yDuvgEa3ec9X8akS8puO5824Q2sUpsZoqJlI0k0Mw/fPn2vApZagS2R4NLoBBTDCzS5noAuibdTtoFdPAedawkuuVMSVXCukCz6ZnLxTiEEvIAPqjpe4f3CvzVOhBIGxpMoAfgqwdjHXpcbhnnWNYTpLWIICNBW3hWWzB2jWrTD9UqbSpg0kQwi8jqgOjP7CeglijCOisuuinMKtKko4PxoIKjjOmA3JOJZDb1AP97X38VET4ZLPQ9bkaP3ch70LgKihDLV9ABK0PTX+Xi0lBrbkTgHcRGqd0E1ZiIfp2IVdc4TRlMZ9VIVz0YnoLfo0RGsZ/c2E54OihyC6KsYaryUgztKJL0H0ybNHrTN+c/h8sNwNW01rEBCeiNbdye90C0ZrhrSGTZZ1bhA3/GZAb5slNPLDn6AJdwsPTAblLJ0mgIXTInIHGkkbGvOmS6FUu45Nre7Daq33FUf7LUGSv1sxxhw3SU0pW6gf8g0o/2hYKMhhxx3kLvoPRTHuwKj/C5vZvPRMUw13MJv8ZEeIoH/VuoXjwQBf8F8INjVfD0/GEdYmA28AfSLQ4Y8/0V4OvX5r9h5ZnMxCihZkoJU9IVk820hRqvAjY7cESteiabkxgOfNQcBkMA4toG+Iv0QXboTxbde8Pqw/QLLwJekKaoo5Remxuxz+MnSiQDABvw4MEZu0pN2PN1Ausy7ubIh5sFL8twrq8hu60R+msZ2Yt9a4Wgf7kXNao+Zo1rYBNsq6Hinl7zHuOWiPZ1RwhuHtfHUNpfNluLQGCTIjltlm3j8TTg7LyXURPzCfxbqZZ4vmTjzpu0qZ2UL8Hl5obQvgmMkP+mBE+o4aVu05jOx6+e+g5NwbOTu+4Y5dLlzUsNuq2YHfNePZH+uNIrcSDKF5hbK3IRuvKNQNlAnvQb+ZYI3zAmOx5/B4TwchlS7Li7RRyDnTghSR8OIBIf7tgGfwQ7sSV/xNum93afqtSQuqfIejr2xCjxE97gs0IhE4JhCEF+xtXtgbTml7yfzZ/1UT5wMvYTEw/IJ3pBeD7SnzLyctzA4lblBe19CE9Qxj/Rl5gWqQQG21c6Dqr6J2b/Wm5SKZ9Aov+Y8e9qJ1pr9vwy9crs3cAQ5l0eudgShR0+uoO9BXu8siclU8cAZroJHyJ+u2VmErNvn9tDqfRt0C82JRFApK9MWW4zm1tZAfym5weEQI3lWJPbtBhukShfO6WWY5FHj0ZdpELCejVwcz4uiVm4h0bLTUEQQd329MmGnxQDa+s/Y5QAXF++zykRP2xbeTD9JsWAux7MldcgHGK+U3rd+j9F3Wi8UcXBPQz4msVhzJVaI5bcvBrF1elibhCFSGVpnQCFwwg5+OCTa43dWJ/3xd2pVDklLZbzIzpRIj4JIJe2ewSz19MWoXCMIUAczc4yFv2M2Ur4BT+FE/xGSjaSB+9UtB2rbTMGYeuZ5LJivc1u9VGbdUYs1CqO6TD5khDMl/PRjRZNLH9OssnUeqaBPTw9Z+zS1B4MB3VA1PA4hQ8ObCB3Wmqyop/O+S/9CN4SETTNVWiT/rHZux5qr27+eJ5qdu5R60BwGh9PccwgpxpsAFR1Iq2Y8O4+1emXxhPSlWECkQaSLG95ml2u1EDXsVeA9Kv4+zl3Za1DvaTqdMaACSbR//tcYb1uPdUv76saevaxDmCFdvjNOR7jfcin3uYIbw+C7SRestc0N+koYHofsIXwXLVDSDsEqtN6BVN8wOEgAh9ywY8cFLF6kgDn0/8sbCwoOHjCgrxEtz3E5O585UOmuPlCfz0rte9/vLAp1u6kYjWUrXQh5rhr8bxo0Fv8quOPdVdW1YiAVigZl5iyJxj1poyboPPdr+jK7/GE5pSOk908Dy4Le0VLcHvm+ed3cE2zVyDPFlQqoBdrccB3Lf0BlwM7Pbx0yWtFR2wEd80IsPDaPo4MXhbgqw46K6BikSVpli5UIwl9hLBm9hMGOwE3PrZfvmsDp44lIsst3K1wny6N0lqMbuLvIJtNw4BNpPxdpop0jCdmlRDu+wkipjqlMkst9epFawzloo8tYRN4zXf2eONBBXO2J0CTgYnubp0RZgGgVUZo1h4O0ulO/yQub1k+Hne+5QDymPoaWITWNo+CWuWVHhUpK2+nPOupUPmgd5+wv0hvwD9Smrc+pdL2juXtLp65i9WzHE8JicnXLrK9dn+7mkJG1R/mE32T9ChX4EDBrkV2Xl23R20ZUePJm496h/EGDf+rwSqK3RdB7oEiWu9tqPzM/m6FIDpeGZAsegsA+VWFjt0DwvV9CLlxKoRT2ZzJpC5NuVWbPZfueUhag/77U1HLe2jHxjIiiVHuwoD73XusCRqJjuTKlROsf8Mmy8Y/8CsXCAhXRNv/FFFQf5NQf9yBmfZjktNLEztMP+IPUYxytu8Qg6zsXRiHk2+byC0O9qeoorqutVO8qYrbHMRES6KJNNkVpK3xbEjxoJoEusDvUOkMfn5jtyeQTsmzqRs90a0oqBIxbKmj19XSF63xYUlbaf+BjZpnA0WH+oqnAaZy5ugueCUnACmz6J9JdSvdkaOSQLlvK2pYHoQrxi4zfu/ujPAHEBloUgsZuixXeh7PbZVY2x5904x4S/2QNxfwl2roV9wjP6lcNvfnIp26cd8Fk2pL4xbFVl7daO0TCdjwd19Rl7NsP/ur3kLbmsjzRlPjQwxn0aI9QbvasmJWfqBZ5Sj0NKQYrS9+C1xNx/sETix7hM3pBrWtqpg6Q8ZiHdUJfJbQtApHM7hNXOGklID0wJlB3dEmH2Ch9mG53IqXstuuQ3ie4+96HjFdNhnpxNHJ1aKEEmVp0GPwnF7Wk2gQdmXuIYVhFmsR2eUJcW8SBX+ro7fvNJO2aWOic7+M6uNGZl/PRdRjl2UeuE77Oh4KmPobilG36YJartg9tXCP65TZ3kJ3xfap7Lb3x76ZcHG0EzS1NgRCdH6FYc3H+Kc4N91EiKaA8f2LJQGTaPSeGvwhl7D5QN2gCOvfMGzyokSDupDGMUhM702QbXtVwaE4vy9/R0JqixPka55janhgy6laYXypQ5G5siE/JjrU9rQHxTndD8RF5d4L0uN8fSakSNxrKvKhdgE+Q2Hii4TRms5xfb3ndEOkbPm5saSYT5iTexK6JaYo6LqRfXnpRizLDDaa0ckcWEJgpY9RBrOOiCl9qAVbEVv6IDaTB99+811AgUvvHmmd7+v4qizJLNILg2o7xhBdLKHRQIB7f7fB4r/nEZHtyJN+23ghngeTfNSs0ksaR+YgBe+AwFceUNu5L6Q1kfJkyG8KeBv6C/hZCUpGSihtZg/HCtX61PgxpVHR12DcR9zdngmONDt+8I9GfYiTycMHwQFJMDq8Fz+/8NawWbbP6ODAV397D1Ow1I8F99tnzkEmgoVECjAA5LSdPNIi6ft4TclIwNcXAa69V2kL+4YJFrbFxDUMfPvY3RCS/ssAVF8/VXuqIwcSphryfIm1uFWx2eZcxhd5b4GOdLEmg6Zg1BT9p30DPbng1ATP/mkXiUwEwTxKCHiLy5HqdB1VmHiHXcz2qUZQpAF2Hh2n4+M8G6AAXxMS8Xeh/5CJ4cJG2TY3nzdjO88UmHWgDXpoVPC4lRZP2DZBJC9slR6QPaEV1tIgdYYYjnAQSMO8iUbVZwSRSx9PdPYYrQeABUBIFa8HAoBcIsAd9U4pGpE32vjF0MtVgv/5XflCF2ih0vNSzoo2/YXpWnJrRyZwNKMWU/OjMOFQsKRzivLl/txcA28vrpr87E/Y5f1XFJm7kNi8zlIyK2CuCJR6LzTg1PcjMAxPGLwKd0F5xb4ipqfusj0JACUPgbXkHCDxoct8C8v8zcalXu7lYLqcQWOrBhDWH4tckrXocKt1c3amlW/q9PY5jUf5waz9gUXspKzdB6d8KqGqufv16xiqg/G5neCFYOkq0xesYwT3WrO5fOJS3+Er4m7rdjdqcAiw1Ns59g/A1RjmgK2MISHoO3A2tpNlb1ON8Vvdjrha7deOOAVt9JDr1ppB57pIIj9p943q/SRaD3D6UnJC1tctxAObgLdRERw9s5IvAzlJgDk3xTLKz4WPug4Xvby2m5enhjwopmvpLuT9TI2zjYpM3Z6OOB7x+w2NrtwKrH9i8BINO9ENADXTKjVl3dV5qKExcrgFAq1ePst97k8PfLrInzbZgWh7htU7PS94wbIdnXk7EkAEu9JdT74MODLA4VWXH26vfGlFNuKJGcYVjt7HnuYDHvHRlSUNXmHz5y1ki6sXSZ1nmqUJQ+ipuHdRBaYP6thV/YCbtVcV85neQ5EaOAYgbJhbl1KIrsDJqEk8eUAX82cX/E67r853+uO32NexjpfdlGYQUjE51I9qxzmMFu8X84v3whQFvP2N/oeGGsEretieqM1/kWbzniHc78kk1Co9GZmv/rwHCqThTlRkU4G0Esv5zVEMEnF47QqetcN4IPq+abQtiJvo/37iJst3Ia+JN+HIv/EgVvt9V9MHcrWXTUr+46F6GWjeDZlBoV/p2I7GczkabLMQovuAXJ0d+az0eQloN9KJASk8z3yfYnTlP/f9yYxF8FywOeUw+ehc6RMf9J8YasAPx0fUdKIpS1IQVOh8ldBbAoDO5S1XzA5MPaQtV2TjTHT9aaxEexAQT4nQQDaECa9O3AIXC20UuHhuoyr6R1gprFDJpdBXRRVYPQamMo7sGDSz8GALrl/zMAngxVOpsd6Dfw+mfHkFmRNHdUix6+zzM1uohkJcw1RelGAgfmZrEbSY4bvBzkYHyTZ7Vyj9ZYfwPx2TPX5y4Pkl2vB7mwt0RmVaRpo+a8cDDFD8pzZmQj5Thn2ed9hyyiQ4j1pCrSjW5dK2SQSCck+yxOZhMiYF2NX6FmhCbYDfYe2GwGrMyUI7aqMfznJ8en7rL73RYvrhrMSXHMF92wukZhhvNTHGrwq21Xxbr5YMkezxZwHWbQZwTye6rGTakD7HHTTK2Jk32Z8xPz+ATLVkI1WzclRNQ2w0d5u3dBZjIHCVbhhUAGB5ib3CQCuzXAUy9uDFMGBUjAbZ0umu8g5iLLsc/dk89uIitN8+swhPL1OJBQJuyygEfZORcH4E2YZLRaqZ4NB/DMJsZ8tKfsXY7WlZdj+O/Rj8Au6nxrr/Gdhkm3BmKBmyqaCWgCPpQdjosKLtPpwueN+z2+xibzHBGMSBu+9iP5tyr1kIrGaFRK1IeRUshccfhuBnOqXEfKgoN43mwtHJSdr+/AFrlh5RqKkuOVIqn2UOjjCEVWbdTqd76QGIT4L5oVGeZL+2ap/B4a8PelPMCYIjV4+jK5YvCe1eQjPXpObzDvt5ZnMuQMLr8ednkGoNQM4xF/+WHSfS2E/GyFCpw5fc9BjL2wjdY8wCajiSGIPIl72gBVh3+TqpHvmRMI4mb6/NfEC+b5MZrChpPSTLqA5uI6GpFnqkeY/2H9pRwatiumpuUJuCUVg34s/vf7wAhDFlINgfo+YImvmQNDktXH0vg1HdZhqqiumEGpYwiAU/mCU3mCwkpGHgIVoZ0/ObYNMjYTOE2XKwfdAvHUyXD2hIqduarGPiS4AYoS1AhbX5nexpYtknexkRzc8sN6oikr6C+l9yGnoDYMP6dPix2XQtqjXgCgr36UK9vhTGm59krXV9AgC3I8yOJwrDbF4cv1HbOfDy88+j2T1JIrtObNm6ZT1FyHqigsMOdMzLhbBsf1MoGM7mFPeZ92phqYGfw/B4Oct40HfDCxUH89CuDYhYwfEiK37ZWJH+0O2nLL0FBUXiTzvcCMmtz6VsuNOo0aOcHV2DYWAT++9F4MeXEXQ2Y/wEF7KSfskzW4nNCNEpXrsi5QFYf6LilOHuM4iidciMXOsXIBWnH+KSZ/qvwpwSwarKU7QaJpblOoSTIGYqfEKTYXvJR0bkXcbRVJg4sb+AJmHWaul0GrUHHW395aBgrdbITu4zGNWtS/d8Zvo6IQ2ZymW+e3yc9gzpQp9U4ZRykGRiW3curoRIYnBtvErq1NSvMVf7VRAcTIKbAAqB8vCdLgQO9s2/wqXuNWOxX8QLREpvqVxIBZD7b29N5SBYl5aGGbNnNgvJsT1Q7PB9AfErTDtqU2/ULXFOnLhd+WyWCyOOuVEnNnKTGQAF+2y/5fFQZ5tFaROFw1MYp6yGxr/gXJ5rA8EKXsB8LDi2mVk1f171XTuuZ7h3mSnCneKJLXBG2PNtxL6r8XyUGtrEdIT2pvi4fVkdxosVpQpcPaRUWEDZLZkfrFcZU1IOMj4rV6eAvJpI2mo0u9UJ8Uv3rGE/VV0zm7ryAt+sVNEltsF7d9zbtPuQa9m2A0hZxUVwnxgLabzapKRTRVu4thg/ZfAXLE4kRratPVll3TRAgNgVOpPPrb+UnYqc9s0MEgBOsQYmJyDB/mMwP7nAEhz9UBUCuRVNkUHR3yZ9Y0At/X/vRbHIWy+kc0xhlv233Fj8LG/H7UUwnUMC3SXqRbcPRjebVUWAx38GsYtNE8DQQ2pH+Dj9bKNTanHzahfwEEDmcCZB+y45fjy0eo/+qWpYAMX2C7YT9244OO1qV0vN6wmno1+nu9hSMWE8/GTqhSsMuEU9KSwdJ4V+GJAjYs/AoHuFU11Ims44U7YjqVJW+LoTNSg8iGAj1BO+C+zAWkywk/J+FXYMQ2TI4/MTH/YlR/YE06qFJWTjE+3XxOeIqEKtOwk7VZ/TF0ktBYRhEbdM5m5b7RmEw4ZIs5/i8SDN2VqUke/QyGsCTfP7lGe6hJmHEw/Arh/SO1PFEniLNF7Ho7xaPNCUEKETWLQOYtFetoHSVrP1rD6kpobpsyrzQy/O8PUYWaFyBMd2Me+V6dkv9I5IeXzDFZjcYN+4aJd6FO5K+zgyYU92fkvq11PFOu1iMJdcahykJ8NUXAWh8mZbUvDQ/cUYfrgaWrJAsAyoTvHf9DPyr3zGaNMee7dFvcjbYXfDisMHhdpK/noq3atGd4Zd7GRDxyO1NT+7aAMHZ2L5qRXmmexTiudqhHbVH5SbkOC0mJ8MK8AaP3zj8WLyhv4DBIg4wgYdgHfNhW5HjmGNvmCoimJPTnPppOIs/FR9BQ7jLUjhtvkS7lqDZZzFJeTqOaaN6soBFguYf6Iun7JSrWVntldZhmL9Z1L7UAfT8JyIjimoNHMrssr6VWLN2w0FaWGhP5BVS1M1A61HGoEyDJOxap0BKUHljmnhw4R0Zdi+nDg/yOVcMP4ppNW3I0Hyz5NCbZhx/zsLeOmMeKvrU2Ve+e38kqu1t9rMqofwa6zTPozdol/EX6Kdf5C2HTKLAKMyr2RZUhzTW4I3vlEic3Ppy5JQhx3e5I4mMTeH5c2kCS39BQeKfe0NHcH0VAhCB4SIAlb/eIUC7sCh82tuWB70Kmp3IXomXsZrQVn9B340829sakGAKQTDIMg9EYhFlJpAsVEgcGn9en1+885c+F8/zwJx6IQ7ajjt2OZhYEJkbYKMCffDuxJ2pxaj7nA9fhb4bonziXomwVEREHG0am7ergZNYR3FY+C1qduFLe8F0xCRwCts4esgaYot2AT+fKokH3O7zwNwAvYKDTjEOv6Xz0XGLpMUS9XqmXq/Yi6/Wt9K3JbWxPo39JZYmpUQyERbFXBbV9dzs5nSkoCGqkacj6/7y22YvYmVlEf9bbEDOmJAU7Ri/32ktv3k8yQWKuCnVC6ED9phda70bmcIsq1poGcxKrzOAfGaE/BlJ9BOpgpocx9a/2tzFZd1Q8/HLx2K/utUPFHMhXyG5IAc6/XpWN+GTvIZ95X3BzBF5GbsjbT+RIwiTuq3hb1RMkpPQC8pM7EDpiRc7JYbiw+/iSJdt5rbffu3uq3dfNyAgUUA+cjdb3Yp6cWB8zFupkr/DiRj+wsdeue/+PgWLa00o5q6XCAmqQOeVGe7JsQGukPjji8qTcxSOYntxAMDdTARlHv2UhQ65em+plZhLkscw73rAij8bG3Yu0hSMKMwXGLOU1FYO8rQlgRZFrnNXDA923H+fDJwmpCZnR18GfFJJxgMTyU17KcPRqsk+x4E7YmBaRRGpL8Ha+Qodvm85D87irs/ZSUuO2DZlJWiC80KpbeHz6VlWwdi/6kS+cNn6Ooc0cDCT7WfqMve/atxYqrvorhEFI4cP/zVuAmXFmwnB/vpR0UXkTb3oGSSnKgIOuXim4m59CBTPaP5/PSMDuRUFIPQW+EQVuFEDAb46cjUvTUpv+ags1SzJIBuQ21+bVfXJxvEP3miv1zJL5pH1o9/sRbVnIWt8gr29qBgkaehwM8i1y/0PtGXBSdxKq53JMvvvO15P+2v6MSZv1TuhfQS3H5bFEFcSxheFdnoHWPXUtvM/713hZdh6L3Lm3ojedZjnf4C3nYc7FlBhFdiXIBxs8Lp5u1OR34kpacUttuLbNtno5dUS1vSoDKGtdQwsdAc6Wd5saCl0rxAsom1WyJduE52s3iHUC/jh9ExmgciZOCnOZa7307LH3HGdYGzxrGaK0JwA4a2cZGQmJ0ICD0H2AQTg+YxKe7jT9MZ5OY5itHWje9sz9FKUTYlZfBZEvAbJkEAptT4UMxT73Uu1oaEuNclYaMa8uloYnBrV9kEZsrSC5bWP5JwX1vpFucPGTB1vMidmWPZspPBZjlVBHvrGMOjlazTCEdOYgod1vx0P4iHdqvfFTm0xA3vDpwihKovHMObLyA2zHawdgNa8cqrvpRVRhFOeP/fyO1113MtCCiPr/tx9mOwCSjmDDicD3tA6KAEbffMrNbYjZXNu/yoCHyANU31EwqutVAoGTrXSPtNvz+Vw8gS5NBEuOc182Xk0OwqmP/bUSfnTEwM1IamIOh7vV4xNFg7AxhgTmY6t9tnF7UmroFAqEJqorS/NPbW63jNX+lDgvG0Y8zksTvcw65L9viq1OvICPSkYBTWiUutWSGlYy1+7C7h6AOvrkgWxCZHy7XbPIUPlc2PrJICTPqc7/yDvbHOQ52XYd6WaQNaOmFLC18UPwQ=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vZzcH/7jHn0qbg0YJZHacRNwFkc/0hWo97AIPcAIbfyRDtS19YZYF+F0x1K7xlQN7PgdzEPkoxIKz5HfHuLJqjGJ/1bx9gMaBlzF9lO5iHcBfkOZ6ctVUSVIgb44WhNqJDHyTuAqUPHb1AIk/Bkltw7UXfmDj2fsNJtSe9oaFobn2Ia4AlJYb9FFuaMr+3Oxi+Tt5Huzkj0iHRBJvUhd06TJoO9DW27f/qBXfNm5HYKV3+fFZ3gyhDzxiP+lJKEgwvhCU5oCyss943AXlXzBxR1PCTvGc9SG5Y/+JossGrDwzmv8iVgralszqfhorgyfKK2cnC2Oltx4fthvdSRK6nrx+PQP425cZ3yVuLOLflmeVVxiaBLZTHScx2lgdvPeUSmwtq+iCjfFZgJ+mHjKz7eyG70BF1UaQd5x69FB+W/U0M+CslfpOKD0s/Fo017+KeHL7aBLk9OKI7o/B2dEtMcNzY7gxSqb8GDWfo2AGPfZ8XmG/D+SiSr7dqoOPvggu/k3tfZCuW5EbxBJtAT+liy5juQxD7vqruASKL+tM8gto+HGkDS1w0kpyxeSZd7xPca0RAA4rDkpyE5XtujmBe/rMhmxNQ62/mkKgq1ESLgXccN5dh/sInPItpjkTGFSjPBizlpjmAd7NAXQ0A2K7VsMYoquzxH32VF/iIFDxwu7w94dfeiNBdt3OAsOhOtLYYbr45UHduzDcqeCd1OaRLzZACOgchMrbEIN1XgvQI0ZkIJ/67gOtnz2tkm/DqXc0lPqTSg8A946Gp4TEIZUTo2rw65JEtraj2qNf+B0hSqtcdpU59/Ls3C5zPkKrXzajkqUZfulaKAFauc8ZnvvaSyf+hlLlF0kUO0+CC40IJic50/AKLHYrNKmmMaVcmTGEe+7GU7yOxqyGFwWQ9FVsTZX9XAvA4kcn3fxlrXpSUsMfFCu3jS3dcXa9rq4KGaVBLwukFQ4yFf4zz7mdiEI1rL+8p2qk19/IK3R4YDuzK6saL1FnmxPw6Zgj2QVgtSTvciCV9xJDwOMyQLpkKqviJrMMLtSmGtthgbWZ+R4awXpOAgWsJywYeyqTPPHz8JFqm6KthICRbRnoLt9hSp2bM9N+e4JlRTR26uh2nrB5pWaFQVLA84qtrzEQp1SzL2CHFQ+ZNvx3iTa82CSMS5oozko8bRHkwk0Ims40n91NLuYNZYSpzSwObO+g3sWaKBMPY+vJQdcbeRyLFVX4Tx0HXmyhdGmmSARZx7AhAszD/uKJxxVH/XyHmkua0lyg3LDxj3isKHri5bTqBqYYygg8GK6ZfK66v08UQGKzTq8THvfmbF5JS6q1g8gKZk2iHLxki/oYj1VGwDlWkJlo7DCh1lVQHWnllwUGqRGU+5PXG6k6zIvyT6FkABzFICIf5L7ShTqWDQLU99ve3iSXenOEj9KYgBLcyLKcnXC3AU86QzLrE2j1DVMA2qm//SXcMN66NCMk2foX5RR73gmsNKBZaF6MF33WkOyqZ+QBIbn3X5sQXB40Ggm6QldbjbhZIROEXa9UhoV1OUvjJx23YE/1j+0jeBXKenBSP9AnuhfqBG9k+6X3mRkiw40QTSN+RtFv6LfNgkwDG6rhtqhB+Z324vlTpd/xdz//brPXqOVxr663/eDz2HDZESXvP3OiENIrfl+5uyOGiNM8CU33EbmE9zI9vzh6UGrgccXYjv8JqwS/9tQN8V57+8YyLUuNdNS5F6wP3dcelJbtGeKgR8UsDs1NJPretWDy9vLX0b/pBaTCvdygGPpaj97xr+P/9ALF+TPom4x8UliXJSfYlx/qeL8kLS+Z2dz5XsCFRarntzzGS4xAdmgiR25M4YWMU3oNnEWJeVRGoFugX0bio7UumnefF9/5F1XYLcUhXJ5cjL/CJgxJW3NDIbZJTlzpxAWVuYYbCR0gAHEsD6R+4apUaTzhkODQlcg6s5hYlyc7YlvdZnslrWH61yGLKGL2kr5HI2t4/IICyBxU/xDUp1iOpkc1KadQGNRBwVL0FbPo1Y2e8osA/Q3Qo996JjD1U1+Q0vJrmxZQA8/o0Fv32lslgcZ3kK1f6CNowttzzeCbgEhUu0+7GAL8jRwrjgFQBCnvhw5anIFem1u0Kjk0Wb51OD/YJdOSbrWabcQ9ved+PEHeIkL2AtF+iG0UCGaRYyvKqAvTOWheh550cvfXUzObSnTFMOrI+9HKszCLQ9FIxmKZp8oek6BbYHukplPzF0nTzkqckdW9cu7UtQyDfXReUDdXNbyji2oCb7kbCXYDUoDInxsu9Tj7m7fkjnQCIE4dWYyl/xUm3NaWk57hOJKfIpSAG9V9jNLgWjzkjDMaeSHFQQ8JnMFaDAzyJ+afNk9EdLqLRrXUTzrYZZWIEALHuLEkHt7/draWY67Yru8gcmBDG9ztl5a9Fgm511Wl1LDcUGJkwyzJWmW0nGXFYsUjHjolJfNTwpKHN8t+U1nGQpe5HsfM7I5cpFdYj5mlTFL6m03kkMZr6dCFNZmprMHD/FSokkD9rkHSo3Tp2lHNWDwAom97NKWVkO1AktXlo0oiJZVwD8dFdV3DR4IlVqzMp0GLslsV/auqlo+5dTRdMXzTNncqAoJeZqan9aZcCB5+hWGuTzdJgHYF7qvxwvqIhrNklQ8mmPhMEW0UQyHyQOwpWVo0TLV0fOAvWvnneTfZmTTl9DWGZggUviqzuSLPqi5mYY9E5k5n+2NboHE3iqjSqn0OqD/cUdvuSqZ3oXnEG6jh10l86Nkxuy7vlsrofK0NuUzbxMRoxTQlzpBAURIqaH6BjVsi6gKVELCfQiQtOexaVfo93inA2XAkg0R/r4nPQ8dfxK0LrwWGCdYeOyB044/LwjusHNc7K2aKAoij8+hbgD00LHEUdNc5rnI/+/BPKDNIGyVXKEYIn0w6Cyo7bG1hHiChsXX5XQ4tCO5nA95sEBUAx+pmlSP8Sp2XBXSEcK18aE+8yntGLRwToxIVu3lPT5zAB47Be9x9l9weHFx7t6bZ2YxX9Cfcv75jFPNkAy81xdRvBvxiRlbJdYz/+YI8MpFWKCkcP4ZfSDBJ/8rK6GxXIwNI0i3h9FGEh4hKSmui7WAQuPtemg1ifjZJpDy+boMoUkMYRa/sDPQN000odwikAvFnoazx5Vp0dsyfneuHYkiDcxiYdF3sCSyjHL1Xq6AhMdk0g7FTwk7WQQr+AO8+XHJhEMcVUSe0BWdKUqjXH9UTXSDFREXtInx0waLVpM8T9lAABdXma6d9xhjbvmg2pczLXB26G/Wo0p1AYX3VsY/QrXzqB58tCX5fDNsiMgMqwqzkp/UuEf7+07bZyVrdtw3D5ZSF/kpmUkfw3xGxxgIAUCnLBb/HoclgYU3zgSeKqTtJS/tG1fnk5prdQoALJ+dQY7AFGwVAWjFPojbVYutGEnj6qc+Z5mdwwTy4tcS+h3H9KQzZaJ243+Bt+o5a//4X7+eJ8es6RbalognwFo+K7R0Qx4mJW7zRafc6Zo0tgSiwmTI5tg9jQ2yKi+Wm3Q10jta7W7bDFhoxhyYvFghJmLT01FrNt1WuisNDhe9IL6Y29wkAwoKWqQcbZCdbJbSuy4Q0iGtTJ68XpfDT2e8xibX1/TeQcJkY1t/JMbbw9+PCQLOwy1DW/l2ttanUKwyaYgzo+Fwq2qvfk/xZUMhDRfMpPiUNSn/areo+iR9DcmNkwGHZ1lmJDz7NPt1H47WLTPp25BhLAEu5uXa8pg/0glE2S+2pARwPbKfID9nceIzUxxRJYyZdTDyYzUtGxAIA7Qqk0yw21UfdR/Q5Nf9kVkCmmvION3jsiH8qk9THXWT5/EcHIcJHv1Bghz6ymZa0+A2n9wXsSOoZhVugWrfq2ovOR8/FJuoC54ABIAjxqWoY6gmZ1Pv61PmyxFiI6++hVv6WF+ajCmmfs8MxiLo4exj5EEdITy3RBoBFiiA5aFasBn7fIGoyp1GPyh5OHan9GkFzyHc46vXsuG/+NgHwdN/HqphjLPTHUcsnSjDeAgawT5wO7HHbmMnznysqgMcxNsKre86ppa9YnM0Z8qq2CubO1YXSMFZNM+qWLp1RvUGlc0oIdkpu+jfjYSAwFAfpN+blwZ7yWupr44BvH2PriWdy8QTFjipOu3kQUqYzhHH8BpDmQfTKX4n0993Bii6hnUAwe6ukn/PUTa5aF/GMVYQ7ObQOZkKZobsDQQCRbywyYrjE4AhSpiBmM996+b4BUm8UZvrU7Ld27RYgM1Nqz+oPxFMJRW/JB3upVq1Lm6psGosWIKo7oBFYaQQNV37846iwv+6k1tCbpmiqkuaIVXML5xIm5KftQqtkAjwuK0hksb7F4QNkb5BziweQF3U/d+ZS9C5Lm712y4wLJb1pMwwnf34209iSZn3VHPxH6mcMhzt+te6CmFrVwy9OC47N1Kivk5i9jv4qLgifXMETyhL7rpCRfIbER4dIfnZhJ6gM9D8s/CwKMdSJjnbglgbp5bdXX2URoYR3zY8uGaKb4s9UsOS/zVx/9X6Uck1QDvDZHukXx9pu6KeWn8TaQNjMMvegFcbeMecRqsA11JtgBVAbW5aCwN5wI6ZOIbc6TbHYvAUpDAlUFKnN4N8+lxw8n4oA9x3eN+sVNHcsqSb3I3TR9es4zMoE8g+zZPCZO0qgwamgHAxlqy0uMNzuirjbumSWWq878tepB0Rn4t0dUb371EUM+dwhE9rb/5R59H6sRzhRIg8fznKdFRfJE4IBFXC8mEJUCS3xRwkfa3weg6b3FUY5yiJQCgW1TMeP6I221oQvS1S2SQ/lleJhULKGLGwIiitlbDCw6ErBC1T4HTReeWTif6O4RKKkn57gH0641tG6b4kdxKW88GiwJYQMULthENsmZ77FmD0qv3Tc4y+72XM4bdChkJ4v2GPKSY2ae2uYPjOTu2TqC1vhdyCdeb2z8youTWiSUGNN7TaOj7EZhma8Kazok3kJsgIhwxeZMvUKah1plyBiFvn7vx8JHOjQ3IWjP5uYzGr8DnkF4uWjpfc9cgVD0Wt56m9Iqw6vecztQYKtQar0ZKft6Bi67n+XJ94rAmBRsI/aGmVhs/KL9uMvTDktIa+AG3Qmx01Y162lhnecjCxIp5cMthmlzFMDJ6yegaR8qlMCVdY/msn99ixU+yWmtbknwETAiTXSIBt/oPbpfUki8XysxuveOnIehBYHynKCK3Q+aoJTflkSaoUe2iQM93nRgSWJ/aTzuq7BXs4iDUaf1jOduuxJgjGLDqZZ19Hl8KPyMQidOYSvSi9N/Codp31wqSnRvjlI9n6JTdmCRKOGzY+n+emSreqjkX28QP9VLkLXT832+l/KwYsj+qAInJkHByaK+q7KyPaj2ywTt2QA4TCC0Fyqa8q0H6OTHQH/3RsFxfA7HGMCEqAi796sVOa1fpUKT2ZeaQsuzWTKqoa7Tg8Mr5oirBaXRU5Xxtenv3bxEqOmFr5Jx+eELthEtxrT/wKRPzP5+eHhVwrQmgxD0U+BFJOi5THrSrwDqzmPZ6zEtw0H1UwjuCZd9Dn5jzK9YaIOSkvqV27fIZGvJMoHg2WxwcVgm4TxdxxrAL9SWUGgMfcH7c6tVa3zAd1W37YRLSKuLUx/jKGtqqGiIyWY5x63Bfo2hEluMR6mrxdfhKNMFxyKBlIQ9kOO9b4ck3W37z6o1snDIw1tKOnvZNQFWfBYZd5zV55RBQCXZ9thUhnq5ct9c1SZwsYnPh1jbBeGLw1iROJYzfRTe17dgiEkbcgZ9AH9AL8c6wR2TNNtWOtLyGzsBH5aG9s7Per64F/x4NXl46vV1MV2wxQ9uIpudwSHSpQ36lXUyLJy1CMbxYYSfvFuJJZgLlx9Qd/JNRZs5FS7aAjggWz/nfUs3GScL/2lMbovmir9t94InJ6WMPSBtlg1y9KALEFtXGuvnH1q+1m+yNXq8Eu3AQ0igDveU6NLvRMkfYB/T/s5pZdYqWgLsP1iGI87L9WkgHnulcEwg5kS8fp89MQgXU5Cx23h6FCYtb4wZqkoH3YJfTw0V/sBTLwaukl1RzG/2NE8d6b+hcbzhccix6MEfyPXNg6lWmcKO0lDamJC5K1szkFSzGMo/sD7gdU2hLnZJ/bLhwHr0o9doJHQoLbnThi2KIo6yCbOrySydRpNZDipsYSq9m77aHGFcClppkg7E21ttFz5SN2C+sERJ5jVlShEV0qM5c5dvPFha66tqtBuELjR9spYFv8eP8H4SxrvHIucj7FYc/t9xUzTyDXcm0YfIvpJ1hL4OzBqkCXeL8jSIrXz3Jv9G8Nh5973s2fxphnbM1VKhzH9WvVLh5/Q+YhCx89fqOHVtk/KGpOHKKqrDoDNsjV9GwigjZOHKjPWGbhEOs51U9ySQLRUiYRhcK8Is0MJeDEQlxaqr3FaIEK2JNXb0XsNARGBuEkBjGVufRpcv1JZTnhuvSfDOFh/vUald1cRSoDrmhqqoHGjioG02lz7bfWNMVVysGiZl4hwGT6hz2oTDQ/vzc2sM4liTF3lTtlJyUhyFDaMyVenDypx/H7csQ8itDAARZCbJPH4QfIqcnVeoQPEvAOOxRLTeSJtY0W7kb7Yt1c3CW8BlRjX3/TF3OoJXrgoBEvHugckxCYMacdgVK8fq+vJaorSMRiVAximUiJJ8+X7Fs85uV0KSS+zW7piyJhklvIctgRm97Ea/6P91HVGhDhWbeEwYJ/L5eKIGZrTJ1l+MFFkJMa5TNkZaXPN5UOtJVeqRFrpDVuGuKZShM1kXfVoCpZFA/6efPhRaHR7y6GNMvSDJ2ICPX48S5By7b7iY0suzLqMAhUYnRvSraYZTYdEAYj5P5E30lKRuWOV/CooJNUBr6WhggmzLlvffGNvPT8rAOddTBV1j7ZCbNUIURc+uIa9gMsx0LuRkQkwTui5a4p+6GOBLTrrudzjzeM5HvS6gFJYSohmDttpoaG2HL8DJ+EobiD4qXXpLuoM9nCacPDk5MBzD13mkNYab/lSodm0xHIKkdTOlo4IcmKTWCAzxDMqRGodBl+udkIGbVEq9n/HYCALiJSZhPM3F1ADtGcAUukdipb4sSoQzOmiU+FyafXdpN/j8oBk4FQgW1CjoAKY4ie1tCsPr4hkc9CzRTxfszLU2ClMbH5S0yddrimKdXy5hPEJGhLDjY7CHNRXZ8m5a/+L01lzT5btf6FpVMzs7mlApVXheNzXJ0a3QrvecxvW6rZ6NEu3KkNFuvekIuLPVO9cCfq8RbcCpvwmS6/dzgHSl3yrGQWjh1Z/b1/m742FfkghAz011Rd7lEGOFSvcBAuzfu5ddTWFTmdoPFgEQ2WSy74LZPoASDZnFW2WNqp5WQ53oUKD47ywqeCKep1hMrDfkjpfRnbucaTkyLVFX1S5JdAo1v/RxcOqDOeWBt+hdOmP1qcOsotEM6TvJQcfUcyV3Uwfy0W43/7aalEVC7vuPK0CRrE5GVOiiA93Vr0vnpZ8Txctw4BWbHPtrI3YZAWGG2Tfk6I2mkA1AjmIBlkx+/TyfUDZHTW5kpUGUe7gPAszqvLRA6RPxsN416arWzcCbsK0MFSNKOY8kKgUL1UCK4TjD8Vlp90hvyn92sxz7/iuSJDRzQ8+GkdYmPtNlvZ91DTgItQZ4l7/sxA6s2DObl1MPxpAq4oX5kv9cOI9sHVav7aiD+reLI3VJ5VkhhzXvkcTbLww8CwUyJw0VIFVzSfC4YoaJuAsH4qRIIMj1AyX/akKPRe73XH+vOu65Wuy1+3tx/IlJo9DxhnCzbphr3hOChTn4SywgGRYgfy8ptkfSV3iHGDdXqYdhk9MNZidy/t/SglE/5lIz5bt384BJqTDdOVVndKSS6CWvq1BCTOuOTUvRw63/E1Qk8oQkE0r00wooKTZw5C37AFCfFCGkuvYmjj5BtbO2Azf6fjb5BTP1HxW/ocbRsdP2QNODvtQCzHoC1N0ZHyFZijIMfOps1anmXVeKShG7Ry0nEejyaqEUPdlzqKHtsLMs6kT8Vp0k9Ch/XSqcDVjvrjxjhkVI5csuFAkPDkWwHyogKSf77GqPHdmLSK6UThkSNCqOE1eOEvmRKD7Gv0aG2yId27/T1sBRdz5/PkPZOzHIiaSYK7Fj5FZGtnABm+150hw9jlUImar/tDDnb8vKCV41M9sHhjYXIJlosKhDekY67WHLS3UFoiqU204h5vLdVZNf2n+s0QUuGQyMl7ooml1CwcDWgoPEZgAzzv8ERQD6xIME8Qx/uPf9Sc0tgcKzWXv+O0Ao5Z596zKEqUsUHTJpqAx1RCwbynPTnLa2ISjaM3KJshrb1a1IW3/0QIjbOpTN/+M88f/q9vLaIlcR21KxHlyZ3xDbr47xhhRQFVh5+zpcRDZMumTwB4szMnqHFecUD3s8WpKZ8Wr2Gah+rosjpSM7slEto8iZ/hqNnIUfhw9Ua09khbaVp1eccdYHGXqJASnS8XEbXoHcqNYHx7q5fxA7vH/9h7J9ogOsIIa6Nh03IrB1B0KYxzMq2n7fOBJWLiYPorbqQsXvx7TfkuHBHszU0ESTRDbx6CbEDll+8f1ErRB+8HZaOjiO9LvIMIOXwkrf7A4dYwnkwa1g5an8n4kWkWanAPreRq7hSyjrUqiBtP3e49kPh9hKFpAo7sMGPDJcaensuLxubJfVcicn0M6pp/ecnOjYeKNxqkyd3kn90cI/VQHosmmxRD3XZxSrOhdmDlTrLK2Eic3uxVYfMeIjFoMAwk5/sLZgkUrVnPD1m0lxq4hXrBewlkKH8CJbKH34sqSuDZbHFqNndlParfktXc9QO17XILn08PrmoOPk+cIksqWhGIgRqG3E5xEviY0rf/EQl6DqveYiaMBLK4o0ORvyTATT2xPGWmJxpiEZDmslFFYUMo5bpqJP2+EKbGby8XyW1NgylGd+KMQfVf5UUzsWyOMXsPOqMkQjB6Vs32hQB2qXYRlYtqZ/+jE6QCIWF8wWKbFW1Xzb2VNNWIZTEF8nwb5TiTfIZYEAkZWb57bjIVUl2fzOnm/Qs2xe8zmXiNFPWvqW3IITXWK6E8fQ/oUdNvS3fdIjI5Ggs5XAG2C/sJ1KKXH/DhdrcFF4Lxd5wvSJugCegjZi/uhbKgjyBozXfjhETzKpDCW2tZlggTuqlC1AKhFj7rIUtLNDRqGMa1JnEpu3x6AsRLoFBBUSjBXxLXET5n52c0QLONiSAH5wsIYG7SuRQG+DGmRc4UXYwDpvu7s32y5Ym7EQZ8ngHQ5ljkUdl05nmdiHcwyNAbntyDIChzTfXDpta6lUnKC1uim0eST9KhFpSyiadIpCAW3Eksob7DgMPh/2LsYg9C35jgVUmoH+QFSJWoXVvT+P4xtUXYbqSLoTrc1mFJjnfcbdEABmCLhuUmDGO4ZKVA3E+dfqBR87YmQYRTY4K5iJUGNXIeEX6TSxoFHQHmBnalBKspahhzfKCnNIDADlvPaz2Wtx646+lkBlS9IbCPQ3vsdHLYB9yfRXJIHfJdo7N5fqjNNx9touD2PL8/uNWm2llSQTCF+vHNrMPSe0UcnmfBQW08mvJvaZDieyY11IFU49DdiTkoDmmU68F3i3yrATye9ZntB0jKjWQoqrunMYxsCvzHMd8ckbBYwMZ/2WOYy08+VB6bw68uPTeFNP1GzIpUxBPR6us6mJXtTZz4LH4OYqik4TJU6I82WqgZ1KUQ3Q8N+lHjEXp7VcElfGSHI6qjG7jW9wJ/f0evAzsUuIl7AgWg75dvGm6+olkUIAIc60/+bAl9FoaFECzMRTeCPvVpc9tTNaFzqTrVtg/tJmZGkg5wqTfPM1+H1172KTRROREeGOFnZr0wcC2i6ShtrUxUOT6Eef1WNj2KFU4p+i+zHU0Q2Ko9a7O9jy2B+4kIshYnHDWUbFfwa70untFf90EYv4em3BrJGy1e6STFuD1GD5ymTpI9SGy4X8QdmO3YLiuBjygH7+5xVU1+5jAhbfykBif4OwpHGxbMlnHWGURUdjJ14WjwQmAlsSe1MqN/7yPHV14kN18bi04kzl/xNdcc4c/Hyc58yr4HxKnINY60vMaIciadv7Xw2RWZJF39TURAGLE8ogOXpq9IPm5qN8YNiTwwaRdEX3ltgvQN01Ui527h3SNU2rSaQWJiAGf3B2ViTg3q0wGV3aAId/XZmiyH2tg+3Bb/SFBGUrapcCPI8q+qYlPMmINxXTuPHfUn/u1jI3wtaEfIM1ITTg7NXYq7ohHF46Aa6istuk/THFNrVrEMXw6Erxjs9oY/qEkarc4IZaB3aF8r4NR87dNuiplq6N5QjJCh89nzRz8wZDhZb3h9dB6w6SgIr3azc7gWU7CB54XWRE8Qj8af5mdKw0XhVk225YTYANJLwu9syRhG7tMgTnOkYj4zB4rUsFjVluCQj2lgTmXpxWJFZklxd91W52IQY58j2wW0EYGGFyELn4/t1ZUZjZjZdT/y2x3ezUywOr4/QqWaNo8vbPko2CrYv0OLdxq2/RwyLMcEghdTPjRWP9YjhH1QWE4evNaxrv6SNRoMcyZraLogwdYn41cxsuZ8R1sSfwhl0C4oEDtqP/xh4MVL/IRqMtDBiBs3pbyjIcIS4WIxEX15gatdcNSEhp2XYn4qNdP3gC42y+zzSFu4agZnGiNVRefcw3FPF2iHvo7u0Kg/xsjtI4KnARTaHrRVvDP9XL7ySg3z4yRq1hJSvHOs0nL5svH4PVeY693QXnIDekcNCgRa/kHes7OkBHSyo7dR+RWppwOzLO0LKvz3Jdn6bEXrwmSHnt5jXUeYxRrxUZTUfKbXbIoAVnKkyuJe0uJIApg1x4KiKvIzSTzSHwRdA1Cg3ABgx6AoQD9RsnaY8BnVXLWKW/ezFaOeq4Wab2D7+8DuOY9HV9hQ0fPWPJBKm1veN7B83/Q4kl6PZXDv+xetYTe13AYACMDLYHx0V6JO3umNsSaW9gXiaoeUJW2u12V2BP2UjQdka49TsTURv7MKirJq6mbMlbFmwMLuhdh+tz2MlkRVPFVfm3gN2ysefSdVitRMd1e33GW6P8gsAmc+QXZ8yikmdc2uvR9YcQIpht7bwVVg7MoOJIvxAljNr39+lEPGF+gjZ736GzY8a6phGKpsKwzSpAMogLmlsRH0/outA3D44oTeTdLoV8Y/h/poCQT3ROLMU1tPxwhJEqbEyxKKKS+aBW4oG6yD7j68mZJqh3Cawk9E50y5OFek1yLmQY+n2ar8PH6oPcdWocR+XcQNbL/oHzEh64QJorB/1w4KdlBEnCN4AGD1S+ON/3lK9fQ8EVVqi58dAH8lxhkTSo8Uk5+KYQoTh5iweGSQw1HJSR64o4sy98mkpaL+h3DCyYHwGPd5hAsb49EDBlKm0upo6ofcB8hq3sxLTZtGdzbrX5F7cHUatmmJyxwnHjH5lpCoh+XgqrQHts/OH7lDFZ+HPgU7evxx+F4bNuvsrmvaY2FgZdCbXIIvoR4PD5naHjkuNo6mGc4+H5TMAq2OEhtNpnZIdb6f9tnGNKE+7XgEESOV6tww3iB9hvThMdxOWcm095pgOX147L1VAxr9y0ssT7gSIo1UwN+uxbu2FqYuL9n25v9d4uwgOs7QEZQAYWYpkQlN3lnw4E7ayjBRJJCxiry5xmStiNFI9+dLZjJJBMAJD+b8OJKNMFSxiBb39ttr+JuLY5OY9LQbBiZ/hcifawEatR4clkvfLkYsK60EyznWqmnNhC1doRhfHYvqYDuDomXu0aa1X5LAmNfE5sGz1cYfqD7ovoa5zRG9lX/tpWE4t3Q0L1fEpxsKfvYZkT3+s7ZiWqJKrwBgYhalkXdZxEV+uhGdMFv9SjtGvUnfZvZ0uyEH+dwNJQBLkNBAYIb08eWPG8lUSv3UONY2XPCQU7h6K7se4b/iamPhtmsMzMyEyBF7IAJth58PGjn8XOoaxnU5XJ6TlrqweJO9g0GkmyXHOYspEUcQrxbjjbnhcKiEHKOj5nElc0RJ2u0BAR9XKvAqh1htPCSQTsLlzIvt2p9HrJh01W7VPdlQAxEJtjOX5E0moEFsG3alc7UYFIL+WH3cjNxLk33M+2katA73iH6F1S6NdeaefQjv9ljWa+XXuBqG0X7EbXhQUX8ivU1voUK7SAyQC4I1T8Q5sQuqTwqlKGXoYlBAzqavrQnQiTzdQXj8AgElg9RenUcUcFBFerDvPNsWM4Frt8inbSaAzTMoMHRi+CZ89e4jvi/s+OQjfjkJra8kZNylqMT1J+5ugor4A7zvrHizk6tyBs6SlvCEVw1GRoV6Z5KmArkAXFarmZQROM97W6OZX/NI6lilFzrNfVENhWm7uYfEM7vOxb1UE9zurQYzBKDR4MHx8s7KkhVuCgo8nwyOdNU8UUYJjtkozTxPU0bO/Fw8GQ8sA4UWwAVHbxnHI9UZG3oZOvGlUxf5MHKawwHbwOZ9j5d20FoOdg1cxb1DZIVke/Md4wZ5XknE1597ad/UEQqqdGzANTurnAW87PgKKyRlh7bVkHrCZW8JxUK8KO9SCY+qhkXfySXG4RDP5rhnDjCbCQB4oWoBz2aAwdDFoi/idT4C3JjiCDz2VdeU93SkRKYBlh5RwQKMYtfpTL5KmJSdDsVCCV+xUSa6/K0LODTcbjHr2EtLADWoubn+nKByzRQh/9x8wGA8i6DUB9xdaOVdhNb/5M9t/Y6f9oqjO5lPT+IMV3O5+LkHrQAqyEDS74cmWp5ClQalmTu6LukBVS02LEkIlz0OUGvK7x0mBJNkumaL5f1xPCdiEvHNi3+uCiubrP/K6xsK3ZOyfcyCZ0i0+eUKuldKC7JLgfo9NP0PgGHCgGR8fS5x9IPlQKyCpD1CimuZaSmb3Pon82CtRqIyvJsVhyCxyTeFvh+UkqnbELEb/uF695KujOnCkgNLkhoKgeKF5Ji64833WS+G8DEvoEQ7I3iuxBgngXLtgwtlM5Ec0bPCaLkEhuTkd9I+eofcQFrgOT+2GpKS7yR1x7W7vHGpOjFVS5lHr0aN7LSq7cKLOcRcD5528pma+4QjMGI5O++QZufQkXTAFLWnP2l3wfB/0kmeSLapxaAU2UcDDSgD4PaQ2wk4HMa7tow7cYh3dXSYqn1WLaNMAz8P6iHshBg5z/7G9gLllKEUvUom3d0erv4gr+dhoGMxzADnTrrpMda89Z2Jj1lksq3nZo/VXehl5omPRK7qIbUnTcOZ5U7TaA8KEcQRX+MimPwNq0LNZjLSxLMSOPKxTtWEdVbTAJejrhs3HQFtdxHMIwQ2pJbF+Qm/U0lN92awZxLYRtrv/Utl+Fg92iQdnF/EnKyco7mJNhg19xQUBSlcmc+DuR3TmTv1PUat/J6ji+HY0w7jMtOqcoavHQvd2Om8jHaEMSSWDnulaPgcoaM7x7HQhBBC+DKV0l9jwVNnzNI9ctvs7s2zXd0tmHJIvQysXbYUt1ZB0gJLDt7DtffklLZoiULbjb/nSHjhPy/lqczE3SEXpaRhZ3623W3UigfLCl2QUENtOW2wmYQclgQnzR6/OzNKoNMbsD3ApGmGnc9CwibFeCr/8VoKvAJ8v3MsfqQlWX5WuHnHZOzYyGgScoYTLfXCRiu/TqnsLldjyWjZFB5UofY07TtbFFwfy97QPjt20FzBn7k3aDNKYqPHdTFjAR67Jjesw5A5jdOrhlf09JRkbAFTrfyrFtdFxTEQgEIDG75W7UL9h9dqRZXRuEvz0AT7qiia5SWwwA0Hg7m+P4Bgjt+kwEAs2xG9I7Mw8E/6warCfujzxeV0uQIskrB84Q+xqg2iU6Za20GfuUAvtyPMsgTLJ4J5kCU4HylJdk0Wj/Jjnq0qNe4r9LnPx9Yio1kUM+WApSsqSnQSdv/2NvnBhYI8exBSRAZ+NQoQKQXu/D+t5gfhdgV7BNPK1I2zeKUfkT+vznFUWS7IraTeJ5vEcLPyZ4afe3ooGzehkihFb8oCisnysFFBpUiDnu4Gz8hweIjgyG3CjRp6TPZFBLf4vUBkzexIIK5tGf2B31fx9MZsb+bQqphVVPhQT39o8BowQ3svE5mWiv/L2IqCAis4S4NLMFLVQ+nbghh98BANRATKThVuE3EBDBqCu4hL3+XAWtLHDRYu3GiRyHURtUjxuH2MEivOhaS5LBeJAPLC4umoLdkokhmqv4nx1AI25yy1Eu8NYq49ZzBtT0h0XLnSZJlH0n1//rK66epJVRCBtGRuIsTtbvzMeCa4p/COXW+3HBomc0fzPm+nK880j88DpzAaEtJzqW357qdWh6L71oW2SlswDlyggG2pguRv/0ulsGLdE7rWO5eWtGCsI4DsIlApFey7gd2U0dZDRX9bAQ5SuGYMYfvxHUaRfScVg+nuIVK41JnZwwWfY751YpLBYrJkOQ1HYzoydinfUpemcyNNi2h+q5cL7DhWmZjI/hlU8OM24xbQpBp6Y4jzKTilZfUIGleq9ZHPewJoJTvIoKlx5Ujyw93XuJCZ3LIuEuLMJ9Uno4D5zXlYto/T363E4EF1rq54gpc+p3VzgAe8ocZDHuCJrb+1BztqY/7Jxvam+o2C5j0jTunfijrcWd7QGOdNw6bY46B+wt5NyuK6ILbNb6Itz5ygeFHfT1LQxUO07VjeGYhfK3UMOZOfhyRMvXIAI2AhBeCEkaQx9Xtc37ytvOEFFWf+2DYYEz2IpF8S84d5VULQLEp3HqPo2VeRrm9vUXc3FnpOSiDPMrC3CMbmASWpmeUaOax8VQUsXZCGANJ9XYfCQv1y4GYwzSn/5rgL8MA6PjCozkxdVWInztM43jc6VFRFAruHSP2Ib3rTBqS0kymzjuYKWSddafaCDJucSJ877Typ5xUVFigLjPMlb62vPIkoORnvwMJBj6cusOINpW1n07wcT43frOcOzbJL8/y3J8AxRs8NlOtdl80P1EjaFzWC/MH+jfe7CdYPDcZdulOGYfxeltrpihdtazLJsGgbPpaYcxQQ2cm2VeEqO3JicU0uE3doM1txxQB7B50DV9VChEZ59ONUkR7B1vg50jxJM4pqyNKdsp2zgJiU6oUbQBeKqYn+lYo7e/TiVJvuYLPk1J/qsN7zg3hLcrnZnfvV6RIiClc3BGkuJgkm2zm5R+XSCvGiLEFxjERTuv2VGppaZiSjuAtNnQOnoE6S0BdebFT9A0rpzkPrAWRXkbbkugA2pkHTSncOY4fR4cC82e9o7M6rw605k8aw2uOl6UEYwI70H03v5VI9+PRx5Hc2ok0ieB6qM8kTCnq/iCAPNW9ZuY7mJVcDspxoMtAy85uUgPiW58vQQ3mnLXBJFX/Oo7z/4mm4YPBoXDknpuViFXIV1ev7CZ40SyBX2y+rZX1Y3Uqbl5fNRMA9Srx/6PgKyi0nai/F2ttsJm7z9CphtSPFfUxyyfrzmnIXWCFsjUjwr9jpcI3jYftkE9ZhCcG9wfwzjZ7SB7YmzJr2EUXgYzozNUux+xTwFPn2EkBlkXx0HMdnNQSWjzycQSyAlh0pcGV/WiJZyq4pqHoCGGmdr/lPjmNIg3mJrVnhf2F2VrFnb4pFWTA+TkE9qpmww8O5RxbWOrwsX6lW/9HV5p51lk/aZEAmhKpmO+cqwYj2YEEG98qBwkBTmtUUoUkxOP8ArgEtbwUVslIbfUT9O1t+g4f6PlJhkuOT0VPzjWB3ajpZ6Fi0qoXIZ6aTe9Mbsrpo5YS/QZVejd/TyKd4YRoJpxqQs0Vo0Lmny5HIcVRFy0CBxxAKzrFT95xLHsgAd4Ty9Fue7h5SS++Ssi1l6gxVTe2uF+Agobu3X5OKJEJMSwp9Qo31J4v7elMHaFzVtiqosrBfx5avU5a4Qh15BpEKC25RPvAgSlgb+RI/1SLA3ZkodnqUNxC6nkFP3Fy9nPPKiuql/ht8C+qCCXbxGzazSv1JHqB9pzer8LeEkfPg9sMuN7NET2dNbwceJXMjFpaYcp+cDHEzwZQZRODam1RgAaNfmmG/dYehDsE+T18+25YUpZZxjSD6DZGql3I94DQbKuW5WYRkdqJehLQkkl/vFOJJu/YleJEd2Z4KbEJUsV+QetELGMYc15i8MfDRLwrl6KGxySL5vKoc78d3oBo1GwQY25tvEYKxyGU4T+xJhMCs5TtOimBO+3lRxySU84p05gptrjcODLnUuM5t7I1s/g7NpVUccYfFoecrH6ZRF99PqA1qI6yz1z47FWn5t6G2bBoboT65j15jqJQdDVYMkBE4bONkqYmRYQfIWutwj1T1gxwSErJaf3sx6hToPrdj9OWm5Z3/nnM7QA9WP1SVTctHXSm43NNnJD/VSoXLXPLeHgg4tH2XYt2zR+ce9/ZJw9rLlgc6dpUVRDv4y70yJ3Fzept4hoxpSH6fh5Cnu5Zz2P3WcJawKLv8Bf6wqnKUYdGvDyTZ0Ok2MMjeOWK41cD+L/rVOmG1r+b327fOrDllMWJ1vZP9Tne+DeYx+tztsL3yEW7ZwG1sVgWwyY3gOVl9R8f0sOnStaf7Jv270R1wkEGVfQfTGNbWLvvAaAvSVvJBESCwAgyGpKi6jigYLdQ/w3ecu5JAr2FXm405g8LPI4Ikdg3h4WUJ4uMZINtrxcewrx3OcSrk3NZRqfq33/8uKD8gcgcj7Q3PfF+ni1lfhl+msrKigTuJr3axjpmDx1WFwGg4a/wEgvPtIScvr5CyO92bGEBHxLgntkL6Yij4acKdAg5M07a9H8ACfN8d8gQSnK3tTM/gDIeZwqQfwegeW1xaXaQ2kjulKkA7m5bx/OImVulhn3gyJ19KF8y7Ea6ecxIW8OmDJviubR+g3SbR4zs1Suygn4k3YlFuYlxLPctKiPzLH6gd1yhcfujHZgH5HeEnfqsj9QhcaZVVvkbX9LJZ7WI+hu9cvJeHh5wIrWPYqtRA6ZxseNRYCS09EtBdeu8ZAyg2H0fcbhmoNk/bHMsskadpT2d+sbqOP3gxCpSfmPHjsMI4QBQHP980K7OCpdCVxyLsHVPNGZMThX9mx2/kL3UyKc41fA6Q+T7yQ08rCvE8eQb9Y50qtFPl8sBtOtdyBwhc+TNVugk8xdDbEJZrTnQrySFT2Jdm4jae9wgJjtD4Y6ngFb8xBWQZNi98h2sGkAUhaDK6pTLGHW+y5BTciRdv9FRyJv6npNIpSc9qlCgensyQp/CwcUbvg6RkILosYEX7KhAuCyx9I22NIDkYK1u1nY+YcJoEX9L4JPkzr3phCDTkiDaX1tCR2Ih6o329ugBmbz/L5bZ7xCI6X6Mc/HuIEvr9vlPE4FCynwv4BCPgSUt2ht+ov1wntSLn+kB03vUkNNo61/3I2IKU0NvGGMnGybUCkYJCs2+Y4CxaANSoWfeS7mjyjgNxptMSj7nOOHkpQJ/r+nGGuSo2nP3ZRq/lhCvV1m+3nftSQBhCwlhm5Uef6/cDwY08kp+vk19WIHqSiUHQO6KYuyqdgrBik6QGk2U/+HzlYAkRcaeY7sztRa2F3wTTbgfGoHgtO1uFPmEU8R++2OJvQHU9sIcckjZwA+CKKnpve7z+Nzy6Ku58QVsVVICNQO/CEiletOwocAaV+fnRgADaIMCJfNY6s0LaiDUzPRJZbv+nxHuNV4o67CJDxEwmn0Z/zxsnCD5xkgG9ycTYWHERWSP9TIom/fm9dU+saPhdKe6XpFQ3AAH2H6VKT+3eqZ3D/EQPbB8SYSs/b3d4LHhxxL5lL1teU/hMm5MFOcqho8YhdP+P5wT68BgxcWFCd13zrq6RLVu+mFLe/cvSzQNL9LjrMsZLiH07uVfXE4DP7ChzIaCbb5bcI22m4fPIqC8qPjAQm2dGpGsoCSu0Ye6J82SryW+AABY2ry//+/pHTlolFGUwKw163/fut4LlWgtczFxBVqppNUwYN3Q94/Fmeuk9gXaVJC3hq0fR5p+jKNXUYL0+T6WmM+HWUL/g2N79YJ1YmtWMdsGpG+9BVSLSSzI1rry4+RtXMW9EjvXrYUi7fo5GbhJFfJ/A4MaDA7YCdira66S0p0KdYHdEHteMwj3rQwuUda1Ia75EVrA5AvKF+1I8D/mG4uYH2ZQt0Q9pmuQ+FIMLOJukzZ0mgR0zHbM2MhD9JAqX2KgQxezLzbm1qlFwpz3kPpt4NuwUsUNzeDOrisPW0hXCA5zZKYTiuFB64ByT4MgisVfJv5AWbokmYth/8J3qey1nmvUGRNWyanF8WdIOvL13iC0YMMLO2QqULJ5BaPJkifmcxUt/zQ4xuk2h5LGYkYOCU9QC9snlidvuEIX68AHlgOll4b92hhhQk1pCaJf3R+qxpUEFavYs16qy5Ir0+JXMm2+qwLET1BzyxVd4kOyYcPsrZKDEePGexWVbRR2ocIRky4mNt9IsCvqtwp6hvOqdqxLGmDcvxA/0gGHOP3xymDkm8dqIIxktG22gfsOpLu8aYdA9xOtUiN3cyMA/fKSW6fXxjCqIzTftu7hkjCEr9NvaOysFB3vJYAMKa4J9wrgJebbscQWviTqOgtVuEN+i2dn8zlp0zmWuMeQZTHSnquGDm6QRx/t5mD7GagqYFLvamfubRReyp9XvAtVoU/vXteuhSW8PrUOhjedDMnaoyEPl9Ikj/s5QYqL2FKnJwozoWk/GnzW6sE05wxTfOd5S5teB/kvbEVMYzv/oWJ+Ciky3CYqp9by2TeXyCb5gxLuvQFWgGBin+A2mM8Nfc1XEWRc+GkvNkNv/A0wpqU5vgtmOTJ5Nytmy0B9QM7xEuD6KeaF01wEKRLAZpIJnUEUEmSmMe5w9DzqaVKRYZQ8t3Hbya1e93zF1I2H+YXJmg2pzjn5KlEEF6InbnK7Dkvn0IJn+aqZEaiBIY7vZu6wKEPCu3U9cIQ8Kor+XdsAoWBNuuLHzZTxNYJHmW0PW3AsaXY5GqlHCVh+7R++1YqoeEkf0qadZCH1zQ52VnNO/EazNu8OdfmHz/p8C2mSkQWOVic79wTuEZz2rHej46mvMTMNOVEoDd7eilu5CwwFbS1QK1a23uELTsc6iZprdtRb5pe+nZYtp0CuhRWtVaS+W9t7IldPjuy2d2wx39KMznPWIS4IQKMCDFnluw/f/sdtQ8qPnU33WM72O1E3Xg7jGumNe2L7XEu7vhCOHB+bJaQgz5QbPjxx/NtAbib0MJI2az1UW90ItDM7D4mmORJC6HbPHEbD1WiFjNZ+sOsmfCz14j2gzgxuLGsH9s2d4QGPiboll0/kIkTbWg+bwiaK2eZ0BPXsbezS1W9CcMU4zCC+yfqxnWTe1cKk/5OckSqa1dJ7vpSRBqkFkrcThc0uhzJlkEZiAIEvD4TsaM5BF9pa7lymPazh01gMlpneF6BftU4LrM17YH6nBFNu4bdPiUsDWhrw2CAW38+yFSo/AsUeVd6whgCobctfHdXhKAIH2BbwQXzGKlfjTl5rLsrlgtJa/rWEGVdbnbxoemnSkNj1OAccgIFrEiv+g7MjT7dClmObr8kdzeaU279vsSq35tsJK6eS7SD4UCujLoyWQM+2lXlFR4LcgxGAamrFeceEaNxzCSanLqgE4zizsQ6/kXOl9JLOjykJlNmSXiXduDKfeqov8FjVr9Fv2xdurnTk203B1diTNI7OECI3+C4RFOGOLiGyj3bYO1tG5Xx99lcW8jr0aEhRcbo18Irv+fkfjCC9nBcxp9sjfwzWib4GA3RbCuhECD8inCMcomFVv8c1hakoyTXg+m/SXiXMsqPC6RWq7sCEcITzy/Fr7s5cV1Qn+PNgdV16N6jJQJ1DZ3l9o1zjjVzqj+9zO2REbdJPtpdasr6BW5zHB/fpecDjBECEqd4iA0hkkvIdZMy/AnfMDcxayg5SN0mJjMZ6S5McV6sQsVubXQAUrGpYin34ESk6wYE1qN51ec+6vJ7qSHIRgnLhEz98uhnzv7ETrERdXzmdDtfUKFuVb/ITcB+zIqpf50x50Zp9zi/1NiIBLJVtXW9FBm5SqZpt+OaFsw11RtdpQxXGZkFMftk/LSqBX+8JDryzMOm9I5q4w47mmFIzwCXF5Wlt8UJJjGlV06rjW+SPcxN849CrN3miFiFNTyVaY1+fs0Nmv5DsZ1Gt6bUO+l5n4xgPpYm62k7kVmLsYonZrVir4jVUD3AEH3iKqVNVwy1dMHzFDNmqVV0frTMVV33OwwmafOmeYnP5u944Mvled6bj6vHKU3HT0/b+yYhSVpTyFkIOFY9J7/NSRJfvLVKDyP5y5CcVQFSQeGUuZWz6Wz979h/EIW5+Zg5iSsz1frLsP+CY9nEplya11HroOacS8mZFMXh1FSiMgIYnBYdtUfkH22mJknPqvLFHY+uE9E5SRzyIc23cJHuS32VLoYq7hGbPWJLvhHEgX7NOyevQiEcjEEI4302QUC0vt11SoLSa898wqoFWK6ocjnq7z4jNpazCuDyde7wLZrsy3X2OhPC8LW9wbcvmb4E2P5mLZ1xGtKdV/Q8w+aOolTfaddYZOkDf04sFCYZQ99+n9mp/OGQHGowfIwGa3v75BgCK1PTnCBUJN9w0X9CaHsDx2MJtXBGxqImIUJ2jTcHjwX0aab17enmBYR6947FEHRKBlf1nLpe7jeBclZHrkMBLordS4/2Apj/KML6Pl2z9vf7TFSOoxY4LOU5NZm0nDZEBAknmGPSh+BhxHuBM453/2FG1SObFNV7Q79SoNJpXdlKbK6dasLXqYSdn0ZSufjfnGKbElZ8eznfWsP15x1QpttMLsgtKqyPIGgGugaomezXPHtyfo71ZqXCY3C/Q85Egli3UG7BKnOPgOLhAKpzsiJo4zs08hQjR3s5xkKDby/uHqxzfgI8mVPGE9uqYhClDsGa8/Jso71SO3a6Fx5rqFDVRrhh57h+yHMpOvj7eLeG/ydk7DKT8b25sA9LL+iLOJBRyHeGrpDV0/3MOscB9Zzv2wBdlT/tTOJ/GNxzEDvyeEh7hfjuTMPezA0Dd2B/4i9Ca7+C9YHFTXmt0V8/i0TBceWw6UsCOwuacSkN6HChYo8AjRKek3INDsw2XWF/YReJE0g5EzgrT5PiPBn5FTXyiDhfToP+GIGpryosOxlolDw6VOoY4qrzsiqR6Oy+oTXLU5A7+dtSsTFQn7bBu6LmZ/tpbyzmfOWAepV8NQBetT6cKUu7I96D9kXG3yNQdsu1Ng0IXe5kXQH6xAct6UOXQ4eeSm5PTBdmjwKxbmPKtIEX+zprne64GILSQFkfoncb+pocgizImKHnLQ/PARPYoyUkwocy+KoBJ1TvrDBw4xPiHJaxln4vUaGeOWevALnUxt8HYM04EK+K6NpY34R0Djaqha6l3C3c9p0qXZHVXNEaZmi24CB+3MIrP+0xGxf+lHM6cTIICPxbssJvRsGWSmgNtGojQJ2VAXwkzm8K6KFgqx3XYjxhpUGYm92ysMvpvUlxb/Jm6Xgj6chSUtX9usrIjPVmMx/fvnvSg5glaNy2F0s5732FHoDvbTWhTUF23OLGHGL2CirEvB/GREO1WkVcptZIgwcleht8itVfjOjAmxM0Hyhjz9nRvEUxAma6k+CV5PSCkcQO3VGNsNsu+4t31EplYoNGN1d07CiMGf93t6H2Lxam8vB4W+/powtvAmfH7Rk77wFuRM7b1PT3qcP37aNMymKB5p/esuOQ2HTj3qlo1xh/PbF5XGIj52vA5njqB3ZvLge6f0NzBKt9ewRHz3mOl8GHBdu4Kmw6dzFy3Ig88/CVKM7T6kGLsPrFIREKZ6e8a0YXHgKzs3jQweoLHW3/qYGHHGg0CsHKH/ybLrff3P38pXSK6CMWRMXUIQYq34ul142jpyXCWy6NiDHS/13f8BaI84GReHfH3MZtWygITPEbnHVXyRINx5dKNROSJnsDGH8227OzC1fluJ1QVDRYEbid/4ucUabnIx7qG5uUUOS+d6p/LEXLb/oeWH8GoZMDMdQQOpXVKMiJUR9w+eMtbXoO19N9qy2yXh4X7bvdz5yPORlRXqMXMonL3tSV2glrQ5qRkThahTFTqmLOmCfjIR3jGTWs5V/mFc0oT/iXMXZxusT1maFYpRQEEC1sLCbrsuTE8+/Xm8o2Xqg2oiNhp7UYraOhd5+6G0i7wV2DmDCvC6KyD1B6CUx+YYRZ/0xRIMIreh81ucqgrD4zu+s1RbqUogKyOEx9rOD/XrkRaHs4FWWEini4AljbgAFQwFMVeLbOOiwzYF44nYCzq50nZ46zrCIiDP+V9D35HelVP4ud1iYqCPw9JK4nhyjPM3miRgIYjAUcbXBWfOS5UgRY2RDho0tp6co7Z5+1J8c3+Zn3c0S1Bu52BQuCpbcR+U/2JKPjqJzf4H2LebV22PyrNSR1CgVmHR4KnXO730d3aLZP1hcfIccVtbpkJ0GIU5K5mVwqDFz4Qwde1ghuOA23Lx7sI0gj8IJ49hbGYi5KUe+IcMuV1WlJ2WfSWwCwAPdlX0T9Z9XwOPAn3rgyMkYzg1zOD5JgkyhFUzUBcQ//Yz2anUzfU0rgyx0CjYLmuTyu78QORetVdhmj7cJO98GHK5XxeysRhuwiLp3eaVhjgrNwLIZIF4QccTEqxkTh+bYLFpz78/rLhsBIYvTyrOUzYvlxvmvraEPva6W1s5/B8jgrhoozNuqg5qRnyIB5l8iSAn6eFm855ngrlUDpH3MHk3aM1W7iK5Y0sVe2Rlxx7vN3yrASNiXYRLy9E7c2GsngdAGKNl5y+51eDa0N8pm5OqVIourFzNBsHmWmE712WpD8wnBZR1Ww2M5R26IbMgT8CYUDRl05Yq1/UzbQ23EuLNZofFv+ysTv8XXoXMjaF82rs9t9xdhv237jMj6fpfVBT87eQOmIPqBuY5Nu4BS0dRPuXnyU/9imk2Y8xG4el/yqySSN09brx5dlDRzWUR+ZmPWK6jStCDGIvZFG3p9V7CKQLOcCmyhYBNqtM2hJ5G96UTA/pl8nHvpKidUFYtJzdf1TqBD5ewfEDmFagNP8DE0XMM5/0xLi8hDAH38lYymISszMKWz/5o2cevZjpK3U+djXWOtCJI1bre3zFsouxCN4IBJSl3FcoPiXHzSO17idj8M9x+75sbYsLI9EbO7TEo1LJdWlSFIPKhUjldwN5bDFc7Sp98MBpNkvTOZ8esz1sDhf3rmI2cjhzEP4KATJnpI6eoD6wNZ0CgmysO+0Art8zfL9ZRb13cLw+sLIsNt+Qruo6mh4pZ43Bc15EqDSvH4cF6jdRt2ENL4j6ar0iZ1FN4YJgTpfhtORZAj5CWRFQwsQGhlMa7RbSsktJzmtygZKL2w5ymYPv7dV+zMhb74nqFt8ZXIybNxCOOrVYqogG4u4HDJ9OYyUmZ+Z2KlKFmDmQ3p9Q6vUj4OyOGKx5CguJWEXOtNssteXjGlkXE96iHxtLM7oICoLp3slSiYUTBD1yGNMWB7QYKXQQizTZOwWhEUb36fsiM7YYxMTfCjZ9I5Z7uxSA834QDrNBxLWP60Vu6PZhAWPyZPjay/eZh2PYb043hryj+18l+xmymLzn/eznwhnlTNNdJdApov0f26eBAeZ/bMZmySGyMgCUr2oA+UeRPzzzhw3LpuM5FQYt3KiBXJIF6IcqEBREYxqIVXtGoNY2zEUc+VHCDcaif42kOLdqIjVI7t9Ii5MiznMEOYJqIhr81kzEtFtwLMBgHP3doqB+BpeFg2dP4xoIUMyxmHLg/lP8mkmxiL4yw8MIYcwYEEaNoUR+OWTgwnU2BUA5BStL0SLgjas6X3ipylzDD91shtxApq863pwK+zHoEpYZnaRgmEteBbJMGuzW46dJ6S+mjXhjlf2SwQv2THeTKxsao1tz54b141DGwhp+VnFWov1bPq2oVkaE1dWEC4uw7mTqZD/Q8jHUFHgbC5NvrxFHcuSqdsfHGO+dbrZnpCXtcXO/Hlp29LoYsY2xAoQwU9T+LHpMouJd2p+03TlSEHEVOJ2dhKIPhOQ5z7rH+Dz3NxpaXu3GGg22RGY2YGoRzlYIwo4ReQQtb9dSPCy1T32mMqrkaqzbJVslxTV0TYB3MdHqnsR8eGrROxWl05MJh/wz7gzfIZjQjszuJO8onPUeHKQdWfiLb+I7jXdD4Y0BpfwHFUcs2zBlpj+IfaWjWMgpWdpQJ4Cao3a0/4IgyhHRiBMmBUU2hj+l0kIIindKj9TRQDzWc/SblR3HdK3XB//xDq6vRNVp1Zz+P00fTx4HD5ku0dNgqCl4/MCIl738PwcfRV5NA9xqI5yKq4PYfNxDyA0OcGRPpErBy2ER20zQqy7i6UKQOCPkca8zmQqx91eVFfq1CHVPhtBa0PUedN0xh53o6AFmjdP7sMzjv4Lb63T9rGsJDGIH9W638PyFLV+DVELe86dr0cizaFIaOCWXXxx1fjKzRYhiauZ2+8u3+gP93tN2xegfC1xo+rCx0b09Zbn/SfaS6Uf+55+vscl7+P0l7Y+srDmgBIcYI5p0LnCNqC3rtCylLZti4HyzaOtk1Eo1dssYQVBMiYO5/aj3QIHDGjmc07FDuJlFOibgIVNgy1HZITfCokcula334/+KahYQFrunGL/QXmS4+pfxoh/BaAsP+4LJ0tbSXKqWYk7DLht1Ii1yj4hKOsbMr6sQTpSj7MBOaabyP0+QO4XNPZ3UKGNYShxc90PsmcUHV9TaECAk5XQrkzANGb2qOJkjBoE/FnFC3c9WIOMzVEJt6KC0OFAAQSLr3K09UtNqRtH5s9CsC0NcXpQE485qr7Fxid7WLuQFE7VNtSeaH52mDLbRh4DZ364bgdSB0ZndOJli/x8GELL/JeDsRCb3qi1yMitXFH1zS0cBFhXEI34u+gCWCo/mHPDA5qj/jQskqR3Y4mSVLk3PZ2WeePEioicR650YkeWeK9CXrBC1jmeV6iwstPEAZYO3qEm3KsL3wVPCdnBlsYtLDE12u0x+gtlsYcTGkz/obyMeCxvAXVSgPOUeHaGU1JsSu33/aCRJKOHGcONEuz47vD1zucYEfwirdlOvbKMjPD/IYYinWN5TeoFt9ZORu4cObg03ZNOQjYWStUu661EiC1S04yJcVLTHIyAloVa1qZ6nfzOHLAaWlDHr0h3vTtr080PWa2K8EsofS/H9g4nLhmbrlJ34FDDFQQTBlb/+nJTEik/EB367ulzlJFLHVJes70Gn1FRwfLdWrV/s5J84gsaeHDgPwebf1MCYExXVzYqPcrvAs5/7rtllabwtTwybVJPkKIxe455NtxIYTkv4/wTb/Tl6wWSWfadFHPA6fREz6Oye3ADERVMYRFLvjYKMBVT/t5iPxZY2BBllMpZT0hG8wMTY2xh3GX2movreu2G/ZZjiVHjWl3vG7LNiDQ51I2eSkofBpDyT0YrotMSnFGC2NcA/m9pxHuMEuGHfJERORv7YBPRBNmcJFbpGR4pj4v3I8gMmF6w/75ogTgDVoupL1zVPe4WnqhYBVkGVKjHVdb8E1qF5lAgg0wnxW3MkT8+XzOUEwid49ovyiVnNxRy9l71MTcuWc89rc8Z0CoooepggcQ1P87Av8f+DRycEkASnnz7wfqgXJlxBLOlB8YqmWsyOvjmMeEdVIvQOPI5tqUqwHbdCT3ssFYnezETO16c4lQju5JMstlmMByTqHVT2BeSpN2nW8xFJ78g+7ytFMpTb1Dqaqu2vG35U5q+Fbbvdx+uwtUL6jpkzC+ZYjp11r9dEIdcfejnRZL6jx56epyaRvhLqWtkwtSp6ZiyC3zDyUlyY1FQYm4Ne4a6jFAlnSocv2zouPFurAod2c4CIdOqDlrjsWJXQdH30kTCWkbolIXFT4yLnBSIVols0SiFuvT4etmfAsg1P782O7C0jJFJJZbX8pLBj0KlneXkb6haER6+VnJ7S1RKHWanvyESiG82cEkV8Rf1SFomuoL50AxGcCjO9Q6hv2xCysEblu/iRF7kn4XOeJmRaPwSW7q3blCduSho7DE7hFwCpYVSWty9lfzymvLysmjXzfYZuJp7SYIQEs85F8oDyKbvM6ccwRoj5KWUQJcMwI7xSFeD6JQKZD+9+UXCG/ZvAA9b4hjjg87+ls+kG9/cfEVao5Jod0+3RmB8BoKk3sJXxEWvb7ycHStR6Rj2/RCTLFhZI1vLcIMjae793gNWJj0FJsYEokQ0IRxAk8pufolCgYJh4UsEmmgTJlVP6m0WWrmcD+OsxryyqkbyNlUdc01IwCj+31v1mbjcjvWPw+LPWLT0dNpfTOO+vbCve4n6S+TDQAoM4qUWGkR+pZbKBgb5HQZoNPUAbwvZpyHP2BmHCWaBEZY6vQofgzcaTRJ3al4c3bf713BPt+tRBHCF4Uu7s7MzNFbTkKzw9JPEuUtKSDJ60eKZmiRS2uGRXfOKdvQhdpbB3YMvsbQuD57yi7lh88Zt5mRpAOefOD6Ml1k4MLFYpkWjioQs8u3sgAZkKaZSP6ioVjZBlVv61f+n1m8aR+6LJa2dPEDWtIcX5Qm3+madQrS/L0QcdpCN2pmJnvuZDmHsBRPy8eVGvwLHcIxbIJnqIbzO5FsUuXGSuXCrbqT3FCil8+uFrnrMh0w2XWMbiNrerbxK3KoS+VDpUl74s7KGCKwDQwiTyDrjkiYYo8uC0xn+7Cvs24PxHGXmA27PI32smM37L9uXoTHUbPF1JusZ+14pJc4199VdLY17N6+dTwn+5Tg/l6Ryu/RxneTZ2/q06EyzOMjHPeW7NOUT4Nm7XA55qo4R12I1pX0537tl0dRJJhDNdnnRZf2+GDkn+wm/Hu+Y31+DlXgFgAktNInGryNp0gGd9jUhCuL+JGtbL1P4aMTCD7hMu+XsW0GXnHtwrARnDHriL0ldYx8JWUU+vFidClr6l7MqFTWzuvD/wMtbbrO7W5JmpmxqoIxpOnEFicCHOYY+rZARylnwMUuWeAPBTqrOvqopkUO9JG8yIf7LG41Q5j5p+4UQnAD+7woUwq2sfDwq5RZIRLUe5uSoW4/TIV3+zTKm4VLtOEGxmSkcQsvx0+CxiATEhh/hxrLnhi4GLK5JT83UKaXRSsZ+iGrq2eTUFtFIWGznpf/0osI19njaMACmzllPNiopRpzu2hgWIoWEh3h001QejHMl3oX4zrNYjNXdq5clmRPyqAYpxaLyi6QQxTmc4KuVzzrdYVv5Rd6/Qc1waEcWEBb30gL/AWKUUThJhKuvzNZqQxHsTOX+I5mvtLM/aK5YSFLzJaKdsRNhwhPW0YSNtzFZkOpLZN0NDwUTIC6A4dMJ3BS7joKdPQdHuf+B9qc4QXt0TK75rPcr7iVLculZtqqk5On8RHXyW6UMcNzRrN6LDzlHDY8MCsf/1YkBQgkYgCXWh6h14Dcm0dIUCaf/RIkURKciILB5xt9K451/25xj5z1weDQJOXD2ULkBqgxdYTUjx/MFrJgL/29c5pvKpPzhrGcozsLvwpWtSpb+PqRUfuRxR+kzCXxMLKxayfcz0UIv7DQp9v8ycntqfPNQbfy1CZKrlFG8OI0T3Cl++bGbDfpZ5w+l5x2dd719Sw0zFsekmmeBiQ6VDZJH+gbujysP0vEeoxrolw9Zstb4lNg9zJQLl1f7KcW57f5aWPwqodj2YrkILcSsy4emcde2Ji7wG5MXQk4Ci/rX7MPTZ+32NZZHPb3ltxUILOOBKErI41XZv9/cEXfHkuvGqxULOAuPe9V98O6r1O/ic2rCVhKjGzKEKhJW6rRdgSs5yGl+6rcEZaXX2pGwEDlR+CW6YrndkASeFb0Fo8ZIiBOfkpbMLcujrOPj62sy1l/vnzSf7iL6WB2NtlzlpKXdH46aVGeEYKOCGnJoxTAshpGClwsSU95VB21P4LYqDaNiOK3nnUzfAB8+F4A0f5kil1e2v6ER24Qpat51xVrmQEF82JTMoAEkiFHPjk3jS6B4ZCLcX3sorOztZSLyjU1CCZZcAh/kWlGBxmsdZ566mhUDJzBoNpRRvaz7Y6unxT/alLCLz0hOo3GGvOVo1qqc4BM56BZHmxZVbWvakIG+Ewlv8QrKdxLvsGMjArYO+4zUSNejFYmghiVm7al0PzWnqTKbAKR4BnrWPax7QDbfmwkN7/d+XFE1QWKHBECJzIegIqklBs0PHC+CjRwST0GDR9MKwsTB1IaybxVdgw8KFDwSTWTGDaED7UXaEYq6SbpkTczJbUTRv5XaqENeNWM4Y2RYoAW/qGok/w3wYvtZwy8gQd0m4LyyvbsiC86aAMEjAR6RWWqYiGbSccBsXpqo8Zvjef25jUPd9d8sAbo/82a5ETxP8q2XbwfyHb8PoBjq842P89g3jwlWkmWR9+Kuf1M45QNSJRx3Hk1zAaBL8lTfZp4YKHVs3zvre+2NcJcZB2IYzsudis5c7sVLr8wA2XuQwTv1DVKZIU2AcncTPSSjfbuBPSqnYhsc0PT5N4H2eUofDgfYSAUy2UmCnHPfOtFS2tabpArPCpBTKaHMeOqcXa3glhQZEx8X+NZL5GGsP130gj2OrhBq9gwxMNq6a5jJTu8d1tUp5q1U7Iox+Ndx2dCUeOqBoWg8oUHwxAl3cdfEU5NhEXzk8M2ppBQGsr6LCYZ/Hek8em8y4z2P1GAjfv2eoJq7B0A0SsI8i3YpZ43fP5Enn2JQYCRzSh2kY7x1Qqu6ozvF11dyfxsGqfPD0UWW0QO04aPvhK8sfCEopP6vSJLaObR/kcg5KVwuo6BeV8vtWDfMGDMLcaXhQ5Jwp3Sb4IiHAGOHGDgXUm1v+I+JVtQ0DJyVyusmmR2jnQLNtL94LdF4uVP1Ag6OAJd7JBkJGrqqJOHnqVYO2zbhpEB5udnORU9JHVzUg4e2JBgKhJpb0/ilEi0MFgT00FCUfQhRGktMmgQDknymFxY/8REtlXivM1n1iRwVXQx1aLSzefNG7pFfKxFubBgvxLIj8GPLKXQj7ujJcteGhvyFWnv7RnEHmiIo3uIvSOljqqzIr882iyV1a4SkfrZrsTsawCMTO1iDCWnhWiWtc2symB2rFiPsw2TONM5RRLoDp1aXXrRseEPzI2G7gkyDpA3gjIm93cTDNtdfE2kKN/7RNeAdI8OjR0uJLXw97/faHGkJgpkru89JEmWaxyQMnPsBdgrwRjwxRM56ZyewzYBxsj5IPNsghO8KKlyR3k3EFqkuUBnGg1ZSWfA0Yj4xSKTVTADada9yKuPJzFiSyB/weAFbEN3NlmUP8G6xwWQnbnkH59gR2m8DvUFFmxdIPgPeLt7W/QZy5i6t+XwUtfbVdorv55XeimDaANo00lwocLfh8TaKXXEiCE7IaMip0hn31O3fqsCKObISp1HTvfmLr1QPBXARAudGSrTb16ssCzTQgRUvqYuCzed1Zo9WPNnpVWn47da9XYUMMh6huJzfEonZ9PYDYPY05TzyY/lvi7O4WZWsPFNeAm0DFXgB2y5n5CcuvENbI3TvGTmrf6O+e8UVdFwnkPh0hw7IN6L1Hjb9e61q6Mgor9fDUk4IzIIdWB0HHL7I96JdnWORSSEVDgXV1rmVYu8QSbTr6w9Z32UITZCSxWhSqZ7ZD5gzIpwtbQfPnBQoQ2bUeSwImB6To5iYfF4lktG6+zGknvf0VAUCHSIJLUckCHEJ+epCtJS91+DQqBw2RYGTzaqxBqS9nBV9wzcDf3Mt9g79Gztct2cZbMLnmVI2uX9Y+31OvooL1vxyvadaa9p+htyJwPkcHzeGG+wKeJxLsGX9FFFftKvic+NhGeolZAOdLsofLf3iouTNxKbutkCqaFntPhHCun6rTQjlIyWTF2gW+X1+Y4GQsqLfYo9upnP6zEfB8Dy2bjnY6yxIadsBrMnGP1HjjkZ3ibDIOS2k0tvLox2qQG/aGOuqjgUNszJpjQZFYSyf+29Ys7b+0pnKGMTvQmbQXfQKS8AinNWEJ+a5wnaxC3PgQ1ckQZ3CncGXFvtZ1UZhXtZYd58O3ZYpPzhfSuW3j2L5NPkBvInWc1V1Cj6oU6G6EFSzPWz0y72O051tfwQozXS4AQhb5qBiQXzNNJFG6XFPRT2YkVuPOAov29Koim+Kp3JgomumtmSacLrtyjYAXObuZLEKgZFoDi4VP4ucnjLK/O3n+TFvjIrNzHFnHlyywoUtELsOeljgtYVLzy+ojaLyZijGjqWbYaUn/CjdB7F15aBqGC3uAsU1a/W4uWqKT/+FOOIGKrDLzdWlI8zIzvOWpuZ9YmWoWzFSBke7LxYg21lglKT4bdibAimqeVmX3XI1Llw+65nsWdtR8+0XkyRCgyCMwcOWVrWYVsR+M3xIFo4WAj6HV4nHGMdD5Gi/y10DZ3Rc63aGZErYXUU+zcaJ+1gD3NSDHsnsl9ThiSiMjgLEfiWa9dYznIiBklqDkNuRumjdHTuCfaLfx8WlJubJLTaM1LMn5GjCM4qHnVRGnEBPh6e6qkHEokJVVlE+VC+Ie770bL76f+6zp0fWLgz+o81tkXt3D5yowC4kxclMuZ0PLkLrXlvdefo0WkBO9im3mdLkNAkgPtNjwjyP5p/hAbkWem7GNL+H4ALUkgSoL8WxPj4XTKNYzkVoN/SDDNhP+pEpAw1pK35EVrQDUDPkic9CM3jReBQuohU1qS62Pn+Na6ksH1dEclkC1GwFrqKj0Xkbt6Cmxyb/d6iBFJctfEIwyBWTyCmoCMS3YGKm/LQUr66AiKMEO6T5Mg8GvTEJRcZIXN2p57djUJRhsZPZAt5cYSLZ1Dk6VCWoWn8ND864uEY7Z0262BP0F5CQQPxzGK6mfbBPAcYTEYv3j8BiI/3UJs6kjcgFxAgIGt0TIWKYknNPd81V8pUSyOWxU9KFlk4iPcFRkuTY3enKREDNDI8LBeqOogDQsuUfxwjmHaQlJuCYEAY7MNDOl/NwGRPIRIykzA/KE8Xm9LRwNADTbD0r8dL/T4fXcRRdqkElXdx7M6TAZg+UHv/LKtBPfzPv2f9Yj64vhWgl8PMuOw/kQwSCQc58+OGnB1P337jl6U2VOrboh+WPpTfCwp/5v5YzL+kYTxIbjcF5Tdq/cs5LlLVRK5HVbMPbDkFttG/U1RpdqwsTIRoxC2hLbrFZqQ2xv43m4nG/yzicICgJYPXMXpnIpBKzD0oPbe0hQz24wS1XcZmmmuZZDKykEc+LJ98Q969MK2IC/ZRsuTyO3ZhEO4mCoaK8+SnSUeqxFCpGzGs7pezwVN0BopUXNGBrhOGZqwawc5+6T+U2mMdr9eUuhxy6nLsnmKnNznBfSAyxEez5JYdvOO6AJEj1ktIfKf/GpjUjPSsbG5rdOEtMagWMkamqMYFVjDtX0tTLBrYLK1aEQxcKsVLoKg+PvA22ELlIFiLbPFtr+PoAihRmgrLtH87vfuYhqwNuzH2Jue1lQFBGLyjNSHMgtl4zizoCghOLFxQAKNDocc5hWFKUk0tZkfydm7xkp4lc0i5Z+lFvrvPC//AEpZ/DhqDKl2IgD1Zl0tw2oQ8vSn4RpWxWpBGTkuMJWJDb6z5OJx3lGnQTH1ENWc3Oqd/hb6VlR8HxI7GdMlHLBIrG24IBuf9g+9VR97XX4bAIprFGGDLSoo8kHh0PjvI5zNB+NUdEK6X0TMHBRnnqmFYkDx7GIYRl010cbWc18EmCyODbq0Boya6SHkhgRzKzc4LBP0o2qsd5pXurQ1PQ5zP+lRSpcNZfXeZ3HRnD8pErtfbYHy39UfNkWYioHi16lo7/s1g4yFjEsQnFqtoRHNKwlGh/KmME5C6QF2+KohCvR3lm6b4mvJbP1gxmdtHmxNy3ft9AgiQ/x4Di6EOwJKculxnHz+s+MasulUT1MFkh0+ycfvpsYBLvo21e805RbFL1LqOgBFhNO4XOVMQNbOYxXrEwOrE7L/rMP6HQelOPYm1uJ7Ec/LtigohZLRJByTjwI7BU4f7ekKkNWHcEwwPpiUzyuTdsWpWzb8reaYtgecla2tqbGcC92ELbnCn+L2O81xzgRsJr0ppA3Wq2oe0D1/JzQJYxVvTysdrPvxQF048Dui+0OTNZYvZnj9VAxUyVR1q2Th288Xd76ZIE4D7KDuhOM7HzgLiFBMgCM+iMbvCwugp1T5QBqH7/DdAnANCeECARUZnhRio9zXQCApj3kvImmeJ3vkJO0Ip50m9sYyZqxXAF/HbZTYAgZRg5VzZGUE/Nlm+EUvIotbtAxgtl5aqrlsMy5qEcWouErAnHNFDiIhY4CzBxwSuBmXO8KlZd0bADvRENZ1jlpqo4gpANz+W7pFt9LnjbPbuhid7ptbg3KyGCgoLGeHyxZs1ZQWDIuRBhb6pRodcdOMcDJXxRIx1S95pDWJD+Z7QTvxc+Ik+VkhV575GN3ZLMAeN+2MOAv2ikD+0oZ22JrYXLtRJDCFwGBkVBba/bWL217svro2zBosyLGgKCtmkaEPMrICf1ZrkJexOzsLTMXTuJ7qjwPvVpJVW7x0llFonyWTv3i4wVEIP+Vsg3K5XxfowirQwcvU0MOWSC3SMPVC+m6v7V5mx1tJ91UgvvxaAcOsowGl2T+NSzp9dHdg/0+mkVGx4Bkw5heIpM8upoH2K0Z698+iHjOHGN7MjLJ8B+PyVDMJbeOjTK4Ydf6xr5zjMPxILXt+1zpI0Uvoq83XtH7migV1As9ax545WZN4LjkDiLQD84iw+5Atwyo4JPKZGzOb9sOYjtMBvw+p8YxL/uCzBW2MDbngyRH/qH8WttrPNVJSG5z31Gwh/10IpWmASvVOFJbWQr5R3y9JiiEvbpVDLBGYLd7F3KyadukPcjN3fj0kI12JaTDuRxpdOBpLMHEUpp637vaNDF/zu7qaUOP/TXQnoJ4iHiYVK+hL74LEW+O8MIdpnrYKkOI+37q0NfgXnTswu2mFBHaeXfiIpDkOVhwALN0g3YwXc1jAqSg5kiF5LW2gFm2PKvtBZGFPf/wMM4sbYQsfFgm+m+ueIbgHe38Cj15dER9SFRxD2HAVNl6KCQptqEfpNWEuHXGpUxjX5jhssg5PJtycdm6r+ur8/sbQvGw8ufyK71DX4RRGNpnOU2Fg2Xqd46dY8wjDaLMmWMT4qA97OOCTDEBruBybzX6ExfvTZZCHwzPQR7wso0WKd60k5LZVtHYsjDcByLgBoEFHm1t9x7/S2m+NBpDNs82pfQWkUNYIVBmmIrxqHSHvNUftZpfIwgK7zflDWt39CvGCHjLYJjUle/IQcheII/+WIz9lm3f5TTpdb8Ku2AzCQAmefdqTXzo/BN54T2ETJcpOVVE/rDPZfzZ2FD5y2uzzXWnmUSeaw7QWDkCNav42vtddnRtLrdgVjtrSH8GMlFVrFnSbN7ppJ94RFQLT8MmrY5l43/pgtK1il1RI4Ytgq0Fp6wNr4gCa9LdFUREa3JlcoyHSdqidZkQMXYA6gR5qu6ITpPN76qGqC0N7FZOVhAElwVmTJg6EFcRJ3poGXl79YT2bvIyFp4xeJlZ2cRRYI46cwMi+a7KooIGAdFUePmRmIgDQ+Vsszz3QXyV3QarHjJDHcFuyTEg5plX7ycyHSaD0GzWTX/7dvukGxiYhKOubTPs7XZCB5rEMb4HUbi7J/MJ61zN8XZX16N2scqEK2CRCk642Vzg3ZH5OhfqQpVlL4VZiV5u6rz3TIktD9+PZZz+LIyvzTwGGLaq6e3z5Fw9ZKTUmwGIcyWg2USf411zjeD8jHd4Ru/AY/GKHB7VIytIsRHbQcvPkA5HpGhI0u9U+Hz5qYM9o1mUEQYGOEygnUArLxjt/Ox5AJgDb1/Ypxaddcp5fHu41m4NJuodE3E+UynWERmFevLOSoa1QwsmU5Hnptu3kxnncel3zoiQ/mL+WeNn+S6NKGhDMTV0d1BAWNJ7PSsLnzxrM28qt01NrFDIO7isOrlwncefuqQlqWL38heFOu3QdHp/y+hjh9V+waLzOYBZ2by5Z5oJPfdLv5gWGPwBIitKS/Wnxdru8d0zXX6twapzQAX7UwowANXYMS/8mTtaMf+1w88hr/8g57+PXwQ4v53plbt+gvpBvx6csL8lf0mcHl+8ZCTBxCcJ4kTPHKcrBk+wqGMRyPNa8ElUinNHjqdFL7haJGft7wNju1yHWeBk7hSIvtqbq0o3tWVzRl633seIaGyFewmEqv5/TE/stNz6sD8g0LVSMCUiPcn8A4O25X4L1mgMjErbt6Uxiut6pY7ChnlpmnmxIbBOk+H/rU4suxvH35b43KgxYblp3IRyJ7jdKAcBOVa5AT/uH+oL5fEeIdlVWf74OX99m5gJME+QhPJQ2n2hJobLQWe81cgGoLsRe97l0jLCITBhI5QS7Xa1iKRAFVRJg5UqIGJh03GfIlIyJ3mR6XAnhKQTu938e5kc6oPoE6+14bm9dg1tK2krbywzu2eq8gLRgHUR06ZlotG7Y9jK1+mEPkNYtRSFkSurj34WW0S3cOHvKlHtC+TE6/rl4/5Scbddm/R8qUa+yAmOuANGBlH3yzduXEQipJD8YBNTdITJJOi5QGKWK70xM038XRWAKudGmmATjVKhQ8ycQ5CawPMkYn/xk48+jsb+QBPISU8T+2/4blYO6T4bgC98olaLcxTkENPQUNZS8IJ1gc994xFt4ZGuPVG4pEzIzYa83g0CRpgRTYBUGNzlOqpysLd9ekLmV0GND3ezaCpGg80dk2gN4w4NR/bIcJ1PA+lQzefX4GFMfuVHLyjKAhiJRJHqERyeAerABTCxrnbKFR1+8K7yAv8PHwI70E5OEgsc+RphvcpqR9XZ69ZM5vtZZhqjEdYVilJ4HhbG1zoF28EqlQ5b9aGo4vWN7xwBaEGP8mjl93MdFCdl641U3k+J0igAJDuI5BT2yyDsMCleO7fLOojy9SW5ubgEouQw8j7cczXmxs8nQUU0U/I+0Uxwb9N1+FaTLSVLUn8qMAWfe+zkSWaoYVK9zXk1423F/BL3PoVP/VBI1KNmqqqwWpBZGARfgx4PXYnENMlxjMSGgGprHxH++bgTkIvL4UECJ9/8Fs0qFPd1GbOT+nlkaJ/JvapCuWevBfBlnwgv3Lz64EYKqBcFpw16cxPjZgycWo84HVoIuFgr247MwpN1zvVbcHyJJQLk/fqq2EUmLuVv989k9I2X1tt0dmHAhRd/k6XJ+XiI5/IqxNr3KN25sMRcy6CLwVhy+Tx9ONoTFnAn6VEjjAEwrJ02fr2bczlCzOYUXfR6xxuzju1rr2CgVMhgZHOgHuye5P+Xqe0r+V90nr1ykknhNsaXBs5MYQcF/7Gn+7iBYZzZ8wX54/kkLsarLL+QzB+fAZkm5+9gyjeBkz61NB7UYGCw5H2TCTR9OX1CXhescFTVp1oSsA+5a6vg8RkTSTPJen4L4C5syviVk7tVV8Mlkaq749ZKgKAw9txv0OJCtaaTGWzZyLdybPTgL76oXmelOlJWn34y5hu0xJ8JWq9qvzuT6SKljVc+vZ9YNf5Jz3FdGWNAm7dLBwn667hc9YIEdIX9GdE1BPXlnJq5DoVboEPlScNXf4GlDYVgBGemVTB8NlL5pOE79jTpijsPVapGSl/xJIodO3JOft98DJ6gM85Z587R/vyIMp5UND785JwzbwmL/54QO5HtFywRwyZDxXSoHME5PTOA7HjHCI1iEd97+wxyqASQ31C7H7OU2g2OG8wnBDlDySYFHvWk1NHbDsHy86G7BrJILkja5PwLDlKHXs9LoRUIafktI7rU+R/O+rpePHy3alsN+8uv6lixnYmuzo4R0qJ6mHXuioOjbpbjWnuCcXclkPTN7urnXqXVUSK0U9OOGLjJDvFS7xbh5KERI9aMG7KRSVTVnvMEPZH3aLSlk1A9IJXLuLjDxMb47dIeDphMbarMFduQwtvaecp6fAJXUhNT3OFrunCJpqA7NV3Fg9VRjaU2cZiJA1Uxa079k3hC3Zlsojlg8Sqh+wtFmWh9GVgRenxYFWXqUEPCgFToFPMCZpSV/JpdX1VwGKL0M0zEfkeNGgf7dF7NBJukSeRrjmAx0U1AJV1b4fMRNo5sQiJvQg31HKN2+nG/Zb7QPaKimmUF4suPr2OwXRnIcmyAa96UuQJ9Nz9PqiUqX3wZSJ7bSWsNP9c3dA34nXHFKpAgL0un/VF+d2gEAfiOgvvtmpeQZ5iXZ+550vQN9NOyJxgk8a26jmSpbmWyMMcZrnvnkOYVbIgZSx+8oVO4m7cSCQurCuF880DNZUTkHYrcyH6MR43b2ssrjefkZcSTt1t/ut/bPJOzEDMQTzuzM08bsJwBCgE8Ya7SArsp2sPVM+u+cOPh3XK/gRJ8iOICtX0LNKS2mY4Ok/GBiQQVyORPf5zzgKKBIQPuLPiGETliuBlU65G80aKl4J8nXPNJ3peQ4RjZzjW9DPwJnBO9rj+yctRVYvQ6lVwIEPbgpIYZipur3u9ZH43QRtnoRff6bCdIO2MZGQjS5SQWHXaSk/YVmuGTJisU9S8r/FOBKtcgVxuZJkPOecvEMQamDs9yItivPXfiOAZqxELw6IikBM/JjQazNrYRH6iXQTGwh4R1WfgyXkbET+LEWEBSo78P+KOCIV83sjqnhVz24ZTRmBOyqSouEfO3Moxoi4jqL7tZVJMZ5Cm8kThAkfnkhT9H91dUQN1ZA83rlZJOkDNgAZAwRpcZR5xv+r9IqsjkGT+HC8HyGiI+a7DhD9UxT7367XD9IKTwHjPkOQnmJX3DyjiSaBtJfLfcYP18TJMd40A55t0jH6AlHBy2N0JD86pGPj9iQeFlUvLkjn/ZupQ+wwcWnkZuSS5GTfpn5G+cyNfNY3QJ6ZzRJWbkDabRIc5A74ylEsXtuhLv2KW4jJ7elSKUSE3FRSjgJM3OsHcyNSYY0n9fOk9TMhtQ+bgbbz3OhHDW16AzY/n8KplniiNOmWL6qlbKctiayos1/6Oa4EJA5jjPjGlfCsCrEzHZcZ2y7/gPjYHnBykyNsaMlZomYOhwiqZQoOkWnJ0lU+UKeIZYxEQjK9PrAShQtya7JCRxGcaO1yqscJ279tvei29BNin0F/RPGsuyyvyMSEBdAK7RHdI0nmbHrNrMwtKk6YfYLQckvO07fTUDuMaPHAHl/TFPZb/7A+lHpMkLjgyYvWKT5GA2FWuqjrStEJ0WK1evzyRl4P9mD8KRkz+CwItwgvVMsfYNDrmHX1cYX3TK6fpa2ojddpaZnNzE4MRN0VGPR6Ql9KPqmPDDAr87Cjr8GttaP+pRFcvmmSY9jkTKCti9doqsA7dECELeKEG5yn49juW+e5Odpji7ShZwS/7fgpl305yYnHNw+NNQENdJHGdjtDH0W4BH8RuzKbLtxq2rtuY9l180sUxRXCNfE3JRa1cCCOpAiP1zztWQlf5QQpLvH9U6MGN3z2LRcTdRKlLjG54NjgepT1M3lv9qW2RyA7gu01eZlMA3eqb21oKSa6xHpm6mdBb8e9dPaETVmt5l43D+clCyjmBJL9Y/3xqsFoBADIaxuRFsAdqRMI+wXV8wGP4jjvmLFn62pdp/fjiDqC5ljlVHTge902FTGS0VdMPMqBm/3pvaMUJ9E78tyn8qRXuKygLcqEs3ZQ+4TMPm69CAz3l7hq3MDnoMGUsQ3+FzhmQkmr7lVA+X1+l5AkcsHLWgVhy2B8cMsBK+acWpysjctECbOY5amJeMTGSqwXQqx2JYDrJ1eGWUHIRIsj10eLS1MFmMUMnAFdXvzv2XJmUyVPc7GsYmMEy5aMgA2WYvkPF2X1WwSoHxL1jx93FQu143e+tf4GwYDRNYCiSgSXRUGoEqC5m3MKvvcDTU1E7ILcvseV4goduSf2kjn0sB7pLXQFLVJRNIorqXx10IGxno/SFOoZSso2CBc5Qk+RthanbiBKL8balOcZbZNOoKu5HhnlEvxiYco3Tb7hvp0mjgQ8piWCPahnZmZC9I0kSGgDkWw1uLxJFOpxh9lOuNUQpJE1XzOjVWhmcHPm2vb/oTS716SrP26VPy+XEj7TNcpKej3X0yOhh65ZGzmt7mDb8FX2mY5I3DhVtIx1wo4yb5fHBPPALwkvtA3YKxVDB6rADJnqiI7fKoKl4B8QQFluBwE5WT2MfAPEj6bCEf8UCepqFZINa6RIxWK6awdoBMF8euNDmHoMG0HW1tBjCcrMVJgua/HnGsuUP4e5Ail1aqrM4JZrb4T0rryL55obTJWduw7bLT9CHrhc0alNEVw8VZJhvilF7UIh1o116VwcD2nzBVSNbjUi00MgBLA+4W5kru3H6FQK1glRaiCbmPvKPcdUW81cWvjalBIFGmVkBewg8k6mmmsOx3oosq4BgPjgp9Z2ndvLX+Q2Xxu4HHnh+vHP+94K7edPGvGo+3ulEM8fH0CKrhIc60kJokpRXacScbyknSatMVDlGCVNkCHMCLqQ2F9czpVGKSTlqfGZ6lqzfUn9Hkip5m86aK9ts4X1F5n8MK/9833zKKlL0IXQsXD8wwE1gO6UCy6R4zxvhmNB+aunxFmyS30WIlbcw4b9UW4+UqeCvxgBqiLNUym00c0y6xMjqZff9o4Mt7DnYk/DbMvgcmGeOW1FnB6NpwzVaZxHLQG07sHaY8vquqQi8fDscIdgz+vwmnJQmNg3oynELopqS8vaMD83z/oGG2EH43uaJQBScBynqQngGhYRw3GOAublSWGYDAG9nCRfJlaXKXaabHLq/hErSzOQNxmnLdcMmKUTT9ze5i0Wqpu9zsPMgtXOwg+I5HsNd1CLcsfMnse95ke61erfDtA/a7UNv2qKlxH0cehJ5S2c/k8j7D3bRysSr6T5lyDcJqh6pSKtip7bU8XSMrajRfke6wTbVsZve6Frh/Gf1VF1eXyNiOlIN2s+4bIjt3YMZXiG3XcKD2S9Xlmx6qWr5wXwvM8rn6jnJS6G7lPiww3CZ6kDM5zm0wXEnvXT4AcupTjKL/O40UE1uX6AV3BBw6UjmmmdfXIwyT6JbOmijf7oeCEunFaykC+Idke6mlFpRmXpvndZQHTgi/7x8DkGUKcP3zfyz4rJrDh9BhRm0sw4ICqTRcJx5bFPGuanZdUgyjHZl3ZZiabUwXT81MhYPqnMRTHFwnmY3uOVweJNe0nxz717+HF03Pzjf8HHnOEzKhqplT3chOscPWv/dmEAf24diamsMwHVXHHI4ma67c4z1XqINor6uxoX1SqPoHCRi/EGq04GD2daOt+LqplZBzQQ6UQUNZBXtTlrfgBkmMnjIR0uUmIe9tI7/97DE/PdXI2Bdrpwdx25HPhZb33DteK4Eof2YSjODL/sJJwLONwVZANP+azwZTrqZzQCe5T9a+YaL7K1vxQ51H4xk6j2jDzTafcwtGj/7uQxLwQgKKgfEy3JLc2LRmDczHCLuz0PWFGr+WKHwJ7bCl95Y4RaJw/nnPLdaQgam07KFV4iN7aHNZiU49MICMurol5BzU3QI9jaqzrH8ZXm1nvJb+Qv6te9Td7ta/392KFn3RseuLjJZTGDFkSjSEj9B/Z49GYzJKqn728RCUsx02PnOrgDD7KXyeceiU9T9eFZtEo5B7cPS0LyrSSqOnvxY0mrGE6CvGVW15V7+OGC8ee1KeFHKotTF32zeOK65hlT+YmPLmzd00eON74C7scgEsFRGL4sXmUYAb/iBg/m+nGAU2hA5u6OQpDcbNSztk/0Q1bUSgaFOeBWNAVyTBhOmUHjTiEk6BtklfHEBnDsJOMDyPFYR9okd6FvCsdviDesYITSwEmepmD3Pg/DtkySZe+xJVETYDF2kfHQVLT8r5zt4J66Yif4UhymvNE2JeuJaTYcbvIudIYQ9vH+oQatoTqWp8iOXJHA2TuSR3I+5n3nDLKF1seEZxuIECbiRjLBARhiKAXaj6e0hctR1yQoghe/Z8zqMkFN8R3dJBAt1SZ4rigaWOA2Jfj58Koh80U0L7V1sEJNek5rvUDwzrlbKevP26E4R/KIql0JcoygANqGz+L1tYMh84+cf+JVnbgtAY2jFRxP+Q41DFdAP43nyFes6YMs7Ia3PKR1L3l2dM5t2FVZsNLvNIqDNjVa1AYjTbcw4TCI/QBigNxJeBZ4rhF5kcI6BNr6jznrw2tSbmB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2I+3INLHCuRE0anEFqcVFP/WbOl5yywtioTGayAzje2q6OeMkTMwkgV8+9+W5VVXiZoi428MUvOnHFyYUwFNS2ZHRfRtycqP9Hr0+qhooZk3p636MGcwX0GDbQ925/9pnRDPX4GxIDVzSBxWb6R+y03kJfzel6C0FTx1ObteV5WbFz6aCubyI/Zz/CznagiWfxXRidbs/VsWQQM9mK7DKSC+Sa6esprPHHIfguHh/cIt5AiNKsovfBtxMn/HzuaoZ13Gku5ctQ+l1n8HjORhLKmXU0k58rB6VsINArRDsgVAqYsXPt3HvhkLBUgNg2QHZl0Y1e3PENUQ3FVZWJw72zndrMyg1/lrncJuMnNifKyMhwaAMKSQioX8O8zx/7OGvdU6BcIvJoMfMGGnReE5N5X4s5y8CXr/bPqEm4MD3jUPJ28X8B9ogQx26iXrc0YduEDCsrw34iN3dODE+E875dDf1+sg+pBGSyl5dZMFwdStQTJRPccvY9zWbqU2lvGi1DEzDSbfDobL90q6JRZ/69zhpYM7aocC2+hBDdBFLCLYFJUAvidAM2RpySO6QhfOOSyHsORYQ88712EehDMgSdGvj9S+hGcQiPanaSN60tj027Mf4cn0Fl/igtvnsvGv19Ni08qPzzJSdf6y977S8VG38qh6csUKTltkuUE31GiG84060znM/gxMMdixwYaOLUqzCXhkGFfKAM/Qo4PHZSanx0CAUC76lUBPI2DZ4+9Gnw6q6sf6dfwO9KjHGUhHlmC6QyeF1WxpRKBdZGWzW1XhpTP/4eA+rE9nHqHaa9Xn9zXTan1sQjALlTHJO9IiGpraliiwK7SRoLz6yGyuaqvBzkUX5QjxdmbGMaNBDOy5LcnAbpnHbEGDYzaVOCVFlPZGxQ3FRe1LvkuWoBbBzLlDXRoD48UaGogn2oTNcOoLNnEzgcxT+GkPEVb5rvp/VXacnXCzTlgt0BGh/1MM7L4RkTdLrclhn6Hu3DqGPvWC/GKYgv45Co0YIUdCyIC2+Q42WRz7KSUaH4TRGvvuWq+OwTTtLAagh3O88O3Y4O2qj0z14G+zOw5XoCpwgOmR0iURWunDbLR6H+KvDKwfeYnaE4J3URb91YXBKyLGlNEueLB3ynfl8SkXfEjg6koxRWUwjDBly68X8t5eD2ns2M+0O4reyX3sNMyIOmcimswaf4fY3fKz3SKdBhTSXzSbjHltZ22pqi0/uDhaocjkpvdymJzjgSvc07+3N7vT+rf6dbeDks4uRJ3XGMXUVEvBE04a0BugfyhjU8qdWVsTGOJu/OTE+ZysOWHHsGuP7WR1HJZbmBZdNjJJo1bXAnaJiE7Bf0DmfibBJYNAbu6fwSCiCVeWcXboi3Fl21rtLT5MJEyLrKvrXYaJZ0rtYO57Z7xXrYwfbLuGgjtf/OCuWGz84ktm998z4fUmgk9M428gAfjKOZZuk1xuAg+xJv6XDopiQonYOoYWBKmssxxFhSmUsX7zh3kir6uhX/O8JLIsvBubSOeKplJ4Dv+XvwR+TRz0C6p2/5Isfn23RJ8NGiN1c4kHet3OlnTE7UfTCZ4VenEhLTPJSXuwhtVZB05uk/gJSi753qEE2Vz/efUDan5hU1jxx1SFeOivOfeHFkR5jKQXOKqgekjotiqiWmlKaqeZ4pgK9BD6abC/jfN/ajH3DFLlvkYXTfU2avgjubsNsZarvwGggis+Lyd3Du+5FZr17Ub6PaEoySlw4bZs+yMVkUaBA/P02dKGuPaXWZZfd/v5UyW1HYyNW9d7bImXnC7FfbgbAMFiBwpzd0sY5FOURbX6avEqAShoCfrNV6Pe/I6YGotHvhpS5PyAvYbv4V5MqIWWRQAjXDf3TUbgtJy71z86M8pyO/3HFepSqeZvRxKuHqN/n7/14qWPYikuXvzqe38T/aLHRNtkr0GJuZF8lb0G2Tz2ZGe+DDvx8fV9NcKbhEFUauI6EHHcWdZEXf8yKWS9hGN9DRH1rNglP1DTCIztkyx1DHy8YWD7JEvpMMWQyKB1ObNa6vAaQQPLLSgxQlF4J/7hwHwU9wub0EkslZM88XK+71zQYvje7CCYr33ECgMDxUyVSJrG8DGDZM8BrwqaCLKN3KW9a1pz4q9NUubfpt3pgGlpEKkMceEdjNS8QNWyngG8/EZmhd4ISFvks5udj7FkRvDnFvKQyDqZ2wz079rJtYs+UvVRcaHhCxqkJP26niYUaOJrJUKn/MEsT0cBmgdckiwP0TE0Dm7phNnR8REY+Whxzfang59zRmPRNlAarqoDtdPa5oU3ahX5ONYWe+UXoU3utJFd7iZ/z3J/cFBB/PuAhAAn7+oK+NaWR7Yma8nYvjCs/OZmlUk64FWPkkLwcstvbC/yr/qCx4V/jK7s3ReQm7d7NMlSTS2RE90iMBXrdXB+mXsVDBxHXCYkpbyetDd13n7Xzl2qyUtk46l1oROcfCjEUvhW+pDypeYyMmpeLhYr3nwub1UB5Oxg/fyyoWjw4rIUaMcWqj2Uq/FLdjOfEy/JNSC5KJceglm8W2niUsU18/6GRYNFOnGqoLAkEidtQkCGDqgArjGeIuv0K8kMHxN9jFaj3r7rvfAnIoBb95yQLQwA6NQzLuDhlfuO+riKkJTlo4WW+t6p42YPAHk4EKSFEekRjAr0jMvbqgMzMUDfAKhNiNThQoWWt9uzC9rG6yVTqwauwOZiIbkhpKtoZcR25Lj2i/k44WIRTz3qqmUV1A4RVopk3Y/wY4DChqx3CY1NfQSOWBc+HYX5HuG0FFCF+uVl+egzD9GsmVrIHHj0JeJcgC+3QAOT5Eff8JRkU+5Sd+WdpJf5OadB9/eqfH5i/wIsFt2WhnN6JfEB45rLV0gE4HLi1CWh/5o61OtywOeZYd21LD5MynmSXISOmCAw40uoj//Ma/n7A1ZDr4fO61EC6GAmpvZ0+zY0boRLULyph7866T+zNQxyJTX1nViSDXHaSRXqRsoYKElV1lbs1Led1NTXtATXpVTGBjTJHq0hP6963Zn+BrCDXkQazjv8Z7tYuFy+8Gu+GlrnpnqbBF9f4HhqKhx9nYzVSjU3YRv3yqNcfkGYl3c4NKcfJYyhQYYwSQyenRToasGuft4N1btATCGeo9sJwXLG06h9uqDNfKdGV6rx1q0oV5aC41Beyjzkx6r++4tGppkEM+5OB96BgeI9tKBx0CBuvtNx4gOIvYiPAvjFZJCQfYCNNP/WytlP32T7cyrO/MZjoEXkLtoQ1GLU4OchW5TyqlUu2crU0j4OoEnHAEFceBqRV0BFml22P9KJD9irHlJd16GnOh80lK9/W9ZcLC3ZIKtXrH8aw25w24RaSmshxCUy0XZp0mhIJCzvvpCgHI0Yk3EPFY6AW1CinTEp6HxpWh4JGvkDQfODZhSLKMLwq3+VZZOUBzypUqgWBYFlDgbc5SMU0Y5Gzmp5Mti+UXnFFcMe8JRxxiuFT7KBIUDKVlODZsjejCFVLJ79nxZSMCGjkM3HYLiJLePiGyxmMloGs9U1tZVGBPZ3gS7vAtLqV5JC6NK6r29JL3PmfAzFG26UqmH940tYUYnrJYx3h/6kLM8eab1IpTzcisntamKc6K7aqPV3AwbqTH3iuCR4TXmbhEfnuxWqNFysUmm/KqCrB69hV9Qc4RsQa6G5ffpDEShyxxU4ahGsHU3MteVTpf/Lp3ullHaRFwys0ZznvHvfh8vtDP8tyJaU3H9OOf12EeqMiANMFK/zrYl1Gguv6yXlwP+Fgo11htNn5JTLlrGbO2i/pdwFrFPvOEF7EKbVO2lRh8oyWmntAi0y4k6cjKSQ8O99UREjFHyVwmdAAvEU4wuTcOQE3PdGc7fyx9WJFOfcyzWnS7DYWq9ofG0gBeVIXpiQqAjUwN+hWPKJ9cS761AYlEXGKwlxPt6+6kvn/C7AjAhu91xXahKzoN9oi2lCT/vtZfTLBxHhknlH2CygzuhATz3id66sipqNh2dK3SE2f0BmvcgklsXoOf8nkHJVQMgO84kYLSK44/b1r5nTZnh8bJhLzVHF3JMrCyPYXEg3djyrl7Iq/cyatsXqQ4TfeqLSPpfr4FJP1c6EmRvitQIYV4RWchaP1kuQMYu9+wX+ymGsfd+4eGeXkkTmzuIBL9pkfo6Lzq9EsgJdqJwUjLD/uo/4SwxJ6TBvMXtJ3qb2Gm0MM3cHgMijx206rNhRvwUWVUwFkdefa9qhWO44IRKeoX6WV6N5APvMZDmwGOhqyAZ/iTg6vMTs8HXn+O/RbU3DWVKo1pGfwijICvUDLuPKjkMng3zkNGnz5UkMa7DP2uzyJXixcs6Wn2ch7c5A7YzC+FiCdVCpnj2l3WnGhlAaF6VTALQTV3DCM0S+822KCO5UM/bHDZHvBb294xrnMowUd+wQp2jdmz0lqEqXmn/M7ymxx97Cpg0wGaU01eTm4fm8s+HgCrBC4NtBZ+M+s1mnDd4xYRHPnPzMQeP3wRvO/rn+8s1O6fcevovZRIyLvWvo6puBcHWJYQ94p7P3yZrx5cpd6JUWVOz0yTEcAgpmH5D1JQs9BfTXw89MIiXE0CGAg4RG7d8cpp+sD3ayCSHLrQT+GE+EuPN1PlTIZl79sGGYf0qYTK23jPS0ExG7ARp4/9clrMosETjsCXozh3MloqppwZibkPGdxzQs4fJa8tUKqSXXsAKgg+DSUfnnJCn3HCqb0ZF3p86BMUxbf19g2b8QVzDTM5247Cp4amBN9FIYHFs2e1poEMtaImAShk5ZOs0PE3Sgf22k/f8zz+kyUy9CyaIYAWwGPRGeHQNIdZRjPUYCowABT3BWxA3ucbCJ+FpPYdDzvruoktuvruJ2MfP9wNlsu+XeO5a/miFOAp5vfG0JINZfqwbGX2Iwk6zPQu2e5ushYmNHOJoX5MZ8PWxGawxnSBresxx8n8RVtH0rE2BTT4HFDqS5POO6K+vPrYmQ9LX3y5K9EdfWvR4j/xTom43yyFpVgBu8Noax3DgR33vuZB0I5Eg+V6RFJMIHLOsAk5FAa5W0Ycw5p5G/UmiVBp5tnFvk2PHH25df6RMTZzqsv/XrzmVY1sMdUhnc7v3VfDZogp8Ji40Eu5LVfLYaAWKZLXjp21Zx3/k0kHBhqLJdNayLvROvYNyinUkekukBRseo4VHE52+cgkfa4TARMcem8KLrAKwpOConY9tSAOdJ5UsD5ORN/Rw6eMIjC//qi3Ept9i98tSJTVOE+WMpSrzR+B54uqjYkCbQ8vXUAEYB1QnaJnMtRTYHAwY0zE9OxehsSuCcS7yfGfSILuYb7lffJO/UVK0JNgCq6bSZvEMUxnWDNhHzc5fBBTxZvw/rLFhnoSdpH0mHHvQ8V91rJGPf61HPwauQllvZ+hGt4mCgUDL8/sAQ5GlPJb6L4TDcPyPMHEJmIuHYuGTbd2GsgxXiYyjAvySDyUEMw/UAjkOFLilLm/mGFJyHMgPh9WmwHL1czxr/LhZkd0XWDPIjhEBOnWpkpdVx7Px6Az6zSr0bzP351UuK5wVhgYYZc320snifDwrVEgQiwRUloa3wsnmRwyEd8j27s13JZVcer9G8HSN3GXqRb2ek0TrKPOwpU6IV9pgvLKeLR5Tv89KBHBY9xEBwQy5k9ds9fxvPY0qnQIBX/d57AKKojYvnNCi2i6lnTI/b79xCb+3EpT6Ym2YYZjzcah+A24QY2ST/4O3ikmXnEKC+gGIKETziSBk4E42n6+O/N9hVK5dqFhJ9rZJAU78BcjL1b3Xgj8r9DETXFCU797mj5T6em2YCuJQrWJ0OryyiM5bwJ/XSRrAbWsAkNnmZmaCzAXrS7ze/fBVEpi0V8lcbeSgDwJtbVqUVysVEpDyBLKdrfpUTTsSMxLTXzupQm9JOr0QkCQXUG2n4qR6zstqAEae1Tcesci2pyo5iTnrATV/OAAc1O8RyxJbXaX6vyJDqn65WTS6bOFkoIPMIpHv5OOW31Bom3hbtUiNekrLA4iSBOnav8nSoojonOfFUtahmW5YbtHXVcDJ1/FMaEx5yy57v63UBsYWSFzfp78h/MqRujm6qGBPK2bs5CPvDkgSNeMv5UHCsF+pz2bDFMhYsUOZZeNRZY4KFeUJJK1j+z7wccodNzUGxvF7Bsnj+qHsmhxAdnKcnR/SfDeoqmlOQ+2E7V+TAtVMtPBrQZ5TflaPeHb/Taq4HZsjBci7Oi9ylbYuXHmI6+iJ++9qBuBb0d9bd6HTOskTw7SrsRor2cR/GxyfGmfIU4bYfN2OLzUD0gERO7RtpG/JF+smN9ntOKwoD+YHm8SX64okbE4SjqzooST/WlWuEAjRAbkCmBLvsBuBUnM1hONHoDgsdmfZvp8sTzBmzBfoLz0kvpHDWIQlnCwUeyhuU1ZQN6Bt+HpgbXvTHNYyRbk8qw0A2EYcjLFLc45oAGeiEJP6gRm7MiqMXDRlTtr4Tg20rJcsvMk81vR/9d+Mwo3Q7yHIyuebpK+ZXfNtGRNFeaJ1vl3iVuD4B7IZOuJXaznfebvfm77ohaqrYpB5zP3G0D1spmHUSHayuLFV07lCTJ/XlWs/2z7NDQwYDU1zFbEXgiVLgyvF14ZAvmh+d+5dJ3MyOIRq7ukJPiKGfvzjr5z7xTesdz8gAqDwj920meVbvcbHo7Y0ygBPHGedAevHioyHTcTO0VLbOiAOoMFhobxbr12kOgtfnUt1+wENe4qfyHobybC0cIkfrg8NgfxzEtE+brLb7J9aLbxuLQV120Jdbd2ICdN24msP0JYLcg73MGhDS5syOsTrJDzkYs/p/a2LDeKn7g0C2mzGD+x6jfu3MHbawUwrUkkzlcEXGg3qApksIAt6nxgnecG7Zr8trUvyijYaUSNaRB/MgVPxC1qjk5Zfht1hcewQ/uJ1NpTul82V9hJ05h/E1ykd3iK/G4VQZkRb8Fn+iZEXhpXSSrJTT+zoFXbb+pGvofBrrUhYSegjo1gCMIZGjH+IBd4h1wg35IAX5RI+Jet3VktVEOW/akLJs8vA64V9S9VcMOjHhqwLD98eAaoJKLWeMI/0DNSbtLOnXFo8tuJ+rEN+CHtgCRAHGICFOJR/k8DAbbulTzLQUVrZJhsY1LGn5pfNOOQ+mAlcKV8WTTJ0yINzQOJSb5b26HOy6uZzTsRqqVMDZecw/k78alK5W+xZw0NCR5VYP5YpUoKawcUvR6mtyZusgKP4TTdX6uVyV4NfD406mrHuog6IScImEfBtBx3HPPYgW+c44/k6q4tQiSjAHqPITN5FTfrmXbJyMTNxG9RE+wvvxXOYRMnOmzMdo4vX1UGPTmw/Aga5JpLSQVD8CR06CCThkZrWRgeC+BlctaTJ881lP8VXCN3vhq6gtlUjLzm1zBTtyAKMKIzL5fQ4SfbNzSqDdiNqbV2PysBa0Mubh/MdQzzCKdHX0izpibGvKyyMu+q5yxBcOIYWQCwKe/5iVqgA1N50ydUg1+iziabDdOcd2+FR9/y59ULC8MGeQsIj1zc4WQmiZh31VeDUASUSWyM7AC+99a+Cnibyvmt+T+hDzEoOmBPOOJ0wZTuHDTT1iKDZ1oky+8n837rQjdWKqhX1I2lLJNjNESM5k+qlUIpnpmuYopzn4fpCSlPD2Gs6LfYDjTjlE738Oe584i2d7sj6VO/xd0uZdWG/gH2QECVOFX/5sijXeeabJLyWRODdvxYrrmHucVPwwvcuwAzhfxu0GaFQ7hBiVAZ5+8JlF8If8nmZqK1XiyAdYYubCX/axdKOeUih8xyDb8NA4i5J7H0+Dh/EzyOCkM/ilZVwjVc1LtR5JuggjO6sVG+P5VOJWCSoS8WcL9D+5xFb73PyhAH0crQ9jMutCS1AJxWI8xKfKpJoLqAAlPWHgH9NFFJ6f0Mt9fvjiw/sCFm8Azz2EmI8GZr9QAuQrf9UnA/ki/E/XqriCP+w5mELCpW3JTEaiBw27K0P5BAg3uA+ipe0zbibubad2hq45R3CVAX67CfZt6rNTBKbtaCuctwAYyp/azj4NvQnlpsk6yiaYMhItjQPPs2/XFJCPYc6Dz5gmDAWpwjBFAPt7IlEmVioDSSisvUT18g6k2Z50TulLVDXZcacD8ZbCvQEckcdCYgPDrRNodKKoRGTVwPHoBE6Am1t+z3CLYMOuzt9RbK7Uo6U+rvV1hwjCyqmDypcCzU+kA7WyzQsP4+25tuszHRboiXzgiUwTXHNDA1PJihNH+Qxiwf5Ys9Bfnrn+2Mo3GYC9gfLuWB1mejpjyrjAyZItzd9KEfe/ArYoQuzd0ZLQa4BxcNAybAdMY7pPK0RoY8yUd004lbwT0pVyM7Hwndr2rVDQ3Y+cumUyPX5FiZVMIDKT3HCHbFlOt/GPz2UukDoS6qk46qvlPAgQoxeD5BBIqskTCozcjXQvGcFnFnw6le7vUZVz2/UkIVEl970hv5qIjwR8B9BRu2ak42k6pS3YUK+ER+x3PR3CPt88xSN6KnBr2xAlv2v2WozO7i9XrTh3CWpTnqzrPuM9UgByyVKr4SA7+e8zqUVyytJyxYi9FWscjqoSyUGwTLS3Dfr4GHCgouxvxSPwthn4fazuLVP0TKXyQbrK7oKiPjocORtzBYm25NcaUmjM3IyB/tAhmwdz8RJeQg1gTdLghsakj3J0DN4MviYoC1c5ObuB0CFpjy5jy3lpAsqI/AhotTJ2c4RLlbTWH5p0CVhQtHAHQJ+hnXyN+UPmta4W+3CZzGR/TlmFvA30sU+NvdTv1CEpvps1BqL4JytN3122gACxlV3AoPrSf8/soq/u2fnC5dcbtwJKlpc33VmqJkIkjr3c4atIooJWFYJCWnthvjXx1uYCzAk00ZJeTrEtNhQ8BlJSITg/70bwT+ZN1yoQbFHfVi79pvSYBax9gUAGx3kfH0MBeIoOHmYc31eYYi1YN+9ltNBdud+xEauRTSvWEUYAE9vBbGxXGUjlJeM4+bKM0A2XjCL+UKZQ73+4tyZwcLSwv4zmN5VE0jW0/vgLLYB3D6fDHY/VpZfk8lQsQWCLBktbvmoBp2CIGBubIUfqyswEdrYezE7VyAPweOk6dE/G+DWfIA/Ew1thx5arnDf7TPo3ncE49ghtcgl1AxMwVwZhCLwcn6qNAjx1JXvi5ECieDiCLW/2k79yvY/Y2mbgq+gFtk8rD8rnE4hPhVupW7CCScCiMdPW4UfoPKMpPM5bc0GPBvzRlZe8aH+qWaNTg2J8xA+HJ2UxGLCCExyIwEYTavfRyGgggmkqmm6P/Xb7SUWKbV7VZaYngywEyN1XB2WWSKXSaQ6Q0I8VEG0piByy8whij7EI/XDW5PpRZs+ebumpYIke7Kvgj32fiDQXQbg3o60fxnIN+7C42qrCOXXEoXaLY1VuIPY8o4mOEROIPd6OGjRsa4FQG3Q4qN7R8+2WCJYEFEa7FFQAgFymrgcJ2SNNM5DlrlnTh+aCUDzXqMGeQrovIlPW/zDnB06jqS+wuoCcifeTp+U5gx73Lnr4tYvHueJvsxA4uNyoSBTw0ayeqlTt3EMzlWUg7AlfTVm7ndUhCBy1lDfNqNAfw7y9XhoxSAJmIGmCZiroIrCdUlpS5K+T8Q3mXgkKVejaMS7o2jNQVVGBV9SX9AzyCz/LoSWQRRGPuVRyfW6gH8r2ak+dkpklgZuhROoEtYcBmTn/7ixjBwe4aX1xnJFB1ufIRixb1rBcIYlfyrVOOh/r63FUCApsUQdgvi0o+J8JG1IaeT191YCFGXXr7mPRpnsJcE+FuQ6pwfDg8uzkGNYDOrORBQWB6GdLeOwhTuxAe0JweuzwMCtC53Qr19qN/Veh3u8kJyUJu40URjcMhNZ8BwzKWiyvv6RB+gBDflDvZEFOo2N4wg93oqulo6QxqfVneFExcE9a7++gkpzQuwug2Ds+waOz/rEO7XTWlw3khQX5ao9vzSUu+6+tRDjUF3ScfoKpwjNXIHc1oUBRFywVxUjqsrH6BbdtartpAxV2Q7/NevgnXvECMpZ5mKit7aJex8GZnyz3xtLejh0LNDq2zSN4RAdcA83NlGGLPXawEqpZTBXlbM7hvORaJN0w/FNDFGx98LJeCf5kfZiGCSJ0/Km5Hh3f5ka3XZOKk6AqyDRHuONyrBLEfS2jXoXI5Ry5s276+B9HscXvj5RO0RlKN0yzFVTh940wTPfflGffCuvRsqMr/lwL+HssvzbpyUyF10wUmzvbhuZ7N0+p48HfZNmz1SnQX+P2RKpLWCFlY2PYHoXE6W4QHXeKASPCXouZgLkjYWfgV7O7pGeH/fUoNTmIy6OVPTPjVWzGt2kghYovbZrBGWnYx7IsLRJyWXBvyvLf13PBgD2bbUibQiu09fUMQC6Y1PgbyTGs0kAwt1RZVgGAookgyVavgY0CUD8XtnnG2LN6kZyLigS8gspeIviaX1hnrfhQVOhx4MuRr7jjQ9xsP1oP4st1K/LuJCKt7rMRp1tj79jXZiki0DeH2pnujSt1O2eg/Jr+qiZCj3arHlPZHv5pUDhJbw27nCPd7kD7WTv5i+Z7gLi52V/bBHrpuj1FddAx4TOm2lf0sl5BUX/FEOy7uHH698A09jMUMzGCR5bIZCc7O8UXFK2dKvtV5WmS3Hln5Y+bhI4I0rTLYDX14Rd0liB8kQ2jBHZCoBR3wES6+VB+qhFLdkLVmYNQs8CmV5jsSeDZWagnpwYtjwd6aFuZEhYdr6Gvb7a66QxAUqXlJ3lHvuNZXREu464n3QqxKDvocTUAvUKpdgNnNbfvbLpqMK8zYURR+hDugxLoupSf/S+15mPWMarQ0Y6rI5pJpLqy3EHfRdWpUqRQHCyKf41vFBHsgX03wJ72abbl/P8JVWCb7Ss2i0aCKLw+/IT8T+I/OmKvIA4yG2cNmREz+5QiQ8NY6IMTh4UVwqxjhAmGFQPTtFV1E6t2lm3KWkB/q8DgWarEhJ5sq60L3jOgi5xO3oNickc5cB/dzKHLJaE83ar7Yg719xy0gWOkP/AWPPfe2JUsfgxz87HIWzqx0aplUx1mL2NDSrdFK94p5RbSZEvElVOCvWJ8gilv5+jaJCbmBVSDIxXrgzTJtl1tbxQ17AU+pvjMXSw1Xp44eobJa7t60fa9kfWvITk5OrMn8pzdzpQltR3TWbkyfGWRmKfOvS8u+oC7YrH4k7CDCTXQyVpzsed+drMwW2ls9M+GxnOIcKroADh1S2aLHCqjuWa1ZUU5AqbM1yBDQdP7xnZW+dLW68l6lOgTCFQbi0g21ZkdKT8RgUjhLXJ2K9PVRtzmxcO5RBSAmdwsairuBamB6Qbb2TYr8QM6RdyH/B1BHWABb3Mu9uLPIFoYChAPQZoSlJQbwC/lEYx/t44AkNAX9twcYzFpDSLC2HgYu5qpKockK5evbYQblfVnlrwX7Lkethq+TgMZ74NAgij76fyXj6XeWOEhEIv24bdIc6nO3fL8SDyXd3K33lZW6T3dtSOd261dheR4iIR2EWwyR4AIAr6RokumOaNDhFaQO/Ptz8YJACua5Pr38/5VhDzQb0TjzfcxybhDujPlUZjFxk6DQB60+7qJx5wHSImwjGEmzS8UqKAVAXIP4QosiRKAMsQ4Y367STXb/SUjyjvJ4fdf3HS/iX62eA9IKmM0MON3nSYatM2M33rb7SVR7Wl/iQHN0O2l9wCsIAGUXjfgUo3oQGQ2jE9DiQvSFy6tuDvFzOx0bkRL0L0Fwxws81Wy7afP9nL9hyZxinKIi3MOrx9KQO4pwp7FHHudYBXrYSaVvyq2sMxClnVypTLBn9j0rfaEFTcReODFXrbFhCKsgKChIGG7s7cvQjJS4GK9QDYBz50XtLiMiZOwlUr+pIv8jAiBLNkgOJi5va7my0+dCmeDgF1wwFFDwfnBoGjDLFgTeAI4+WzJpcyeW83Nxt+O6c1OBS7c992YW9vzCDncjFX4QPp8Z1xL2Q0Re30xA3+yiO6Nn+Xa1e+FevHpqeucRp1en0Dzgvy/RqicWdT+r6Q/iX+VzehCOQXpB3Ii5djH4Xv1mzP1/hFt3xqaKQn8i07na7YsrdLOTI93K3J4ppRKDXGfmxoMyu8IoM8zrtAHvO0RoHH4dTiBj7by4giWIQlDbRqc66Gujnntw53SJDfxfK9FsiESkgwxUB8LiCocZ9yi8vd7NHqys8Ot8G8czpqEgdAVkF3QC5LfzqtbbmAVwlDJIkDfWeh5N3K0Te0YsRvdNiURIA7I5E7yjDS7oQw1WWHGjfUL5arSnX9OlK78tzSgblRPzQvccOKldzbTXYb2CNjAA8qmAHR3Qb4326VLzpL3pHm/1s57zhXnhAsvhNoVCUSgVbqk8fGULcGljVD8TIHeUTsnIgCcjP98fP6zGxaTnvVbgwE+QH02tAoZu1oQ/HfyVuo1hX025gigB5Z3BhQZBTDoCebjWc+a2S1gMIagmO/mvK/yVwjxKwMG6CrLV+JCC/0U6YnLzw0YNf9A6/8EI6BPwiKFCySmlvs052tFqHrMJjQSK+tiNc15tqs1043aLP0/EOQEWr6H9V5SZRoKYEYjG7/nFULnNLhIMBXK5cjMZz2273uNnmY5PCadu6qevOVTrUSX0/XpbpkMhEKIdh+feMDWu8/ZzXXdXcyLO5vDYMfkby3I0k90o7FtRSKyJ81rPlMX5hO27jrgn3z6ajAIQl2/VoGsm1bNhzkoOXRYyCUKMfEb1X7C22k/2i9DiBgqdmw1LAyTYBREwjAYCJN3N9HaRhYFne1ILHNnFuwn/g1unfbbkHIgxNEp/UKOwiOKVQBQLpiOWQMu2wZ1CuXnqQR5qzCJJGCrHLIkpeKfoqRYaS2bNxCVKdIX+7yG92LQX82WpEY+1qch2AiIvEroC9H02RqeJgiD/oPJ0beQ0zVSxL6IK4QRqiv1gmjpbhjQwRsPl06N5ljds9XPvWV1Ed/JQWbPtGvqsSWy+8fzXodWktJjWQ8/rSDIOutkoWA4VashmjeRyf/2+WDqTtv3uDx9emoi79tiZZYnRm7P2iDeO+GuMZ/q+F6LNgl9NbjNNUUmKgitiuyYbr/lkO42XAFzPtihjWMaYoLDPNpoqDa7/DuvCO8pbxpsokji1VeeT/6ixdGGQ22UsBswvWc0HAjyLR85xiVja7MMJ8kz9yXSJri1KmQfD2ClR6NMqRAW9fVajmvf+SXhQ8pBu2QCax8Y6+8vP59rHR9K6ubygTU2i3D2P6P3VpznwI958TAZ1mForufEBkmvXyQ5HCeAjXMN7HqACnOMNHgQOLekxOmlUJxh6/cPQ0yDvK8ztpgA6aEq05Uy8XNZNOiKstpnpiYJaJ2Xei+RrtMDa6t1DnYy4b+eyds5MHxSY8/OnGJ75O6kRrUsY8RHdqqOL5T7/lgXTNLEZzEUGnYTHpZLYoxdlxCfkScNl50csRsTY1buTUAdcBngW4P0EaLWsHzFy0zDTFUr+aH+zBkEea8DoFeezYMiKJxEAPAn1JDvm7AWZNzFF2xzbqXvzUDMIPzKeva094k3Xi6YBS5JCUDB2IkKVOK8faDv5GadRhnkk06AJK4PGQYAtABi7c0JSXlOp1s4tl/LpvzeKjvlrmEgDjWQc1oKfqmIWLBNLxstYoSY7qmTlBtzwAS+Kgmrl7fp+pezmb/Nt4umNu5zqqMsJ9efflh+yg0igrs23leStEx/IYphhP7pRqGaPvwSm8lLl5k8YQhH1dflgoHpfG9W8QtGpFmIFweIU6qsBGvDDUlJMCvagveDxX5oIGDN6glVIVQIUmc41SJjkZmdVYm56TT9+jY+agm4IYlk6eI4iaKGDY1MTtB5A7UMghD//mFGcbmN5BZr4haZkjnH/KsHQEGxUy5gVIJ+KUA9ZSuwzs/7FpDFMVXcJExhnaeBbLIZFpOtpX2iJXhUiLfCNEysnWC7cIJa2j+0kaZaXSrSNUY4LC1TCv3WQRKzaL8oGKxRKCj3GY2vQqh/wHxbpPV+V/OeL8megkjmAIECHGEftpViILX3FLHd3Ciki0a7ULo/Nu8MmeF7A9YvNlX7dnzUUq3I6ve6MZF3DnhdiwOZiF/o0Joc2xevXW1+QzlIuOtM192ALz1vJLUp/PvwGj897TEaJwZz5DyQcBhzzyJQcC8Op5w29sw5ou8D/Mh695+EbmmRMd9rogV6kflAZsc2N2bsdqffK7vEv0lwIpbtCugc5mOGiFwwH5MU+wnz8pYjKwch0rEZi8XDz5RldVHRrnPYFrYyRroDgKnAS/aKe6ESyU8UeKQ+d6rsOC5f46TeLmsn1gamBGnLaMybTVrZ0a/Sb+bGUhCIU3/ANFNq5c95W/cmehLFvQ+f36iL4rwx/QvMWg0V3CmsHWYXYn/Ywfwd0rBBM+RPUmbspwMrJ5gvTsu3rW/sfgGPZMQafLij3zVAgiIi6bAqAY6UnqT/Ve5gtGi6fpHUg6ZZR0pqi+++SBlH6+8cN1u35hXaaqWr6fPcIEsy4SMgxPcmqka7oH0jAg7qVqiVc9rHrRCSiBterXMDF4ezpkxsOp1lIAIyX7lMWcjFPCLxq0LfZBa+y2ZRY6m+BPVukGb9SWH3t3ygq3lykmrmHb95711w0FehY5kplUvxT4EWn3WC/9OymbjSYGTUxN/vdJ33CZGiyOceA40YnMWfePv3kysxDuQa48M32HwwFqEOfo1cgHVm8zxsxnUUtnDo0XxyCWciOtLvFXo0mjJhZURW6cU8pnZfBiAWzSAW4lFKh1XX6hM4Bx0WC8NkPa90YpWNEotKzApGstPI+yTMJjPZZ4fyVFjoO/capscl2QYuJvxlflYmRcp71g1iAn0Ybh7rTqzQm3nwZMNQKyqLReJAXYCWth0vdJJpRjv4yfUB/XNqbSLNUeopy0SzEdwXbU3YuL/VUDXVa8N8zMG5ebneox6hVE1rzX9re5T/XygYhdz9diUWd3qAU2y8Mtu+uz/0M1M68VNQvD/1CgLYHfLCz5ZLKBuWHs2wu/vUIUHVEOllIFyuXS7pHerFNBKTCoBIzgA5bWZo39mUqcbFnM3DnYaKUrLolr2e0idTBdCdgv/C/npDzJhCmTr1TBNNRYrnZZP7ZR+6G3aPK3qR6QhUBQd/Qsuq59RKmLSHxo77siza2ES2foRCTjj5QNhGluu7FtbphD03ikvNqSZuvJASjyQSQ4mDyYP7BW50YGwhGXxT4wCiWr9Lp8rtAdYCisY59/ALhJhf4XweOXqL+J2Eeb4f16InBkKBBy1UaC66D3sg/qiDxySVOkKln5gVzb6/ywIBJWiaX9Nj/TwniWsCvthIYXwS+x4SwwYhTExCbfWSK2Z1MvhKUY2Wx6M4RhVNrifZgp6qNx1R9nKih44J9j3CTolazX6zwc17/5WC8cXxQrGIAQH9BAJ3v8UTpSmAPWaNx1TLMy0W7SKGrippw7efuWQbjs9yQ8NNOHAJeysQITwJ+fRKCPJpUw8Rem/QrUJFKC7srinX7jUpKDp5oaWqwjnoTQ+Rul3wCh8/FptScqzA0y0Xu8tKT/Pfk5RBeSBypCGQmq0yw4harMGD2zDg+mOiccwgT1/o+yDFppr9UXwXa1IOVzLIHYi2uY0HjwBN9sXXcDQti6lEIQp31zPOjAzVNQjS43FzHkBXAz/wqQDMV6zyymjcnYZbwcSXd58t42s1quoyK+65XQfhYoh+dQhMR0n674BUzCCvrOjhDtDKbaJ2Lt3IqwHHRTbtlBu5yttcPv7zQr3NEGhl3+jTQ9AZbqY4JXlpbPTCpPV/OJ9rPrtv6kr8nZdze4G9rDLEmiAI5gWOwT7pFc7OUOMi0AEwKhZoqcrUSI9P5630snOKwOEoKuPzNHQ4fx1ojCrEw4awBO45gHpBwlFVVvBFnSw5mmcFQB9i3puWAet/FzATEx66TXnZGlR8o9IFhi2OAZ5cyyWC/HT68CwdyL/ZlZv/bDuhcptOdFfpkSsfX65UO7a1Md1RC+G+ngaa3s8OqpRWS3ieY2BW6Mx1jVybYXpypyDdIeQsD6aiKUPerGySDfrlbCyLXnqCu4kOHFMRa1sFsyUR9TT2y03NfU4zCISUr6RhHxq2QgssustBClRi9Z9fwAdz6wCQmVaH+hf65vna0hPueqkZMbpW0861aMGNsy1gLOYgsdpWpj+v73yDB5h7Fy8UF2KDJCXjfI7A/SuNofa0a8cWvmzVNnD2LWaUdxfp9vVOFkiR0GtHcIhzZPP8rhTQxA4JTBaaqoGrn2u9MCj+dRhnmLqIE8QmcLQEaDfSlLFvbHHINio7lqp5MRlMgHzoFqMkvAIokcZlK2EJmR738hrWUGUDXrNX8i3O+k7NaVBYpu62MxP+pw57Pf1fu6mwDwbdGvssaXl9qc2UJdYlm3+D9m/q+P8OsDjZ3s15Xq4kjDwmZKNhsMLoZJDzDkfXsgB2DxhEQdIVK49v2f1yNXLcUbip4b9Hx6bm0LlfJiLE29qyenDSVEBUE2Glajq0aDP1+bDG3ONuyyTqJ+7ilw7aBCRJHJMZRDqRUHS74h23QS0gC+Ojk9skhmWtuCA2CcyRN9GtnBvYnhA5ynj9WLb1PB0JwXDaV86wMZEcSqYklTOkC/KOz7GhJ+1yTX15GVoidit4WNm8Utxx15i6tbndPl5eu3ujbcQuuMl4VCW5alrkjal8ttlOAPPEUTjP0v2PoA1Q5iO8GRdfPEDLh2AL+yJDlAy94UV25piWj/tYIWDs3dVcJxgLIc91dk0AFIG4mOWUJU9Lw1vesDM6/JzBPJTK9i5/v0d9GDYmhw5dBq68GRN9wty3FQAlXNTQe7eW9lgxD5r6QLzi4d6YxAYLr6Y4UtDRbI6MuBqUuRNUlTjDrbTzBrEsjiOLvX1pQBMZEiTEQMO8aeueL65jmlsHX1oc5u8iaECg4qyo/JaW8joNZ8Ix5uh3MF7XCve5VQS3B3Tmp3cuAsMJXktyr1JzZGtFF9RTecSU8Xtbv0jacuo4qnmUVgZEYDqJYdo6G+wYxHZREt0BOGZbA1BmfprfTRLlE1hE9EIsGs3cuq36KxZlXL09IGqg3Mq7IjZbPB/zpBwP0B69Unox5zV9YqVc0d/LIYLKn8+ZdE8wjoJMhxOu8qotdItfcDIdkCSWjnu99oUm9B3TZRmqaPsHm9RgjTaDYOT932CtLS8myhzvZV4A3bd4puxBLl9bP/kRFS6rYm5kfFOqodJXGaQskQa9kUp0Av46h0ljyDiPu6O5/HADMp1pSx4xIdNbIfWOs1KXgKY0H2fAeJCwSZtd1zq4aK8ryLiKbGzHr/nges5rTDhqIqeX7YHgJGFbH5kbziQFoRZs+1Gqz31fLnm79JFKbpfpW4trPvNDNxcKV+oF5l7d+5nZ86XZwqWuebRkTIzLj2YE4y4YSBNwin+h8+5UajSP5h9cJ86lYEyHb/Px5PE0XGzYzOHcTryjlGe7Yf2XrUeSWeD9Wyb0H0HtYEyNGOgntVqPfn0w2O62A2INAeZE7D7+TrqhzfC5SW5R94H5TQQ4mS+zKz00dch5OtZVMJmBahhnRka6oa0PGi36hVl3fO3xwQPu2ipXvXiGiAjesTV9yhZJeZT7EYS1oAWccgqCfn/yeJJkmttW0RnIhtba8J++W2RxeZALgL2mf9gaeQ2CzONmhtrBDFl96tdhsIAdx51ykuQ+4+02w7BLicAVMYGVdKWidOGcUfs/Quez2/xW6GDexALdC3Kj26/qZWrgs2L6/nZpw3W1Ygtj4k2zOIvFXsyP/FG5YE1OXy+gtQFy7yTBUPiKZOhIrD4R6qIF0rGI6w8IzrUdu982QFgEYh1uN14sd2VxF/XF3nRbxmDSrO44h2O+3q/FyWgGDaiXnJkUT40F8GkV0xlYEG37/AP9uj7Pv9afRbOiUAjc2YmDu2PrJfeE0hAHKtSHKj6J97WmtTXvHemLjE8ZrLE5bVdM74D+Jpi6OineuIABP4qFbz0Ly297IJ8/XJtyVbR/x+H6D3ec3oEyD9Ds/vTkGZs5wwhOD5nW/CfnJL4MjFYAfDapyFP5/5WFccpYanknbATaAnSvSoDyzMbXc05nczvjWOvTPvFhEXerpOpObASwXsiJoYPA5zE8Bltf2nK/UvXT1TVBIvBm55ySkdQtMCN4tVPq0byL/xq49zJaJDwNDJxK/+l0Y8KGmuYA2RzIFkZ2VyehHYDAB/J+7lNRXxoRkLXLVHDwdAK6P+driMs/3pnTzR2jeIKV4AuvWrEa9MTw4NIsbqHZlFc2WYW6/I4sUWsWgtWuGdQ0xbIVKEsb1/QSKZPZ5Bq2DuGESnqV4pi5zMlPGIkEal3AnDpO5wdUfV0euEWOmxwPb8L/Iig0juI1Jp27TcfLvnwQo+cix88OCxH08LcYioiorOQuwdGrEyDr+q6HPVggMDZWUID1A7aktlpmp+SQeD8hrXXV9oh7F/JB4xlp0mI4nX5oYsNrDhru9f+BdK2cp7Dns43b11U4R7iUo/MpEPtt9TcxTXFH2hC6ukN6Z8XMBxWLxWFXmmYBgrlUCuBhZCDW0U/fvytUISSe9juISM81zyyx1ZRDqY2H5VJFxGPoU0GooBNT2seUiRT1tFLAK9fOC0TEoVbEB/T4OAstKHpGymnlDDE2sPvxOb9EBk0fs4hCT2Wctmp5LWgep71w+sbNvto50IVM2qnpr+lG3vjV3ryqoiXWwtSd3CBM6ArkTOOpzAkd0J7dWKpP7busYYJEn4jcgXLLwoSc07A1+NynypMfXFHIabaMGACJIkJH5JOgGUgwAgMCdm7D7FF8IrMNWx0E/dUsJ8x6q7qUSDcGsj/p+kal6jAbpsZks6wMWUCAQPu11YHiF+mz+9y9dBqVPDLqOl7OugtXqUyUqSpZjKHLwq4uHEFljQzlZqaAljx+zbypR+Y1zITWwbB/Z16Hy2mFlh/zZ8u5SQo6EXY79wNSqod/kLAXRG0mRckr24aszY2L6BrKIMH6X53O1BWfanaT3rKlkFzHqck9LohkjFWeJnucoiCRYLKqq0PD02Gqeu509iFVNL7gcjto4zQnnxyc9HNY7NWePAZkAWX8C54c+dVjB607SW+KQd5iIxWIUgo7OZHJ7+r0aoHq34aMLryAfwaWLK0ige8Vp6HwIzFY7NPg6hhq6IrPIUuypDqkPXLE9OGprwCUdjUkTSRTCr8d8YfYZjfyIBkXQ9aR523dN3aSk9ma4FvZJNCJB2mkDuaDeXpFD5uOZyVIr5v9vencou03gmTN0dSjvt05lrEiLo4Ei0nFbBmdXZX+tTwJB4KFh7JU9zrN97GnL+BULxm5Q1aORCAir1SjBdWKqIgp8YqWegsAXwLJW6i2QoY2LqPNGpstz11gETwkDpkochZddrtm4REn25UIoLZdNLDvsmkCIfqgYPT01/IIlYnYawMGsbr7vmPqtXq0NHaGR1XI5lFaJmDtXFMkOFVKuOZbMx8ofCFVjFV4s5WuAR9MWF+/MPo2z8bmwnzfPnUysU4BkU7IOPSjD47qFOd5Br/M1AVfEqhdLe0CQ8ezHf4YcsVujQ7Z9R+xc4VZ9e0UYFFoO9d+X6oah435FoqlOpm4KebO1qIoC/EWF+IiqMNusThLbVTvH8HsEm0aAejwmm4Sw8ooOmCg8Hj7t/Dc0Uhf2f+EPVOLNg5KGjwgAT9/E9FppVoNpLK5o9VZGoIibVbt99FcVQ5hVOQRD74cRciJgkCpQ2ohHjRW26xrqgrJpWatcd3C2YFOhgIwBHvJruT4ZnhERM8UuXqYxZ7PMyUlXAJ+6qYa9CZz3vOYn+Im3T/xk/FWBNVpkukN81Pt7Nz0FNRvnf/YJ9iBuFF79MqqfYxFfsIZdM/IaMeyDXQrgdm8WgsRaOErOkp65G6tRrMYnT/OHdJQt8gfoEKqTHZ8uhYG8H79nlHJNu8JihHCiC4Zy0WoXhhOt7PpEgTtP1bQsmNiFyCttGc9I+GPLPbrNv196IAktfLDzdKHyFVz4N7DQQL1Kk+qfFkhRPOi9hfW3zRmM8hF6520r3L6fa74zX/+RWCGxxL4o3RNWfcZqOh/Jj8A+Nync2PbAEASzWSx/ImQWmXER99gAbxlmdrBFObB/AozGESlthsg7LgW7EqADORRPHGUGpcf9Co1xfBiB6uz3ZmT50FsobCRH/EJtQaNSwLZzDdW2GQlV+YSPwVZ0AR3Am8aDX4bhEplJhUXxslsPujEx7eLCmmWXCdou/Hy8IxrwSwj9Oa7RByNQyaagFG+9Obb0P7z6deqoy7vse85FuM/+avDQjfpY6pNLWBioKiBnl6dH0hJADWdjKKGCVIwgSOQ1UryUsc/bYfCjZ9zYIMWIJR8Xx5PttWx9HnFA4KIhP+MgTjNnG2nRo0RCRZoCsyWHPJ/UIgvKAdX8CeesP0BbkiTYR6+F43wchIBSpkVY+z5L5Bg8CDZWriINbFUbObmHbaDbC9ZDs2rFbzrXUUKQfAkAZA9VHmC0VERLo3eFpwzPLmrKHOeDH4gWbwAxCMXwOkVulES7k86lv11+xv6W8xdEyjrmhYYD0SoI9IIP5P3fPgHnCZa806MFFVccXC4bRku5q1uHEwuz1j+50lTd/+HK1cwG8VdxH1hc1+Tq9sgUD7ohbZOsvtz9bD1OGVohj6s71uzI0GVXwYMcZ2z78IXEFspZf4wI/Vrt22uZQTr3Pho5DI2w5pNep/eEQ6p0nJ6+xn6/5OsftaGwxI+jFu6t+FlHtMkhj3r5kT9trMSIfd0gxU087A7sXNiRZUkgv6mkVFPTerOPB9Y8yBsy2cd/krWJi9k612rKE18v1JvBvf0eAw5DKEBiIWVBcHoq7m0hYv0rzGRYisp+LqB+qmjYctlRfMFuxDCj1fW2k+EckhSC/2Q9TL7JCGWU1KrHSF8JPkzNH7Ayqaj8yPowdhBdL5dNejZqMocDy1oWSCzMiRj8V8OUEPhufiGNcuzod7WHWa6ygeTxzJE/uIRef8skm5yFwXIjziza3bYSIJ5QjPhPuz2gyzvXWCbMVkVxJGmMiKTLcKvcbjAjMk2VMja1yK63YJlN6/FFKXY1hUvNC+tkEWr7rEJbGlFlPCP2tBxR33Y0W+tLzsauFmZSbfd6OTdmO4T6xuCxL9ZuqHf35Bmia5YdUD7ZoBynt0c9oM/Y7DUzO3uq1ms3GZa4iWW9dEfZTTkLO+s/2zX2Zv3O/AEDU9GCaHeAN9qk7ejIB+8VtuAUvLbmOR9LAKhCi3UIsYQfDc/Q/Jkh5yFJNte4BJdLHJ28N8NcZCN9Bq4lWeM3KgNt2N0VRRQo8gIUOROaiJ7NWpTA3Xixn6r5794C9oA4GKK1CYBaZe257U1w/86Qx6Rax/K88jThP/GSSIrfaKBtXxM+g6Z5JjjkIhSo8IiyZeBBQmXVNM5UBBERZ8G2fW+6aMJHfZGmRSvaEGlBPrTax3FTbv9Oc1Ahw5fh5OAHMmXtYUH+cmi9HCKHZsXy1UHW3+qkM4C9Ad1g9aaFvO829tf7uOknbEwdmoBbagRbeMMpJNcd6Ri8l/py6iXldvgBB0wHDXpdGAwMxZPoHbfMH1PGmLn9npP/vt4eV1NWLXJOm4Pi/noXBaUISqjbI3ggflZuxcPADJBfbOE09cCkDyQzfInHL2EOFASkK1vabw2uRs0U4Ffd4mYJ6/LbnanJ2NY8DtkSLpfYmCrZSr6lz/ydGKd9VGd1tRMP1M0dxiJyfBY91MVe+A605SD5HNvtPUUnXHmBuJK00S3jRcd0UoSDNB64n2BjLdOybgZnPi6e2lWTzqhrcAMmUSMBpI0NO3KHCzydw37nplkfLfIHH2Hlg/BpBtg9SdEHVin1fN/01Z9DzXvswYoUUJhDKlzbsjyAG6KJ7LM2VQORJII7vGL2vR7Owv6JDbuTOudi2Qz33PXHL1PBfVBVm1kw1/XpyU8o28YGN7xxuj3EZ76eMTbb+V3wqx1LpT55BEfcp86EwFNNBgBRRItf4R5cbXoji22L9d536CbzZnbDPFBKcCNml6mAzW28W8EVn+BdUm4wBVdBY/DNDfMWHh5ffm2L9Xae0ZsuhO0hOKG5xQrm1lZmvnb3ioi7b9YnACIdXFIsgAxfIdOzYMT1XraDk3M+IvGHYz4ceSRHm8lDCz++K90nMCs7ZxnGpI6Jmr8vSNWGHbMweyuDhRNgOvaxvwrZjDtstPRJsR8kmgrpV9k5AkspZflL/Cx8oszCyvaCgA2b29NeqNSAbgKOGDbWs76SkNoMXQKxEyt5h61OUJW5QExYgbgrknVOzUtOnNRDLS37szvcRP8t5byJDo6CDITzUj1Q4FwiPtmbQs0g7R4mNlVKZcE9RjTIMT71HjIaaNSCoHfc2gn5XlaWmwmtWRkAHQr7LrJdxAKwUKrLJmTWFEs0OBC+QXsHV/40G6fbAMTQbtIOi5g7H5Z1ZW4C32TN7lxkfSGfaIitIFB3qa7OPThuW0ec3995kR6pJZqYrjsiV0lArLCuGpSqT+BiDy0MXJb5jK0Wy/+WD0A6lIgneNkxHO+EECs5Kp+al2sswpUv4w4RiDzK0PWiSnVoKTrNQczTFTppw5RqHxeFFyH7hfLhW8VGeBJ7j1QcCrrmdFK9IYTCesUUF2tbSLW7gJW5DJboGHnmKM0ixX9U0HUyaR97/gFeCb3GkvKnMOtFsyadX/UlwRdzpE9OcCUKlLMEA15YuehbtHCNynyCpbZ4V/h5Zf9LVRwFiQt95LXM0Ev/xUsk6U0cdSCNbwM6MJ4Vqgi3PoATYJ6RZcKQtQTV3VI/WgLJLoxoujlR99lErEHx7fw0NbhT5a3vF9RG/tDWWk7RnUXG2mdGrbnV13f/ulE45FcfAsxLqapzSHBss/eBROoGLF4rrk+NB4xcBjJbLQMhZTULmzhKXSHBc9pgZaHoKmQZUp5sShc5k+dnq1xiTLZ3uyyQruZi+CgL3cG3Gws3m3GceRjtujXVS7rXorObGO491XokZKaQeUn4unsu++V/BWEDqAUF02al2fD8+kqJNconMsPyxGmO/UOAymUKb3rZRdzWNewy3b/39YSolo7BrGi89mykrVnffS24SirL9IhU92Z2UACypLUNkGtzodo4d6yyZFgUuu8j5/iFr/eYA7p6jOk1gBwSpGjO/qUufhriirr2QocOHCERVdvxbSqhSvxN1O3omLqK/dHgSb+3HVoSpsDzL6Wo/D1tRXBEDbvpIEx5pTrFTRRhtamli3B6sKBZAJGJEZ2x+9e80YMQ64jiVv5jgVMakN4YcJ5mfJJkBPNUiXgKMb2FSgS2Ik6JlHz8sQbJ9vfte5cehPbrz7rSrxJvlcnoO5dsdvQXX/jYpgOPh8TABOObq7PwfdSZFj6Sdl2LvQ3XvxKxt0XynbGqKNwNg0XAbJbTTocZtZFfZKOevIEdypd8SoVRSvvkJicvlzBbVOUUphAfskbAloxl0X2C/Vzf/foMalLrqv4AntgQ7tkFFDpryhzmtF5UHk0YwMQdRw2x+/buoFcqHMCqRbm0y3eYfOwugNrWzv+kf4yd2W9A52A/YGBBtBDdEZJwdbpopzkoD5f0y4E3t+k1vo6oYGpXIdsWZ2kVwANVeziUIl6ef6lDr75ZT5s5w1jxOeU3cQp/7tpya3ZBR7Qqu94ZQfiTWHxS0SNkKTBqVBi/KtM+ycf0nSQgGQWGiYrZbcdiYov+/JTor3LNWGptgeSDjMynht5FiZSoNgFFpbDeg3kj4hfL1XctvhccMCx5SzLAwyFGOmk+tElCwVkiloTjKRaQd7ZSC4Kuw/786BHpLtf8ZuDHtnJHyu5bU5IlJZ55SKiincohRiXfvOlswnqSO9Ns43JuouN7BjX6QzQ5PbnsiAr8KVaN4aIdFl1K4w+IgJm8n5Rilf+t1qx4nuy84hIk+TBBq7IVF/bMbZYMfGMWMuHEs3JxnyzaoUcsefqofaojQ9Rq69p3U5Vu0/052ftV2mZMUynizSRZUdplz3ST7SZP/zfSwxNZQxcZ0V930BgsA9l1Vl5ODWPosxU7uOfPzbR8cpfmL4IUR7l34HRp1IIwU6H1FvWLbcIATU39OzoQH/e53YPWDml+TTZ2Yp5xydU/DUdHawRWSNj0ur2FETvNrNQJ0aUKQcnLP8vcseeYsqbMa0EP7dGGVBAvsGpRGKYBQ5eVEwK8P5rz7YLylZkbO2NqqVX3AtR4C7Z4yzq2lCZLaJX3Mk796IyioljTdZiT95vclSZAMqAoWneAe8XDQAaebkFkWpuIrnYQd4OVcuvro4CWUygcylFVqWjBDTsf3zhLZmNWU8Sb/3i8dY6DNrBzCVsrUNowFJT6H/qqBh3j0tXGQUj4DEBixS6FDjnmsYlqQ7GQWYVKbILDlj21kahlbyDek7e7oqwArloTmdp+Vx806cH4tHG6QhcYIJsj0Q7q3MXLHevXY8ebaG3Wc2KIEZEjVKueGJL2MfiVN4mbR5/8YY+jYd78ZvlUpobR4zSRHWdVbJ6ClIg5a4V/uFBogvofI1SHrs1k9Yd20oOtNWo25iN4HCMjqstJkCCwl7QHZPpKpxFtTq30PID0JFmQAkTPkLHaDdNVJ/QbDvo7LH3D1lWUY+s9urwUmYHLL6Joyb3qM4f0PVE9IngTzBzZhAedmmnh+H+ydjPoA/emTuHAx6+6X9ZxXQXrdNx1O1Mx4vi/lXnvsKcz3UW6/NIH5EX742vMUK6FFbQptVZUmlx1txei4eq/jkQfhTLK65Yi7HDyPS0COGXvQxu3eLKuvHLwqGu5LPFGMtiFwlXGiWdf1bXs7Al8t9BueuTQpFtbiEB25YTDUdxq7ldbQ3SCX6ii/kkXDQ3bMd+9iAeot64v4GAjgdOoSd03rsIm9ShClK9bASA+HO5pSFtcBdrjX5JP85ojm8vSb8HwovRiPH3GTZB0n1M8pJJJzNYj9ER/t3DZ/PYbBWx4n/ZQeUHhn+RikLiHwbdrX6akD2p5565n5wmq9QXnw0m9CkO9BAGHdXvOBR4XMLrqGnd/INK18JWIRqAmf84WH+ObjqTookN03HDQEl5OTmcJ5Fu7g4x7BhW/kZOg1/9k8BQ27jcEImo96R84yj5gGazrnwZJqrpLC++am1mb9eRV3ddYEtxYTEE6L51Qysrs/d0+COwu/AYXQH8q38p5ilGwjAoyUoDOdLz/OBIBdBby4MaBFGT9k/cbJYH2Y1hRsJx/iIgA2EeFEjxh+uRIIWisXcMOM9rhh6a2E6h7adDyTA1MB/5BPVCCeEcP3hzVHi4geRuhwkU+wEJX5Gh9aUYL4kFr/25TaWMBi3nCbS1lBDhKleYvVNdWBXfT2edwDJJewhRfhxH/ISJb4y3gKROt2YMz8ZwkJKpex0+/1Dp6M+inknO66d4ZdU4iUAJrLfbCPBGGhn4OIDSBgdt/W/PRDsE1MgSHhICAsZWP0u6bK+OULyHmGTDlv97yXxj3gpKkFy1ZI9xdrynWBd6l4KsYqKat9ylxWZdOlGb/eJiyp2+7xKzW8WGYwmKcw/15US4gI8MCc7iFuRolLkVCMcTSqE/6kX6WVTCgi4spodeWmlXcL3dfZ8YPDbDIOR8VtdZF2fPcxIaip/F2bRFVgCG6YRN4cXdzcPUw+8wez3nv41ki0kjn9dHRC+IpHwh+EKSGfP76hBzkTGnGqsXbGRO3mKEWFqDy0/kiOuStTINYJtOROxvn2Zeh6LHbXAm0VkgXXL1myDW7cCTI/4ZNzc87m5Iap5axXHyr2uUi2z4J2QcHd722ax+ka/9xvJnSd8pxhIlALTp/YJDdkVvPkDCfAfW1U8psY4ieeysNmWxI2hY27n4pado4KPJ7/SD2DOzRzfkd+HfAhkDAo/YqjY39mn9LkEWLqbA6tFXNCD7fVwvmGjxs3Cqz/MPpLv5PHu0kXcfyMFzAhSK1tcP/Xj1E8O0u9nKxrbadS0wMB/S0kWMkDlz5YvirCtyrghXO11AzVtIsEUGyGJ7L8SQ745R3dI5/lBljPvYxY66IIpbsFhV5eL0qORjpoVpHGRBXQrEmEemd5yiF9I9VfqlnXpiHQ0/aHw1gch7/f7oYdaujftY7PTn49C0nbuNyIE46LxOyvrv3VsZncvuiewqkMaFcNZ1QOT6Y9tppvey/7LuaVPXzCUhqL68TqVvxIXzxUFl0ctVUKfHlYW94yesogXaOiZErk4vG3DFQAtiEFTSFiHVR2TQVsZl7Ar6biKh3p2fulvbTRmNanP/rv/1YHJgxSCjr3jh+k+r+Pzim3ns9rEQU6I2n9QNBxsIWb4iBH0j99qQUjYpv0KoXLvc+ugto0K5tFmfU9MojlDccnk9OVACRTG7+Tl3aiMRGHm2xwuO+zw6xvDCjay78Dr4DOfQ6pVJpbj1VtRbpCLzQhI4Hafgbd4ispUQEmu6qoritGfLsS1wLmb7J8U35Pxv03I0WI8inRc8Wkze1NAbR/dUqrJ9nj8UJSYyIlZU2QCTcc9m38EusvAMscK4Gk+9MACSeOd6YIUbOMIwQeXqSfNe7/HcUCZdAVK3VmV69d8LGnnx8k8FZQ9G9YUWcILGrPpSA/Tn1D3X45n580W9YQa/vcG/SGKM9yJ4mXzzo1FGGJszEbIQsr5Eff6bCAjR2sJsBJ2Jy1CU8aaoWcTe6d6obgfAYMQKAOlea9dFfX8rHhwHcoYtYdm8XV+T277sM6UFiBr+fzojKSUb2a0StGnal4wovRidXOnc3VoEZdBB1Ijpa2sXnJJn+4lzco7Xo0uDtHH150qTiahlc8eFkOlH1bizHjnvYjrl/uSPdegLPoCCiO3GOh6qNBcL7dEkvJSxPx3rXVzI1xuXvsI28hlKOxb49wbO8ZU1o1ovrcMw794x/sMQynqHlgiqbQe58BRbQqAKeNYNZsSO5jLGZwcsxUoIoyt3cddgNFWw8jgj3UOapSeh+cR4mnK7cvHSNgGjKp8D2MJ5mcaQG0G+ugsKkC2LtAIuPuT0FrHdsYL7fhfSBZORDo6iIBJCfl9CvvbzKEjTJhhP3vRr57U5nsX+L6MhKMVQeID0dfs+crfe1xis/ukKI33sCAfEH7MKakW5if3a4wGV15vz5jw9dYSVFayPxRHNlimAi8zWJEPKs+PdlGIcXmFNLEMm17CmticwYMzLK52xco81tfS8umsWKvjcMJ+stNgvTaINyGPT4YH0DbxM/fPtcfbto6g5r5VeKMtiMjxpZdOb8cHw3FeMrAXDOr/N6ON+xbK2wAvhMVbLv2y/xuogA7kdzYaazcZnh6CH/1H/MrHiMctBBZl+ugFa53F3cFzukd0uP7TBwv7JXTDEm41J0/gcSQNpbFkEVWxBiOKisdKFC89GWMcFJH0EEjAPfYfQTq9v4Q42WYyJQF28cMQKMHqkJkdlggen7UnUOu8SQwYFUvKiLckGw6QZAdsipAzNhQwlpNyzU441DwaSXrAWcl8Nn35u6uTqe/xr2AXrJ/9iE4PeV8hSZtqIKjqJwWr+KqP1yA01BGg9HCS1FkDCry+kFkQHHqnOESuYtRTm7K2pjAM1aRl1Yik/ex6i6SBw9gntN4od2tJABhN9k8XgcA1bUhRNRgI9nRzd6xpRBaMPRHeYkGwkQg7+j5Ayt7pEZTiShRDxyQvKj74w8jW18ax44VINPDWJ4bb5Suyt9tAfzGmB+mAUHXqe+JxNudTCbAJcZbrHJtrqQqzCuaIqd1PXeXLUIKeylmyI5lJYGLc6a+LwnSRtHyt1xXUl3xD4i1gKycAEuLhh+m7vHXUIiiCysswmtvBw9Dpn7g4uJ5S/JgjKDPZpHdOnrFCTDPUSd2UuSr5AudKxeXALx13ypzeWUK+lSLemhoGIvZUKTR98MkiHoGhNyNhiLwW9mIq7doKYnJVSaNck0RGtsdJpxKe0cv+MEbpDEtCK5q8RG1qWoO/xVdegjEtVvLqOLSB5qajJmZmF6g5zNzFSWth+FQAwqZSNQaIdFqv4waNIDNM2UejSEyfRlTxqYhZfvNgwVPBxWFw2p8rlvcZQfipy0CTF8PShtHVa5tx3vh2zQYb/mnuoGL0/LfqmxmGvuwenCVfeaMGZxyxQ8CHNPcMGneQhNJ5C5+OTJByaSf7H/siS8CQOi9E6pac+Sdef1PnfttBvA0grtSbKVtDkirXmkcrSnX0RVLeCfhUf3fBXtgQlDYQGuvK9Vk3Pe9BAyvFoS9NN7a4IBoDquXQiHgjgVeO1pMq2JUQqgUKzivSqfDFQJ1syGIvm4OWTPKKbf1ACT/QrYGX1UFVO1dRbhjtGIPG5n64n6mlgsbLv/n+J1AEhW3g6swCCeLOIKXJv78vkGksjkQcgAlg5ueF9eM+ReUSYu7LLIREB0fayEjxQcNt/tOLcLmXOdx4DwEReauipmEN6qXq+YknEV6x0tQW2KsMPK7iBHdsXBLfDLxwZbzddkd3MuvtWELeuh7Oa+WmurJCkedUMNuEU3eJawNZ8yqotwmwYEcV63+ah0g0NtehmdTmcnjIByi1fzp9UiabICqBFuXjpsIa7xY3rkvx9/fdwvgu2u8ug67fsk+0mWlFzDF4vMsZSihK+UAz4Xz3yupk0xiOc15BwD6YCtGzyjE2fx6KjES0E3Iadu6jtp+WKBXOYRfSI9Ss/Dfn/EjrDxLvZY7OHhWZoxW0Mud5RPgPMrhBEkxcDYJstvAXKzGdgrtm+otvZUY6mZNdRBdmDa3RIreWF6VPFsmXcPmGRYbQzNNoyd+p/HqqFm/1XEVQQC/p+Cbg1VM8WeEK+hhukMQiD7lb6LdOMebKlRHzmJrYYFF+GaY05PvAeYEjrNDaSiFd+i65YYlvR1GjO92LgXp4B2+fb5upP7aKBAKxS+NN5/U8IZY1SxQ9Rms0imWgBr2kcOuqKz3J8wV2yOhydd3SZsa2sSEjn1BXTyMkiLvygm66gi2Di+caA/owtjbhZWaEiZogMS7c9kirG3CV1CjamBLd0bnnaZl3isyTl/3Fd9t4ffPh+aiZm7XpQadmE60jnxxPDz/hXqQ/8P3cG9OrwL9hyyv4ZOV4JgFFFPRyb2VMBycksA5chD9OSwOIBHhd2k4OvTdWKJUTPlqEYXlHyYdGqQDqh/b1GMJ6QfQgavqqzO1FWw/fAqWUD+Esn8WlR5hjnq4YAXFsktrVsSEpjOkaFARvtTIhh/Qlob6BRZYAmsqEMKUOHjBNCKendu8+98VTEhljta/ymDWCKR7frriBPbbv5RwIvZIePfAF9FmWGZp8Uc9f6MORXwGR4plL+VUj82lbSkXjBsmnPU9aCD6USWsQyO2ayxmkXXkGHXeZjIP5LEobbsQwXhTn0AayNBKTwn8tjl6fbyNtJCY3ncqmlKDh5li+KamnpepEFbfoTvsbDYoZuFxOt0pYHQ6oa6EpEuvh9s7vJYnehVpPXqtfcW7XBKWqwNZ7y5GLbQmUQ5J1kvZiaSMrqnj3lZii14ahgNdLutjr15UVNssP3xxfZuprI7CYsgBcpdgHohfScx3cBHBt3jBsv6/nhSklQbVSWOfp8hwHtbVMZiqaX47riV+LtPpoyJhbHH7w4UF+5oFaTaO9kOZHNguxCFvbDcMZakw2DnfW1zXMxFeoQWV0N/p2LKMy+KTB25xzsFuFgDAFPbsopyXI8uGbZfsVVaNFhfK4Lw6JxFPUyPT1epasBoz/kaEuJeK+a6HgjYUNX9Zb6lcqZAxJLymzdh97Yr2QjHzACEfJJ88LhmdKXEJMRAgaC7QDbNC88D6aBiQ7v+g5ZsM5Gqpvo78OtmCBmoVbfTh8DeTieIzShhC3fYx4Xpk/1PKPzjMFpBaRso7cWwOmTwwSZxo5ad+KO9tAeEhiLgt/QCf4Mk8+nA6p7zctMMtZwHgOiDYFrcYfJijGQVcAyeS/2HzRjk/+kbJ/8hCwKQptX6LuPr1dSObwde7++qII/oLct75hACxeuKArE7dMQ8RRZh9a0av3krXAwRyrYMWypMovOsPKTGnDU3z1WFMx/OvI8yLTSlVZ/VEDe7H9yP/ppCjH2JqX3MqsqmCMiYQ/rZvZMwvckehSa9zi5J8nU7t10Y4gEYRDlZf53SKD7AOaxPTj8K1pRGYOJcFKoEf5dMUL3uwOpTbyiH3zaIWCoJiiPyf1WMnNo1fuRmS2LmerH5GL1kVV+SMfIDXDzZHlqrTksxBWePbZ02duvzStWbGUHwr10LB3SyPK+VcDYqUgWmP6QVL5Ina6oA/jIg+hqB1c/bOz3zv9ciD2GLCCKTq0qJ+t/Jc2XQeqYzyNh7h8+dJoi0ltt/uVEdo4CE+N6HrWq1CQ9gTVLTDVEa9zON+F75qj8DuYrAPCU7z+5lpPKU9S4yLcJThJ12NWbIiNKzBDVda95pdEXjnL8w8o06vnw1JkRasjyEtsHejo6Cl+j1OK/k+UTfnwMf+5srP7mlOghMCqxxRxLEoXHoTd1j1Lmsnc6oDa41QpSWQMqLX4k3UlnPcX76a1pFvVReAg7dnhCZou3ED/iCtGeP54yQxSb4Hy0rZT1AomMZktS+xEw9Y87Lnvobiu2doqIKXX0X9W88xFHnabr8y3gDPKp1dvS6hXZzFsVzGMOfgu9OZrP5OC1hfRTtdh0OqkVIrXJrj6QlIAkqX2enn8tF+ktyev/594ltrNF8TNQ6az1UwLw1AA6+09VH8qqNQtHGhTWT/xren8kU0Ne7GBjfVFXj8I2E5mUccyy59oRgUctSNWbsef8zsg2wjHYOdS4DcyTVRD2cT402hSiIfqpI8sKXPaMic6QP5opyebEn5jjXUXXp+PxPh/WsnVLoBbANXytUBO0DR4RvF2sEcYl+vq7ZON2yF+LJEHqc8FM6Nj69i4pKDr7JJ6ThY4e2yFQllm+XfdKaoj4v0kOzC8SdwJhGbIsCCSuy7EhAo4CLwVqTN5dd/LWHfDMm/TvJngOnp7MM0Gq7NgtQ6mu7LSRXdIw+FpK1csK+b/usjnFIp2Ke/Bt1SzcMFcrRzYQZIeflQYFERVEiR9N+07G4GvQVvd3KxPq/hSI0F7VTSNxOs/69iLbM8bk0QLdi73Egqdy6RNAW3wavpq7EvtSm2VSgCtBk6xn4WikhYfTAwyo8++Y3+eEh/or2aD44Ls/TUpNccZO3myi1y44s/Q1lzDrWy2HzPHDFj1QPwp1TzYKXqK1qMFP3YU40J/nAgiy9yoKKGdgKdbJu3wX+7WmhK+QbJZsoMnN5EYOcsMwhTZENjvu/e7d6yUUYhFt0OgZg3AyhqAYXCnS85ms19I+7FK7xsrzAztsdMZbO1bwl7a25JkZCEGhd4K82V23WcjQjgyqJor+Djh8yQsNFnQXvAPpNL+DAT9aivgHWRcoH934xsqvrE5NmMOGpZe5KhTUh/k9jc6rqNkYI6jIWINfmxhsDm2KbR9LkFKJ8grWjH0EezGaC40FO/YLb2sWJoiKFt4XUooEY/hwJPCCOzrgKjs1hPhdIDQeCwAelw5ceFxkJEKs7gmqeOmn97r3R3KEClrfJH48Wk2dixyJSOVWbuMPJowVvFXMgUWy1Q+sbfucWA7zbg2R1v9PZ1QlcVVghuB4nPg3WIi1KaHy4RkrFZHX7Q+wUSwfx+g0C/adYHkl7lVmuna+ZJB0Xr2HIiw1vvoXbCC/gSywsv7llAZkONxeppOaDctBzlXAeE6HJUT0bG6hLzd+60Lkqo2RyLz5qZcPp+t6Al7bxvcUQz+D6ZYX29oA3Pv0cMbC+Fkom73RddoWBpLqw551YfiN4O+dPAhLevu6vuCuNYJ/InT3gR0JttmxuKl321E1Ige0jMmYydEVVgVDMkYsMgtSusvjLfxx24+XEQ6yZIJB4J7msKfvdtE3uOOFOm52vNelCspwLy6xl48c/YlCaQ+nu3Oa880Su/Dp1yDqgnBnbrNKbBEEnLr3kGIrwqL4msRfwXavvq88mshfkg/7Qi/F3A9pBb5ZO6HZEfqtqUbA2Sra3Wh0yhlHVnOcUR/DorIQ6Ihp6+EftfGYDkaxtOlQGDSslRllUf44F5r78GlQowflqtjK4CE7Q7KQeq/xwQbngaGkKwNk59m64qTi0dOuuROYx+idz5377XB+ZQJW3C3LbOCg9+A42pEvO0ZD1sA78h02nNA1/3W1jr2NfZMgkxd7S/+ZrUbdpQ+idYF0HgAZ2aZZThDVfG4s+004i+gwXiB45ToFOUS6LC1zHolUTOgKzKdoQCSrtEu1uz5vU3cPo9IWX5yfKaszQOcQEQJt5kOKzBd07AqAQb7hBcl5WVr/h2ThrvBu3Ua8JZW2YsEJazi/zuZRwJgOa4k0YTKvlF70pQxF1efriuPURoaGctZkTU+an45VbHPXmW4Aoo8k1vKzNuchgYtCg6E7H4qNGS4R1jltqa1owtGz91zhELoy5xDE3tkjc4AtQ/d1WyyugLpAIWeyTO3rvwexX5DcWZNnz3qLW8kZReGcG+wPVgJlpH9d1aOBgGb0Q+d2Bq7Vj/qu+C6VaEoW0o779+AfN9Dcely08mALYWbDxgia+mHNIxTx1qx5fENluQE7amtDavkVYWn2HfIDXVtNBgJzj2kaA0Is2u5E+GtBeGvcp/w3XoTNlrz7tcyZfeplBjMplaB52yA9y0cmVSwxlPOVdrNyfLrb5wfdFh/rdJBLoQBMmfHwOpa5JxcERbJBykg1PG7cBW1GqHVynbwgUIVhN7fMmyuwnfCfs4GJP/SxGOXl2er5kBz/KLjwl0SKTh3vF+GnM5I2UMIyhPo85dZf3JuCZ+hbqDjnCLeuuSKTkXoKyvasM9O6SwavUsS9f1rnQcW/Ujcp7AOoBR14wI2jhOUg2nszYx5XKP10QgETdF2HKnavBA4mrkc6NPuLS9F0YNNmgIwXv75Sz5zd7yzJpzdTgF83x3hSs6MG7ZqanHHfrJXjt0zU1WXLI/hv26w1zw5uzW2/syXQWfXh6FqVNegVvUuZQWru/tNzSOIG2Lur4rSZDdMpfokHCrymoK/8rLQ5aD09QiRT1V8v7bLQsuCY+rKej9Zib+tu61BFb/Owa26BG2hg7JpxTXN9DYjoXSRBKs2mRR0IM0U1WMJJF7Wp4O0gvbyRLl6oMGO3l18O31Fdmb4tB/p5Uu6W0Z6vDwent1hwy2rodSd43kMrYtiJ2LMfoJTG+qsL8Z3IcUcFyANq4cOkhFlhX+w8z0pY7TfZQbho62UOLlBz8ZUSbIynzOAFwcMgsaXZ3lqWvvyDDIYP7XEbztEgFyJdQiOxPX12TBHZXqSI4gmvGLrC/Ik91HeylZM1Zltq3f0drt5WFCkSOxF70xWr8Zfxkeejy9uXNg+oJiTrHiGwxmolSZ+kCIyYrB/Ok1Qa2uPKk9OHKLCOCCj90MhTLYTXGpzxNRgYHs2HOBXKJcMkj4/LJdsSRpFezT2W1NdX7m3ApNu6RFuaN+r8Q3RaYNuQWo8YxrTl+NpIidR8X00RAgCtcBikx6XhlYd087IHKe6ZgeP5GL8AmP9MrFDHb3jrYLlFk7GPYRSLJxzkcU1AHHsNdoH1F+iTHPOU4+uzfTpwEstBhqkG+t5NkL1eo44EldmVlj1beB1hu5BcMNU8pB2+gxOu99tQl5z78m9SQxwvKQSEK2ewHWZRwzXchhewKovsia+LhaL/xslNzIu4THXBpxPd/40zD43LxAxanLrmRb/tFN43oIDAQKXZpgT+e0qb9ZoACYRVs7e6bl+1oQPRoIPnEZ7CF6EeHYnuCHNxuF2/1gYTE7DXlGJgBZSGx7BixYVLcxJLcHji/fpuh139775/U6EFXIs3agOD430Glcys3KidthasJeEahEXf+b8X+aMk1ay3ppsqYKMxNNMIorEOvfhLOnBhqZS6mgBYfetVpckS52j3AHAovB5Te3p7oidfR+GzBIimTtCN7UrV+wijH31E8zMAxofqZRR5KZ5R9CHsTwRNOhohDQ5f4FRAj29M6zN4QOmqGYetzzIg67InvP4Xw5oQqsJp+4TiNjgHHLfa15pYENOIRv9hWrVR1CaPLfqkV391e9cInj4P1wgs2t5Rn5NcdwoDAK5dfaAypi8uvy5MjVlJfTGQ2Z2H0XFe4/WKCjvQSyDsocEfjKvPw7Sp8TDTE16xhqsR9NtjKJV1MDsis3XSvUozpWnNwms8huTjcePdtKrUFJ6j2zw1s6vs3q4IHLZ7oVZ+Tc9tLL7zTqH2jP9K7o36hGxz+bEuNlLo/FIlsjuYOHKHyrHPUu/nn3Rzdpu0szNAY5zGrRhD/XjD/3sThU7joLRq98vrNOoqy0BsyA6Z+Lv/uVmVFlxzH7Ec4PKQjd9A7YvnnQKLhCRoWgQZjUoDRVV9FP8mXguL6vrvWT+IU8rE0oVX1S3BDrIfee+ExBWAG7gIz9cBlb4NT9Ca89Zjli9EM4fZrSTqWYzO22Bc+WEm6hx47P9x5KSKEwi+k7onSl96ZEDxCXn+nYG51gvmOXQNmUpAu65IgyQhprH9bWQcv65wlg5SCPjgMqert18a6VbUQQXEEMtneJFLf25YRN91qc27uEiOzwQtNRFNzum5vm0BOY6CGad9dh5U5rEw3gko0aKb81oYnnJFWdwXcIbrH6g4lt8fnDosbr8JPmtMfZfCGfRYztjNkts81lPZrKs2T5wVE/DSZ9dQLYHm9fy3Aw74THr7+nTFkJl8iIYQ6AxadoX8H+PWlxE3w7ph3248LSUG+fR8rqK6JN/LD6KYZ9WWRzNhfiInvc9Ku9GUABuRGDDWiWchzJlYK5dIBTWM3AF6GgKO/gAgGXtS5Y3KWOZePb0PKuhQOktVGD+GaIdI6G8qPXV4s62lasC86AWaIxA02wxg07A8W3NZUeevT3nBdsYTafCQZ3tqVi/vstPOuohsOtWP0ngLvMuvO3Dl+A0wZq36CEAZ0gkqO7cOCa5S06ynEdm/KpY8HY9AEOZ843Z1ai0ykfEqeMmepUnb1d8Z9Kjyg6CcYFEJZR1iVpzDIDwgV9Jdjzbr+QENVMrUvW+hLnLjRjk9Nhr4IlXqoi7QvMalHyp6PTsg1nt+I163em9xHFaoHki+UmQaT+IhfGFLL1trD6fuvwYQMoVt+gNHKD8c0Z6IpRkLxKr5B3unC3OHFGxrLssbTARYw8Cdo5BZtb0JZoGviNmxlU2/W+gE/gKu/bijfo2Nwcm30VZ3zjSAlY88fx8uqVrjTTdHwhbQetkLEKddy5jv6IrLA53LLC794/bnmahhibs1l+E8e+XmMeVppkTduNbAEnGfYbgPMrIftXO6IwqsX1s1MMxiWN/kPU0kvuJ8Ssawmaoc4UW5Ni9XcCa+Thfo9x3sPxXdD4RvgbqZAGmKtvDSOKfSOfRJ5zirWj7I1g4+a62kXoynJPG6kEnXYw0XjxRYqww0PLseYZvrjitZfiGSJhPHZ2iP0rDg343MisaRb4g/k3FyugVaecokOyohJmOW35P7ZwsOPRDvqF4EeBE3lXWzSXKd5REMrFdyChVmBMKDzKXOH+Y/RU7kX214/34GthXW0VrwUc8F+Q9uLMP8V5uRlevS0ywXc/oBt4SotjDcUJsVWRwPynhNg16eDqxc9w6ohd/KvYER+qMl+orGJEGTws5njMMMaN9xh2p/6LyHvUPWYzY7ctZLBlG5ilXmJhFPsvcA3ZKjVqGSmJ771ALJ05ToxMthTonlb3qBexhAtBf4qRdWWoT5aLfpRDVVNghqACL8Jzx+6/e7EyBi5VxxPnn3irbI/+QNxrQ+xVUDNLEMHIGPHAu0wqIL8oLbjKWpU2HZCRmPLlezD8aMkzxZj/TUdfC26puvQvPMu6EdQvs7hTSqNeOgIZs2wZiuED4woZFM/BfWOwJKeuLOCfktiSFbaV6SRPej7Pa6EZETIYZQ5QRhJ94YQssbmSx8NQdo4IpuFywKQbfwmHbmrCEsa0MKElP320GzEK3gWAPsrRi7wC4XYsFTxHKzRn0x5N2g3BEANjx8Em24pfskSFwJjr/WyAaTUqmcNRTYzoQQCxKqckE59vNcMEJ6+w4Q7x4NgZf9K+i7/LYy5n0cG++izX3ZoFUJJDWbOjX/V5ixgmgurNNCaumf702Hw4laPdwGTFdCOKAk+dVq3+VPg7iDRGRZtg0VJclJIBMzdI4N89ATyAZEjhKA3Na6iGAiPQZ+zBceN0aplGmwvSGFlGEOTJOA24Cv2I0nBku/M5RCkbOXCH4lrhriu8ynZdNA78nffcCcxyO3Rcx7qOrsG4zpu27niUiroJtXLzRLtDNCvdldSzvGNOPjWoxVFNIcsOpoubX6Z3iQO2KZdiSrO/Zr9A3OyYpYJzzLUE+Zv242goXV5/7Kmulw0ij3GjyXRH2NeQ5ykJRc6Xh0T0xAa0PEvpuqMdLmo2VijY6h1AHmAbGTnk1Ky6SGHbm1onAUZBm9EE2dwmS6456PaLE1l4v4IpgJ61TgegK87BOnlrn1wyFNtZ8e1ZIjZDGwHIPGB4kvs4oC7CdhjwYJ1dekqvdsm506k54Uy0zyM38u7SMg4lggrHZ3YKa4ZCNWYWgD94wk0IlgHXVTAwpM1sjK10OJ5M5yFksGOXtQXu5OE/kavBuIfFpzI4hVi5Mh+UvRMuSFey1gnjy7DHspjKkhlnxePHlFhUDmaxtD4fe5hyVa6boywCpCEuv+Cd/+I24J3pmaJhxLZUriO/ZZczmSi6RN5HwhBB2B7dT/l/cIXhNxHnYTjwUszzyKRtd47pKCSlApdfDSL3C41O0O7o7emN7fyqepB7aFYmrpMwQ0PYp/SF1IUVpMPPDsZkA8d+gbv91I0cB+dHwQhwTkyYSQBmoqPv3TYDQKlDY2ai42XxQXlmJdUPybvjV6ntu6fMBKMGLkHnl5YKELDBYcI2GoRQbj3Rbd4Pjh6i0p0/xfKwxOH421xTDBLfIk6lYyKsEprMyeGYAADYhCkpGiPLpSfk1/aXmhJNNi+DhZakBzoL6Y0StUXzNScO3rDvDdrg5sxK5oM7tLl3EG/tIcE3i16ABxPZI2do8oD8dxIyowE9h21kr5hCUfOJfX3bkkK8Krh7QifgCWxhvTKXppx1rGWfe4lLQN5I7QCCdEs2jgoSMupo79NqEJhGDsvFXwFo2flvdg4JhemvoLMaoI49jS3/pbd1aN6hFEGICbyKuPDf5+cWgr7mc0BFZJ0/vS1xljj4kgI3sWBQoVYiltWtY3AZbd7C3dqeW9XahS7GPZWcUQidRLyZgjD70AyAVXfnjIR0aHhDLFcLg39vrokanwax0+DgEfzpKwxlxAGDI3mK+adTn9ttM9CvwY+w1i/VsJlG2f5pvQXDTOiquKta1/0awkY7Ucd9nBkIUAS+Cs4NUxGx+B3sevIbm+zlfvhtMK5jTklyqVi43ez489cTfcXsTsokct7dCDekX68V33ALZTI58BQz+9xD3KK0CpI62C9Gee9MAGTvkcT53E37plVMw12MyEt680tviSZtQxpDWpM6a1uEWdASLFT1DhdiLq9PTLExhphqP5jX6LGVBLIic+ay0R41Z2ttdlfOWNoDzzdT0D9XdRyXLr1PS1MLZIqsOCG4J/IqpbuAa10xTthCMdz6S1+/xj07P8Wr1Ot5uSetHFNVd1zKXwQcCE1afinAt37NJE8PpUMXZu+b0VzWmgoxL9btLq0PWn1NnjIzMTL3ibIR/hmdD0q2YtNuxMvTbm8BWVDvLAxr/bCrqlDv66RVDUDv9O52ZmVFHPukjTiBmTIwuSJqoLv0vYY0Y23v73CnrWV8HqH+n9CjGAxvGMffNRTKL+pArX1TNMBVC7WypBKL6g7hIPjrLXarEUyTI4t8bWJA4VjQTyVcbzBE0VTIg6wkhZue04mHHcNwPdktAFygQOi1uL81wC+x46+fSjvHtRQrDUFocZLBzdwmFD9Se8zM0Yah8fwWto16Sw3rOD0hKUduE4Tg2bXD4BfwL1z86wHJgFSNHmosZU2ijH7i/FNbd0wKftS4lA5503ZM812E/TkdUoajxLdTFH2U0mA8ZL1B2J5t4mK/tA3qM4qmnHuY9oYLyHkKDEJK7S5a7LCs1Z1CdPXYaKxv0IN4rBkUCVqUxOYWqQJjhi3AMmq1mMhnlUDa2FM8/DP3BfPHAHgcSIMeNTad5jLlbIaPuCqWVSw0RgJDXb7WqKUj9o2GzIFgJbl4H1v1ExwZMepxX5D72neY6IwUBo4nOaqu+ZmpEh1ztB9VsDOtIbGCgZU106GRed4bBqfpqw89izhVvYH4G4w+1VbFOVaC8/g36x9R/3kdLLRr1ajW/BL7kFtBY6lfomo6y20LysBSj5/GQHC3m2Xlhfsxe3yo1spimTo+ewp7Be41y+ub6IsTc/HxWggfUx5Rh5cLu5tIxUv1EkuU6DSnhctmSm5wywwzX3kfeD+FGxcleOFebQ4eZ+90//9kW6LDvpTe/RMHs3taEwSkMRBvj8rl63ZtP3jRza095n0GlpxUp/d94jadlDMnajsaEd37NvH0sHwH6tt9UYQMVWgFuay8kaRe9FFyBR2W5nwoABEt3FaUtdAiS+qRyGKzc8olrVbKHm1pBmk/NdkyU5W5TdvAb2NI+prMLPLiBBuVV7VZ2tQS1RGt31lbpDLCjo7crM/FcVe631naNORdsRyYBa1D9AEFJJhhBph6lPeEqRwXe09iF3e00uwuSOVT3F5qsSjhsDmZXAqModoPmZJeGvebLUvZgYig1sM7XRKqnEk8E5Cj5+la5DmZxdq7h+IaTOHWIrsCjrG0SrBh5o6mlPO66m1wWrZKc6F4QMGv+vgsUgZNSqnVRK51k26gS1zCxt10k6eSujpQYHTVTiBdFDPU5VbWllLv6MW+M7TNfUCmPgNgp11DaCNsaPTztgIMm50COihwHRbdn8/qWJs/1Qhr/OurqxN3wHqSr31x+vDlEVI/sANJ/DSkKj+wMFySR0c02Tcqz+7bt/r8UspCcCI9x3Fa9+GSuOYKWC5V+PSs/I+i/G6pwbzbCnX5g9x1Smj7Weg2tG+jShxICMPrdQk2YnC6HzMqBQxr0CHp7IEYZy7zj+uhW0NayDuizSfVFvFg52cGe6YlW7wwXxM5WSVWp0jUbZoVayUh1tychcTMsWkuj4q7pUBH0+01K8n9m+plibyia9PfszCQpDep1iMNrmhj2O6wWzVWTju10h4DcjT23pSYslHTUvsnF6zMHn6qBUOXQ4Zon8jC1jV5tceiZpUouQFgD5bIJGjLEZvj74yoSQM9GlLgIO0yqrYhUp1f9Qaa+JTxK86AYPuC6uQF1/7VbzHn5ayzjZxMF1uk2SXX2ehGYBVXk/oQQCIHyFkWKdpfByVChScKqjRj1mXOTG6qea5HdC9QHVe62hIaQI5x6w8JyCT8c52KVhc95+7pq6jroeokIuX0VSIlFnE7qjwKKq9Zf0idWiOZVwHeAbYJ2C6acGvlOq2xGLVJMHdPCxD9Cgu2NZq1BbpilgxYRQc6kFDx+5CG600U+iZ725hQuexuQkXNF2q7NssnCjbWWWIKeukY8+w7xiplbH65zgXdQqjsBrnHysXh/kQSvkSl72pwFzvWXaSi9Emd068BfEfO5/MwsKOLLQPrBSilSI6NVsJjvIErRRIsMExCTTc6mXBVjkiltDr4gcABGL/59zaH8XBAGo37bgEpy8A/ns/tCR1NV8/WCv0tgG65Zp5UxDr0Y2MlOc3Nag1OsLoyhZ6p2ecS3WnfE8v+D0td48l83K6aFTaoqthAOhdO64LDNkANY/InlulYnYRR3akAYQZdskFs9Q894IoKPtuTZ8krjmD4t3lFMH74YS/wgwIJOMByuqhMA3R0FpumEei3KwYaH5zgVEWnaNF8JiA7ScSKlCdIcFKvCvFcJlHAJu7EmoRjDcBqS2KI5nI/oXvtjdugDnSHWmCV7Ebtb73XAIgGhceI6UsTFeTmLoNydOT45U9nAuEZ3hnopA+CaN/lxrWiuz25mhI6ZgBdx2C+lCW2oXI/AG3a+q4UR8T881tdOeRYNj+EL8q/uEr2mb3zXBUU59kbDMp4OFdUN5qbKP0PX9YMiLHuxBQk3zkly995OMdP/jmZP+M5jRC09SkoVPDNmT5iDC2nPNLfmJFhP648+Ymn1YqaxGzoT81MAL2OxrNiMCWed8opkh0dlI6iLM+hya1ElXLfQdaVxW7n6SKohPmc/NQXWzRARIBysFBZXyeRwxfc9pWoFpQmSYiK2FcH+Kas7EawnAZYutlgqmP9obOkSMf1vOQ6xETUX/siZbqIF9d1TeEOMoo8o2KrjNBWSc6h6sI23mQsD3k1qwhq1u73Pc4hNV01I/2JOWQ4ASZtqltNGlVMTeIKYZ9UHG6yeiVT49azGkko/DhY1NB7snodc0SUPs6A06rx15aRasxfW3ITx6tN2BHSaduvTVcgqZZoimmLdPCMXK+DTWzbTXPnOPRDa80+YTwjtEl675Dhh1bxEeOwHELHaggp1UKfK49iOoC/ZtY+WlTihiuJUjZozaA7hd+gtKcHyIy/Fi8VgfcWwd0ugx44YCseeX8/uEeqyFY2jz2/oEkd5Fy1HnnAvASnZ11x7Kxi35NN1AXYCCgRmQlchtE/cOS7xpHo1qDwzhuJwvty0kF6LSKJcMVwP7rmS/xQi3socR87L4M/AuVRFZSCBq0uj8M7tdUggiYyRPD0pLjKKeo0JhQ0hVWxgVcTiH1QL64fhXrEpu41EoEeDdNN0UmZX68xk8uAud1P1IED8gJLiYyYgZ1qVx/vSJYQoKW0Qe0AgUMlu9bcx+OiprivEg5HY6GHTsDDpNRmp/MQ20FxCBhZgQgiDsd2hlxUh3oWUfj02HSFe/9L/WDcvUUQruc4oHaLnNpTe0aCech2/uMgCA9lbJ6lRzQswTPiv7MyuCPw1+Iflgt64OKJzaKC5bfbTaFCqFOUtLlwCz2Xkv/0EsNl+NN/m21pq00HbWUPUHWzoJhBSvJAzGt8cu48XsTYVnoDVvS/h+d+bXKWhCnuZpHNho+9/wQ0n/9jYExuvINeZrmC//cywHLMygXpVHkO4/gsifwrKjKkUMh2KMEt6cJOXypcbyITuSJ6ta8gRkEboM12iwUpbdfzEXTovab4PJQY0L4aNYtvzG+7LUXGKaO5GuRHHAPY8BTTGXVspVnaZTH8wgQyUnbE1rHbxWEhBGMzJISi7/d4z3ygCRmGH3l9dOzuYm+3d1+mcokSU+bHSijuCQJD4AyNIfoMPf1kUNc1PS89KcdUUhW63TwfM60bQ5oKVFDlIcx/IY8G2g/EWvwf3VzwXeIXYCNvLuAFMh+I9IGAJo0yLnnJn5/QOuwebtQAAASCJEtVUxZpq2T59jmSu72CtjMV3SYFN2mqfjuObClufjP97LgGmgBQXrNajOBhatlLJlYMG2/wLOnx2kLcgkDuVML6uT/uTvJHu5gxZHgteJ5bNNdPVjgC283MwRMmyoYNqtRMpkeB3+2fe8PRWUQ9hyQh35fUSLiS/9+EbsdXdJw/BRZP0W6TUfGn/s7lpBzS2AxGE1K9rWPpK94UO1wujBbJnBa07KOLeNobglUV7arw4DNl2DvlArg+o45rD5mtWRn93WKZpTCsx+KoUWh4cHDR10tL5LmqH89SEGdbv0tg4J2c9TGffjRch5qm+RuouBILBrxKSHGJTmNWufqE8R4Ke4jzRUFCGUEzhOMw7KaExzIkG2xgo//GZDGkxYOnCIYMDMaUYulLY93IEA0cUq+dEb92HKFNQxeXIsfcdYYefff2bnoBxA5LjF/w5vZbYrwsllOa2vosKTIp8k3j+MVryhuIcPaQNCt0OwDf3D5hZIWkrluClPfcdKea196gD1MHmNgh/XolzqQfTZS5LjrwvWE7NboE6WMElX98MZZAR9Vrasge3/LrD7CjcD8i+yLfWVitj8NinF3Ub6rbjcaPlRbDLcI0ejX1XRpwrm1EenTEuFmOXBz4CqWeFv05mQmQEMrfe5bYlXeL97wvZ1ex4MtOD7H45qIX7BOcbhPQLVcaUQIsG/Sf2Dmb+/hryLxGciVZKCaSdqxslDsxLA6+lSNkiWeT8yu7xOJLXZUPMwQn7PazVblpsAN0tNvIv5IQsNcmRO0686ISTR2Ag++JyXLI8bRbjJj2PKPvHGo0+6u+4XkiytBje+vPCKbC/GVtvVpnd1WSmzxEtLJUJG6c12tchYAe66fRRwiutHJ2o1jU/831uJFUeKv62m0EMYXq5ZVtGFW4ta3bJ0YVvZbBXGF2pKnrSE3zLc05WYcsQn8ZoQCqCJq2sqt+zWik9y/XzEcIYTdTDd8CKjZqG0ItV7+rAVcfaDN127wLDO8cqYn2sBCbPyJTBtIx2ldi/4fbc4ce9xJwlwJqOdFSjK9BNwAcBerIJ0bZjAoArxsWow9AoRI6hf5T6JYcTkn2cq3nphaHxI8iGXNxrI6sWylmtiPySw2eoGOkIs7+l1YD2MlJj3UeAPvV63FQwLm2/76u+1kQ3oiCh6mVBfRoIVGg2xjTgjirdEyFZK6D+WxmwRgOWwV71sENVDyrFmtH09KTFVzqN8dWPFi7ObMNhtHnfV1WSSctwNpeyDmofgQGj4LxXopGhLN2dAW2c1bz3SH2cJGgLw5WZ8nMgXBG+pIo/EmNQ9NRVXX+PUmCRHaaxXc8EhUdBf0deqH8eA2fJPbeqY8st+i2NcWF94OTDKev/mD3xwIeS0qJqOCIpSpeyfxwJfEojop0OtP2Tc1hd1Yy0QEZV+Mf/RDSUt/2XXlq+eRn5jdBCn8kuOSkI+L/MwQBQPvdQPSvQqQmmtCPSwB3R1qqRR4eqTBx/nXIKVRfPGwQAC/+o9ZL15UKenqLNHWM9KnEAZZNmSDvYo7EH13m6sCxyhTt6UxtdlfNGDh65T5YbLvnGA93SnG1u/IYdPAlDEOg4MDF6Ek9Jh0os2pVWKGIrVpFs0YmE21FIGzBh1nEIEdKD0R0vXYwqTGhEtg7+Vcb0N9KasRAZn8FmH0jLn/mG6fKYZt6Qh1rEWt2QznuXrGOm9HRmCKKkcA55aeeOZYnj8/T221/uW20LGn7k/GN+ccW7cecFldHdri415fuwe+tsIf//fczid9mCu6bBJv8MIo6yFzoSlmcw8UTsRf0GaoKU44BZq44q8nBlyS5EdHVe7FTq1aHdlu7hGjia645WN0P1PnvcRbeiPjnd9M1SUxmvAfAwbXgxKOP+ii9etPO82VX5JnWch3BlZaKkM7+LGxoE9Yz/wcKfgXZeRFNsMVsZETFAAdO9egahlN7dPkAQ+9K9dR0ObJMTBkvC3ERrtnuldLPyDo4em2gkqhMg/QktoGVPCJ94vJ7esmRuFnBHhT1kFpXZpCfs9A92LYFnpB6eJAEJTWNDP+imMiBa/tJlrZyxZOTmGGxA8Vmsz1TQf/6gS7W+5a0DfbEA7SuimO9Yr8hOHHO8WbyaRYwUSDTmOFbUQ8qqQCZvudlu7AUsn/It91TptgdA5J4Frz+csHwG8bCzT1CqgyD0jXeYpjXT8DmcvzBs441ImYQXUTcYP6TSnVBulvHlImm0WO67H8ezOlvQ608m/jrJIqi0zrmvzT83QLjhndOE6CTqAIBNN36Bc5QaGBZs5yQwQHBWAlMFXcBOOetSTf3m9h5NR8PfiYifkOCHABB/DN/6vtGd1rBvqJDkCkv4/J9hdu/ZAmlQoo3C06SaqgZHmG9IRtqUwJSB6eNr0B/5M2c3qQPvC+dw93mBBellaJSs3fvGxedmFGDPdNfLh4NF8BmyGgCtgt4N76feVC7lPuTJ6e5P4UDDdYKMjOQ1amcUlu8sbygZpjPH/nSmUA4+knx8iw7uS1HsHpIIGh+behrKLivmwSDKHGhpS2PrMgIocijxo5S9eoJfk71LoMW4Q+huUHbiWHhT9rs9sS1+p/oJQDqHb1bajqQSXDY7aEmq6a0Un2aFQVH+ukPgeRgjQQJdqtwElMNjVNOGvryjlfjWSdC+XHwy3VmG1yFgQIiG7/xDELhzwqJZjtCxpvjEHxZEb931krWf57f2JeCOQcnuq9Fdp6fiaz4JCiQCzr8ZEvb5hbn6xo5r9qERk73byWR1IY9A6ChPZqXF2rA8Sjyc1TDQo8cfaMRSKs6SyAOoI4gwRif1fXg0fdre/MW4AZh7AoYX/wKBppPZCBK+HZgNTiT87Qx2LcUxsdr2OxzawgqX859M+UZf4N+S9SuvKmFq/MLnR8B5dt2Cvm60PbSQRz9oH1guP2XRrfMP6KbKAhaQBLVypYubzNaXNIntplU+a7FU4YUirmpjfL7ktReaz38bhUlMMd3oVR836Ju9E7+HDuG9J6zqJjqAyoa88rE7OGvINBW/kgo0MOxQYZio0xuJOBphtN1mHS9lwdBD210ZuEr6+YSG5VZn6cjVfHEIjsHU7SCZxzfwnboYreX35IRuDDCAZBdLpQJ1Ihbz7O9fbxc+jPnMLNXmt/tLuK8BKmfzUcTsuPcxkSTL+eH9r/uYAry221sZCMTent/8uDK7NHzEZ4vDhLa+OW6F14cEFd46hGG05z0BJXZD9a+v/VChD6Oz2hmu72m2YRLnMckKNpyPeRjy5hUOm/Ux6zAmDLEAAzUqXPnK5hlwPQiZ0ubiSajQRfkgMdxrRkzOZvCTJt2mZBI/XdFxpCb0THlKW9JjNJ0pC+bZHW3rqJIEOQYw5QB7Cnn76++4X3kjwCbixzRjK2lbJZyIcBQwX87VdeZvwcZVwWjWxQsgTo+0dJ271U+VdOeTkJMe+NiWO+8LqM1SUascZnpKhaK+rtGXLyza8ZWgqCGn/yXntufcMqwgvVbDkbh59xNuyGtj68BWrnnnTJMcThzA1UhoaNWXsjDS9b55NunexmQAL0ga6teZmAVNCuy8M1dBr43YvlIDZrSCf0/raXM7C8LB6z8G2AGBslOKShKIRkaP9DYxx6ZACyZiUpfONJczTgTmLJuUshxmCU+RrKQ8c3J1kL35eGPpVwmmTNZI626EcR/Y6TRkZagOOkGAIhzKlgs+at4gBf309YgdcXFZls9kcW+0AFzZVfLx5PknxlV/UhuDVIwaefGeBr/sh3cNsnqNHuZPqJuWP5W9VE6OKiCczHcL1rgHT61Ej+6WGBquSrSYvwG4+lDK4gQM01Wel3rVPg0LDyP2S5O3wUgSAjwsiZun0ik8DMGMjWA8YmocQkqlIpYeNnDEvjpbpawwMDWgKgoS+UgTF6VU/Ys/NXh2ttjdK+ghhV074DB/R0XTmZUTIp3uqbG6lUQmmLdlDHf8zbTkRv2cqUinRtU5azq9O1Yusli9FAJyGc5bcOn9HZtVbao9CBflKEdx9Sxz6yFvZWi1qR+Rdde6L51mKIvqlxXG1leQclNB25LxzakV3qADri9EICvKIkq9ihIcIQr6XI2ztGIj7qXYx8I0PxjBO3IVVI7t5gk5uCNOigmc2rsM8oXtjNuKVS1NduE1gFZuE9Xkpxg4Bc1z0cz1EY065wVJkpnr9ptu59QfMJyuBwLwALQP2oPixDugdhbfuEpgZ1lSU0CwxsytHeGY0uGkGxlCn2Ijj5u83aXTgi0QrNSmZW3kmHyhr9WgkhhQWIqv6aeajzHQkDUSTl2m0EuxGdseu/6M7aE8ZucImk0b+/Fuc1SrK4JqfK2MKUnEbIbbV48TzXwHyCjklAtWF2TqKViX5Y3De9kAmmRwXHdvhQ9W8xpSJN6FYW3mYFgVgxm94O83hSmVREkE2q8Yj/lvkOHhC4M3Xndwya2MecmbYCtg1OoOfZaA7nOzLOVj4zJvEbdiY+WGk8/anARsvzN9hS9izLgncnzssuCyCZQLqCcmoAQkQoh1EfsIOuTjAn2iz3M8/9y1MDYzew/XSy7pBa/kYInslcmx2IeArKMKOOJrpt+QWNB2kV29YFXE3urxUroY7ruBtk/2VpUEnPDF0yLqt8XD/hsl5xFaznogCd84ravsjalfMZDm0J9eP23+FaPdXvSSTiG74Zbech9oHSfhOrvF0JPL1JrGGTJ7qfInrdDCc3s96xvUTfbtHcKHPympyuieeohZVvH3iqZmsYVXC+Uk345gAH5LNCAFY2xk68McnN6T7BIgchFrQPFtt8KF5UEGsjdTd6FYpZGKgB4cxGdbuoGy0qthabgb4r+kP6Fm/rMMj38NtedNnVsactItkH79ZDlCqNod2Un+cDdRMeySBXk1LZpaxHm5F9s4YrexNnBQUMwwayojSTIwSrhaMz3to8OFj7E4E+aj3PG++YhXZwFb7Wg8BBzFc9HuW51GyIDNEM78KUHjNH2siNytJT/XmCGqY31cBeTLFvHqEujY5mbSE1R+4gmyaHHaM4IxYnel5n2IM3FuCGzDkg5EqZVgytFihzMRTmYsBVYOzHsO6sytQqUCtch0fpFhsEOoYvweEeHgkxDdm9k/hVbJCLH/lD7ZYaHx3uGET6W1al9QR7wmg+8cQ8U0XGSbjXvNTv3YJbrHTTzzZ8UIIV0cG6plvX3QmBl0HJd1qC3sjjeOV/VSJnd79dU5zO1F2h4Rw0t/vmA3nhsTTETrPmj7ikJ1AYWxkgL73fsQr8hrspyprDMawlz6kGIuco8Ch2olM0pXcfZ+2Shtlf8uO5TfUqMAVta6fUS2E3mkHLJx8YQH3rDeWgZIBBdMDl2wRffUYDErm9jfuEeWC0Nf+MIJXecJKkJPhuTKCtvZ3Jr8rUkLSaJxkYa4Jct9fki9vZMxQfvj2WmZrumTwyWVeS3HYqt7wC6tW4UDVw1gADAL++SB+v8cjEeP+7cFeirJ6W3augBxam2Lw8ZjvnOyErf5GK4VLDucgAOz4InT5AqUueDvdjovYg9Df7spk1c254G2SPTaKTif79Br4VBkbmuSkROrbLsI8h2cqB8KrHrWFcwpRaHm0r+4wN86I8BPBJ0GN7PKLMAGokUOfNJPc/6r1nCuArcH3YoovF1MioO1U8GIy+80KUrewUhPgrIF/0+YGqdEna27d52qOQ3Bpl8vRRBq3UhST8TqJvkNUEYZPg+CR3kl29+5KXU/R8zfEb0+RVX0OnGukbruOn/vTh2rQGk5+BWY2iy1A+HK7KkIJs5PnNAq2ZtwtfrPCFEYZc/pp4ZFVl91UdUbkukri0JNl6nY4q3QL7u35PwtQ9Ga6jo9qnv8zdqoIDWMGrL7xLwUy/gt0df30FnQbP1Ye5qDQcX/dmi9cOEcKFIyr9a6jI9QIiMSq+ozLTGSuMEjIrV+iESPYf022rGq4n0puGp0HHMSeVH07DHH83eIIQ2Zjqz1htCyR4hYJLQCJO1I/3ES+6+aqY+JDqa6HY0J+EVEkOnKqXmg6wbJuTbGKSPAO4SduymZ0WGe7nQtKNCrSasukGQUsfTVEeZqMM8VvPRuLAf5bODxeqR1Jbw58TcXAVbmedwspOzzHilwxJIBEoaJYrTnmDrKC+reulIabd4FPbofXG/azcO29YiS2Ojt0MmDgvGY5tjyqC/XPr8ulBm05M3FTKhQbH9Yl+zq+2zr/rZYiTGwRSkQNEcvR3YFCia147MlOhUE6cBTsLnuI9hzVSbJUoQCQCv0378YPWxskktXRICHSYj+B2Svn8W7WbmMVbqbkz1Y4pKTkI7UIrTXcXL8Z5uMSuZvO5FNCWabxU2o3fcKUg0NPqhFD8+PKnraHMD3jY9laIyzxiQIRh0SWOD3z6R4TDen9uoGpLGknLixvGIrFta/pWdlEUHCkvjXrUGdzO9tKKMEAzMs1OCoG0UPoBQAGCZ1jiuu/EtvL1bG4xu0KjQg6TxN+3w3FzmTLllKiwU9o/3nAuyFEDSVo31zdaMUtQnoJlypYfmEUBGXDhLd8T+N353L894fTLC6iQ98OTdLiQLntHPa9DqYmF0arGdv7c+Ai9OV+E+7RlYwI17RWzCyO4KVzDUM+SGUTLf3yA2uD4+A4Xeipy7Kfs8EQQIBnG8/vQn0jNQWMGTjGkQ5crfjTD13Dx+l8x0iFw4zmEiy2BjxuplpQGOKQsWOA0n7EXcaIIWLqgWopJmgxcwt27Se0SD2p6V0X4Djhx//vGTviPkHbqiaAcB/oN8Y+L1PK6VOsVTFL7d9JzgPWiWbAhwKfLKF0bLee6j6SC2dGwAPWIsusg9u7MIQFwobrw1oHhegNh1mhulaMuJLwZTtVzDHtfXuPNA0Z+FZPavdHg4AB8hlNfqCQhaw9QKP62Er2L1/ZgiwA+B368Lvlr6E4g9LALTm2/QE+R5x/V2khM7bMk7A6wM0sSki3BZTZkoFmh6QpAH4ouaDbPearphOiDBHHq8kELawgwK/bu6yZQ8VNn+EpOIuRVV24UmARRuSTZ/L+QQ1pFPfyQAxmVZiAFjNGOlr1CBKYCf4NjFpz/iaQ2Y2+fB+5HjP6Fb0hcN5QW6VwYNNScCqoqBP1UhFwOWjfKQOPgsWig3INlX31H3fjstL3DBRLPJ0qabE2dPYfZorIrvCFtBwCbum1SZH1Ema+EmNS7Y09cx/873ajbYvh93KQN3rCmVB5Wb9rBFlh0ByzecmS/p1pvcvZFWMkvslONnlEc1IFNcBYjjgEl1OG5/twA9GZUxWqMWDzJ2WO7TejTpUEgwRI8LqwHRqStMJjGHWGyh+7DlsPv3JaLQd0zsfnN4g7hpCXG+hTM8dqvleertdVWIqMqfakylXpSKJmVaEKIfOU0DCTlIoVGu5FOs7kCbvBz4ADlihOGQiAFUU/xhHyL4ms5fTcZay9n+Lqa3O1AUtHF/wEMZPGMRYnhjOWkKGLQNwmRONj2CtfIp7yVv2DRocf4fwbxvv+U/VOQBI89aI4sbOaWirr5iziiYpQV4jBc4eGP8Os3IQPEY0wpyyuTpL7fPYaHrN8YCCWAJkiOqGSldGtR279JQ2DUpyy2UJubY1AEUeIMprAvdEvLacjU/0eght30WMnsAX0b9ZrWIIgRTxP5aW/z5HbpOXTKnwtnrNDf+0h67aE9aQNad9R51ZtHuCHwPLDVezcgX/YKsAaIAQar0C2s0mN2zPBE6jqcCQ6sIMQEecY42miWSJIzgmaihN4Y+Egw7iC87Shl5LNl4NZ5gYUJeJHPSqgmnLHzo5egyV+i0+Kf9MGw6Zm8o+m454yqaN8quJ3+Mr+4XDpJwj1rCZ0qjpyP9aeE7wDbBjRYKOtkSCp6wqmRXqXKz59HcaTjK7G8F7/Ai1ARXqN3RwdYe75cw5SHvuGha2CjoRb9uuts8IqIIu5qVnVysTP3zv7ClmgMQcWTeKY26MW+vQYCLdJ+MWEA87I071qDUmktQn18c7oYkHLWDu/ob7qpE5xKDl9ED+wzHF4jv5FwGby3H+lCRnLyMmg+13+7q7LFi6sRKQ4Kvv1OrGt9a3EG9dbu7v2JGnbf6NjGYyTbj+S93CM+NOX9c0Z4Ja8cxxm+vieyyGhr7c4b+Exa4rHA8uiFxjozBya+gopCUtsuRlo2o1whyEspqQ+Ay6IJYyFK0TedD57TZirp9ppHnDxTeBqUlIb5u5GH/6e+rWVoKYDk7NXVivHd9SAE/VSguBoOktzeZDm/llbvLKHvUNFM20ny3/a7QG/dE0218cKwbiPTSYDF2rywUxBxAIoyedlk305sxJtYXOhSmizFhRfyS/MDNI4AzrI23g+adhOkf3wlBxe8kPUC/KaTCX+CPIEvEia19k/Tesj5kA45rs4aJUumOK+Mlx9WzPAozYOPsqvyN/8R/kK8Wz/eaNj8aDuGbTrnAC+HcuYpK1xz6qKITUrazJcGao1jck2pd3DdwpBSuliRrd+e/uukSDvfNlt785GSVseMOSLjXgphcqSH4QHzsZHwf5LLD0Hbp6vBDv6QN3kaVukgGFW4ABvXK1TOt8U07SzRqoUNCOi3ENhcXmjnbUiAwRPFMjo8B8RSTlBZxpgbaqq49rnWI69XFGO14w2BFsbHzmsKWpqfVTE7AeCkKKn3i+pXmVwHPNRu+KSq5fHAHAe6ViOsQ26WNlylpw2UZhsaEp0aRiSzrprR6ruK6rSw2mcI0xOhI/O4mRsHAY3t3SCJCliHWGLKdw61DPvKc0id9s2ZZBYD4RwqaMltx8/tgcbehx5xxsBBpfY/lZXF+SZWKo01HX/IKQwrnqTbEnNf3AEF/PR6sPb2eCX9CNJ4GBPL3JElZKrBRQQ+UEYyLLv1Swuw4A7N603o5XDfRXRjjX5FiRV06+To+ilkiJamD8R0L1z5lAUdcWjLW3HtHga+kPk3nNVQcKopL4o7MDetHu6ZDeXDuzQrL5aliUklFxi8zEm0HcL3pFKygtXjDQrKKa66fNZ1gdYxaJPqOLh2/KXxe+RKkVjoXAT8XVkY/lvJkGsy/QIblw0UeZVULjHi53Igf99YdqB877qvw6GHdek2ZBAKG5qLvw8hGkNHXRcPVXaH96xkkA/+6HxGdq5ojGNFnH758N54ag26KpTOCiXqsG/akg/R7L8TAzmLLeynVG2Vje2oYjdO0EwjuKvUkVqYS4oOKmbvnptXGDsfDyIn9jisUgftMRe8xVtKt3T+yvGVWJUBg73U5zbiX3LXK2qCF68CNgzSkyLhE4gmcyJdyNiI5Vk8hT0n1fML2EgaDscjFbxeZFBSFl6vfG5MrNMBwkzfEUjCIEK0/e4T1yRUEDTDbwgHcqktkyuusyDaFZp9IE4d36yrKMqW/4p1PcfYJW/6ZOeoWcgmRejOTBAyCl8ZXEJaHVntrQwDsVsqNkMsQ3/Ykls9AWsj1QkM5hX8tL6RjPC1gK4/vcSdJpo4+Qa9uPTEXYnbmNGfEt9cZSoWcqF5YRcS/cTisMOCnicGKfmREG5wJl033YPMJ8pzHTGYFGRLkMPDbkGwEluzUtFFOdYx8f2qPwEvb9ZhsGq4B4nKMfEnjBdIMNND6iI1mE/2LAzdoYYOYSH2rCp8khE9+TPRWom9ISmzfhQXPxKn2lZPgjMEg7Z97TBZ+SnUF3CrIcAR28WM36b75KE5PtbpVAuyAqu8HfuGtOlya3TEJ9zuoDxxko/GrAUvmV2FYa89DPJZuC7h+uCPikYJwIHXuOpiQAW0c+9qvyDy2cQEYXlyS+CJKczeJuvWx4uZay20zlXX0dTxmlBx7B0g8h2xgkqyPXbvnKxr6I4VMMRHyAC6lHSSpJJoCe+SiLVdOTwpy3YWhMDxBO6TTUPDE+g1sEN0ks6lOKjFLFJ8dpkIUgtz+AVFHdVMngCA0U3v8PRvBMFPdhbpNrE8JsRhCfwIzyLnFk4vJC1+EJenTCkwJO87GCunykg1Rs9BZSym0v/I4Yn125quJlEtUS52MQHJfvJC51nzhMYTNFqLESQfCWhO+7Hpha+UzzF6cExd7R0DIxK54gt7ua08VM5W1fROZrOJJ1SEkLba/Fr+esNFjnMTxX4kLV9zGOfZ6DSASkFV0p2/YFMjrMVVwkoEtBY6trIXT2HtoetFToKPvv2YeSltCTIKMsyzv8pCHbwsbCeKYzR+SndpFJ2GoyA1+ZUc7zLVSVAF5gWXeX+xQdbWd7PeFmC17FPRSvMdfozpDB1ZsSqHe/U1GqYeTAqsmtowzFtesVG1Uye0TLy0vcdWl8BMalPK9ICjRXdvoSkj/GOw/zBaK3nHS6EYNxBLGJgWeyD21Sa5CbYXpwZbaMbME97neNKe80iLP+6LrogZaddsUsRAdDi5I3mzf+6a9OmI2bWWdPRiOQvj3TJNVgVd3AghnqqfcsjDQPK8F56z+sqeprAi9FUfHqJNfbW7FEPzWWDTRNay/6C4FxYOs331Y2IH1yvqLfLtwtaaha3+uqxHVfYu5XskeSNjL3vr04Sitj9LOh8sgGLx3mh5BHji70O/gVJ9J/rkG7np2GZHIasNpTKJBFgZYlwQQNHIIMQ5L7FlY4SMTXlgbBcvvAndaIVu790OfQpnhHHUKnZ14HtgIohzErkozTk++ljQ25CP7bX+PfoYB1/VbcQ+2Q1TZgDaQ+o15O6fq+yMjRnua1+YRJGGPI7eTQGei0nh+KR6jGKWCdbvvOGm5IJX9hn1fQS2LjadReAEl/c2oJUcJ+SZ8bJIAMaEs9/CWLLnTfgNGxdPJPSE/FulP3iujtG3okRkjox+31htp0EaIrMiqBrd/xzStd4B2T9dh8KrxQdlyKbXkTpc6PWNcUv9x7ZFrcgaSq7kojY/xQZoNa97dubmFbl/Lu4jSqBHG2n7jWp/VUmDcNCKvCjTF1Q4xBVzTxx6PJ0XLq1a9LLrFSevVPU176sc13XFBBhhTJyoL5z3P3lO467jUyWzs48C2143lMzGonOBZ0ObSY088/LDmc1blNHhGQGwaLrlxl78vs/ZC1WN11e8PUm6Aq83+2V4AUhR8teSqEf1UZ8GVo7X8+uPsoKB3ASmkrjf/0qQTXM4qfDFq8n5dIsteKC0T1SupD0G+e6Q76p9iFCqmCXhPKYNYBa7Jn9RQ9RStdle7T+5DIbFzcn12nZjWZynSQqWc+gWIOP78C8675/zGXUytO8NBpxBHwT+VkfiUuDfQjgqgTQrmh7D5cdb1Sn2hRd3lNHcZzB0eZpTRe+Yv81Gpu6qj/N9JH0Lllrwg4MGTAUXB1tw2i+iZ5P98Q8/Vxes6dhwRDGy8hvd6h0hiSXZSKZS/CPDNIAELzplNCfyVdiMiV8PSAptFgp+M3rx86z/UfvM+uQ54YA3xyIXdlzflKgIAIOPeQGVDlQJ0icAqBn28tQ7rlIxQHQQ2B71tK4XbOh3R3ExAS14LCCjFo6dyhwrGAeuhAisHjWp023GiuRCpViuXG/2KYsRTSbN5CPmKq6Xv018C0NLKOcWOOfUfQRhYQ0knafZqpcw6yWXOpoY5YdLIqLo3B21eWSdnkvIiPZt6DBfyKMUcMMhaPwAQhwcw3d3nNZR0RYyFJ7DIcxU8KDayDV5jTzzRZHZ6FCrjHGuyTqcDBKy70mmD/hO9z444Fxd+UCGGZBMEav62gOvyxFu6oKucezeaVuUURK/6BjnhmhyivLGehKA4++Db0/DVAOISddMvhCG6B/7X9JFKEj2jZG4362EZps1U5vuZvdzSuni8Pju7vVRKvap7ItS3ZNVZk8aLWIT//OhnEsndmeIWiJFX2mLIxX8wIdT9UDgdBQS9BHHXd5PZ864V5CosI4pNmfFvdXfuhw6XHg4R6sW0Y3Leu6s1fZtF254RBM+aoBzyP+pltMtlM9bzoxoOxR7loocKBz8YjH2Zy20OT4scWm+P1e+ffI6amgCsTvkvAQ59yJd94FbPpSEbniJGdbnf8mjaZMJvwu0XfxJ/+VDc6Atgynn46tJC/1ri2t889BGZ5SAbnndQ/Btj07Ki0jsajAANaEIiTx95xjUGTZn2iPJp8LBtNUX9WfKlWWwXnF94wVnjZlz8fjvrpkOZDriIGq+TRde0EgUY+WBEDgVxnoJoIZqmq/NhvyMTkuwXePwDdxDtf2sG12IGvsFsIFHA1yyVDDYRxdw4elGuv0zzWlms6YeqHS1NM2eTLnC2fMQtZkvDhj/GYZvKCZocKsvw6r9kCQcs9tnPMUsix7iYsPzeAACtDiZpydLbRX8bb2LeOkdhzmM7sVlom/gpgUO7RqhAop+lI6YEykAMyvs7GthrCGFD4MDDhtlYOVfNcRk6BXXF+FZZkzlpJP+Ng6CIBmVi14hmBAdSDAul8+jB9ZP+mnFXwzEHgtJ/e5QJpHSzGUsrUouhNMpBd2mTOIM0BMZDalh2kF8gP1+dPZhR5J8LBFf7zrzYWgFhCH+dRCTaMc3XFEgHmF6flnenCtLRWgXT9Q7nrhBACUP1WYDLvuq8ZXD82aMUQfE/Ru/nywbSoUuHyQKzzHso394GO/la10+vzhJxIWCNogKaUZvEPdLBnvRUIKLjPhD1X57PAZgj8cNlMz29IRVgwWp94jNhW9xg=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A8dKUTOdp4DZxZ3TIYuZ4D2nFzXUknbVDZh/FAzIp+9X3+z9SfaFgY0ALbXcE9jbKP6z++m4MlqQln1YYwTQZ6v9on+q+pD5KQRC455gIVpLdrhDH118HzOusFV69HKRus74h84UmlkHdOFUoWZA+zCCk+IfVjEaXdmRMJjLOVWet92NfVfbGS3e5Wf5IYxW/TiZ+fh+Eg6a3Ix7J25y2l1TDd+gPsOOqyqLa3Q2vJ9bon0snRq/x5b1xeBVi5eTtLLbq1vKWr4ML3GLtJ5nLLX4GLIkhXVMR3POneM8ycdcacPeU8X9vHNLO0pf0oSgQHL4r/TWATtOdSIDcJ/WaavGPV4J6C7Q3nQjPOnyCh1ozC5driogUSD+7ptDCLL3FBI0h5AtRhzlrZXBzIY0ziQYjhHqCTHO7qQ7b7BG6IFT1044mAfbzSCWAINvKSEh8zUO+Y+tG2GI1b9TlhR3w7T2OYpNx35YXH12nBqo+pXeFryUPYeisQjYE6yrEp5nuRzJwXMQ3MlpZChlVT0esrUFUtwqZd3A99/jb3LGjbXYo9XMzQWrWNHZY4C8V0wuCrjjoNqOlCy8Mfb/MyXEuDnUcUx+Weq4SGWNOzVMGiUUVD2+8l6NUuMCmEgiIeTJ1psS0tD8HwpaEQOdQ5NiV336dj+QJp3HVkichE0A4Kve2lpW55g9U53DzgGpVsbQVeHC24+jENimq20BgVUR6M/koiKiOa63Bhrxx7GTuG7JmBa9o7j2pfwh5x/OGEgu949O8wxOu25AeCasRyTINupL1Cn2oUGdtQpkkcyvz2128oIkMyribZMrrC5gw08Azj5A2a0XFEpKnLvBRAKyxPyn+9veKurjWOuSyHryl69jvn/NwPUtHz2Re4Q+aV8TmmlWHDXtdZUZC7QME/cJ/+EFE41KUbRhDteFMt6CqHHgO7z+XvLBro+7+8wQ2+6PbusVvmzYE5+aNoJ7M8fNWs7fLtWMkQ8PAbik27eKGXV3BfQk48ByshQEScQ5R9WKWy4ZMZW8gyMRXI+WaJh2jnW6PT3rsAa8QHwOZ8IrrAyQQwTOEBVoOW9j7QHR2I6ilgJ5JbY8sP0WUMb2w91WH8VfuBfx35iFNUUXbcLOUEuQJh5G7BAeyjw7YeR5NufaqTby6kMqCSTfuaJOmjKlI3Ff6oQOc2GUqR9nia+qTgG/fAo0d4kLpW80FOW/E9HcmrisKsX1yOqbqHIIzQwcTAZsuxFUrHjS0ebIrjsF9CNnD2zqXGfF3KAdSzs4GUv6QF2+7maLMqQ7YAU2hADmln6X4IN4B4XS6GGrTN0mFfGp77V/qkGy3pb5Qkq6vUL6P1qz3y9+wFrucxAEDEd2XO7Yy7JQHRTEmXVo18WsFe7hmiiQqEXyulvUfQNY0F4jPNo3ChFr7TVnyz3wUqH5sFi8DkEQRddHLUWm7wrvjhfnM6luO/VQOhEcX42jrR76SbB3hwtH/OY2rd/dhggQb+nVFO8Fqf7bWPnRXJLLxEVC+vSTZP1E/i/Ry0t94jlakY0ebRQo7qdITvgaSiwhJmGQMDyJYPxBteNLD7TI5hkD1Wj/H1sTZNUlVhAtgvjd5WmHkkBIxgc7aiUChfXu5DNikpTUjsP8DKC/MXjKyvSFmlC/4qFujBVVrLVh5l4ggiXKFj+wvATgc5g6uaRoFb1ltuZ0PBs60xuNgquBe5pYeVV9sgeOVeeoYYmHgs1CbLEYvpSzIVFDKw0gteS40sga7AxYbc8PFANuPRTRkrAYP/Lt6T3ooAGZcel4PNaX6+K1j8wl3WxebY6SqRC5vciZ7h+oku5HkGpgu1SZylFGS0ZIbDDqj8oFboa1XHlrcgNT+jF4zu+Dnk9YLjMd4OP7d/A91tIca8lYGrXcfak5fQlybGM1mCprX2PC30VulYliSo+DaXzBrfbHFS08E1MlVxa55rqr7vawVrFoQWzfqUqiQvPTGztNQpg1kpNcWdQDVpctHkt4irMcz7Zjw5aUoXU301zQd1HoSrY4XPNMHBV7fjornmuDU6W+Bf8Qm7y/olRqah9CIkH14MqWtaVNtGCoUKpFCZSaHvBKwQPm6MTzKFMGyqfpAVwRIgCjs7fQpuPbhQoa4BI3XnfzuYW27fFmhGPTMQKH87Ik6Y16Msbt4c28eRma8fBG/fi3outmNUpt28AUD7AXHiT35TvBvnCOUYFYZES3qV0pVizJweSM7ReKXT+SfSFqS0PnMHuF/gJyr/6yi3fJm7hr9XwxBqVJiWqBSqpkSc9rIc9qKgxjvaMoaTQ8ydkPQYB5qg2QncXNsqqb0PuRDMLxdwrPm3j7butL0G1NAbqu+XuAoim+tFg55HYdlRxrVwxFh9ggupg8CJDMtl+IAYAa8kJ+eUW8itbM0zRpPefc6e72zYhAd80Tq33JZdTi69dUloHuiFLPpgJlklDRZ+00GtkKrlwudHwaAnRkcb91ydCl4BuFVunj52OtzmI05uXsE+2mSBxsi5bf9Mn45enejoNibj9gi9QDZNiD9OoBjdFeGvsGJcxuSHCh/0DX59FnvGTZbSO/tCu379JLpfD6G4zvSxsMkldmUMci4kgYofags0jneY1z8wNLC4cSOszOwdEuFz4q9m0kDWhhE8IF3IkB2Y5fFJ6V+Us2eWDE2Fl+doi002ZnprgPw3rPMqmcGiFQx51I2fIOaP/EzaLs2/lvgiABOYxUOAlaR1gN/TIyHFbEnhHNOOsM3FGYw28L8Do1k30bOqkBk0ZOZ/3+WksFs1zI/E3r1YGF17qS4nTR9EN3WQnSxpNBLPh8fl8v8FUxH5YNzQH2H8jqw+tiEaE9onSrEEo8rn9JONgNphafjr5tEVZPIGQmvx8FiVYSoqHzIaC9Q0Zy2P26tEpuS4FfnLvIBnzkGGmiMJvpgLOB4g9UYF48cVX+aXj8/EeKp43wKoyO3h+PUlUq5H1s9IlmwWjm9XBbOXtimV2rvApWAdzg/hkvgxoJ331rlJ84AAC+gwdDbHAsSe4tdMfN0BNnTVrnftlm0pP68inlmeT1wAfwlbTfkP/2OhE4l749GgBUL3mjQAMX41y/7A40i0o94l0316IleHlH7umTC6mC3G6otrfZwtrxS7ZVkPkL0ZNIVIiGPv6M3YTTV2IuErpkjYBntUdj+33qYBtrAyyfM4JwQWixqnhFVhY75uqGncVIv2fMttmMyGwxUB9NTTXcHTNnBG9yyR3I3dnDxJTqR2cQb/DJ7+4M5eAlOnNR3RSa1F46qIimV6RV1/E4WW2sisw8DcjmsLuF0/ppfhwmVwpK6sY0Syn9VPbd8/cEwwR2oDxTd2jAF5zokoxQGwb+E1LpDoJAah1HbpsDezYrUNUi/C+cQtKjmLtJt9oEtgY9lIXsEiQTqxVd0CpVySOf1dyW6RdDHfHilPsT9VBZ+8q+km/ODPRWpiLnTB4Rz/4vCZ+vxyiSwQr58RfgfNAHTOkt9180ua3ic7UKAdN3VPqav7ZyrgSrcTmy99t24X9mVZqJy2uO/4LYebKQmZwgWjaC9JF7E9tUyLXeLqlMbbpE54+8/CUgy2BFh08DDnerpylwWMptI3lRfrsSJFUTwwZAqV18RQewGlHXRE4a7r2mAHYWMyZSrcVM1Gx8HgZlxAmos+C9CSlvRxwAfZk4FtPJf0LgHal6S0ibD1zRqICa4i2TQsL8hacIkMGgAPPX2TWnyout98SSGu+wJcpnECtAjSUqnd7c3upQwP87JvUd3B//eDES1Q/hnGc+TJaI1SlMfBcc4q0dFx0zw2F9arcc07tWa/XSNSKmqM6sZG3bFOysxNW45uSuOOj/y+OIcbh+JYHs6hPYdnK8xUTgaWPvbhkgeQj28FpNvRbx76Py//miF/NOTCAlXS8VcvOHHACrRK9CSnxZMZTuMUUmMUhGnv11efT/erRrUyPMfeBa+9LP33mUrom67UMmn+h3yNMUWYVJ59yMcYxJ4zEjCaqcWryaZz/hr7RPi3s30t5dYCgbaa2e1mV7cVMSyKTfgDo5FVk0cdKBEil0ooxev18jcFmXO9d7cVd+Z9t4ZNqxE8tp7E7fzUynml9xFPwBvXBuo0jytjAVJOjXh/xk2B9DbJN/IGfyEN6a3UDCjT0v58HGIREoAm160fThSbHqO93KyA0JfM/ruZrjCBsJdYf8iskMqTztKV7a3Rokb/1pcFdp8V+h0vKO0wIVk+YZ3VdlkOrRkmwLnXfS2OT7SUK4tRfaYo5uYDkZpYc3kPanR32m8ejgKrBD6CyaOGiU7Kc3oQ1Z5lIOAXJrAiPEGdlyALXDT+EanTkX7Ao9Kv1vooXCqukT6I+Eaykzwga+nxTP6Kx2VuRyzWwK0F1eOexnHhSrT9l2MDWndaBLAO2hnJcIdJCY+0uhyD2s/eEu5PkYLpVxVMfBUo0zCtHDNq4PfqFPo7AJNXd8PS5ytGiZGGkedk9XpX5d32VYaHeOFU5vucOYRxqKXHbbhonvwqtDJZp8iY6zxVaF0iPwCMG0GnQIupppHl7VfuzEWBxeuGuRsUW+G98JI67VRlDo3G4a9sxE0mvx3GQwnMqd9bI1yopKJbLnk0eRjjnBsV+eSg0F+tMQw396oBm6GsX2tY7+WMvr0JSdonDj5GNvCjUjCR8y4p/wEIx9gJ9dfsdcWCuOayO907+05AyqAB+M94uk2gfvvxrdFwnyxMMzvM73rQTvfFMqRNuFahfv9rnje1ti0Sg+OKi+IHEgVbKvv7f/kPSxT6VgslLw+t9wXsNl5y8maFnhNvgnuTkyT4oGaf6UMNan0a6Zomwg+gV94RU0WM35sHw5gNg5X4ZmX1Uoryl04UKpdK4saL7evz0pGtcN4G9YEbaGBJzpAyajYBcNq6psr9rSjhvGtI4nuRmxD2p9rxlwEs6WMO3M6H90xIf3pDWZq8CKa5Rso+hwxlXpeXxjqnt1rw+JoFNRZa09YKAcfRFN+nhN1vJlTFcpc4SFD/3xqaQv3X8W+b+Cs3lA+tdbLBFrrqKHr7P6Ym5d7Fun57y7T4r/LAY/txpoiL40nvdibVUv1sTO/7ZXLAW868RnYvNAhoAcs3dP2m6W4IDI0Sr9WgHvGgP0PyQzRSkX9pNnwVuamVhiEA0FF7m8ulT/Jl/ejckk5xuVnWvajUU0aBBxcQarJwGu1PcBnKk1lplEgC2Eyqw+9u5bAQA8tdETkQQSrEFa4hO2iNNh2AFb1OtOI2XuulWSIftvQ5yQp3XTUPMbBe6h+JoUHQPpqs4r/05nWW0SwLw+N4YkT77moNnIm80A8DI0u+ySbtTRBFRLGaQVAadqQuspl9lWAtfrCKzac+4eps1BGRfIf4cCJkbilAUW3Z6OgMMPmxjSO0qlz3w8tOv4vNz9oRghE99+cE0nnQrgDkm/ipCw+hTWGlT/QIKP68Fg0pcqVVwO8QkFp1T0a2ievFVD89m+37ImvBWElnx5VCkm9/mtzul49SETbTXnJ0izZE7xPltj1hlB7olALp2j8t+tIR6II77TQJE7YyhR7f3LTg4Gyh7RNOKXZU5/aaT/9Q/QTg9vSIDk7gnB3VPOhv9YTIhFJejLN5lRthC1oh6Tm/wTa7vJzXxstA5WsFPOjDi7uwPc1WqV4y0Nkx2ZlWFWWw+xMA5ytZJwQ+iRwNgtEKKsBO0KIYGMkdqjJHlwciaE/dKMxgGmjX5sEOb6aQ5oXV4conDxMHe4a0tG9qc7Hi+VO7OS7qgkcxkBLyw3Owy5I4qmqvPaoMpXfE2+W2wA/Jhp0/BIXQkjdDbKdRHAvp4MBQCCrZ4oMaVzxRlVkU9eCS+C4TS6mL244ZzJxiv96+0yXiNHkaaVfG6e7YQfD3vCjt4UYgmuGfRxPbPan5Dp0bDXuCZdRbvtK5fVnElR+S4Uwszz9xzyOYek0n/tfPfQxV3qctY1LzSEisVBTCdUOaMs10NTePbYKcAczeaS0oy2Oc5OEYjpeJfnMYzQ5OV2Gpv7R0TSQZYLgjUg6bII6AqX4LEaXaJR1BVLn/YGq6AydW3itUjEOKLV+XxLq/m8wKYeHPUIduzLfHb94cuzpoCzEcJZbSGRUgO21LpVVxFRBbyGQ4YpdJnoDe1G53qulKj3uGvE/SDqc/yZsTRI9YGjqdzeM0/ipQqax1Nb+aDE4In8nvhiyJwUH4wXwzWd37q26JN5JyWdcFrXO1ysByLFe4ukQqYmpdddZ/XwYdvLdzFPi7RDIqXiTI5Mm+dADugoUOHQLr54URD1HnjRp0evmQ9zAwX5oTDn1TbBqUp977j5lyPRyQ6T9f+IUDDm1/JbjA1q4yfTTcHgtU7jIM2GkAgmT42BzNUbKTPiN9e2jFnGt354q7z1dFtBHJnrjzHpqIflQYyyrmUSO0RwZDvLbo3AufuU0VuKW/yZEFTNAUBj/nizemRzZev9csXsZ6dsnKShMNETE7FdCx8mQvjDcgHA9STbBb1deRL9Xy2kDaonr/LMSnYGALs5VHt7MuWE3ERIo2HIXB+M//q3VmhgasM0dxl7WQTzaeAGdKCZ91ZxtqHaPH8eUkJZiprzSyWDDxdYFz5+sOtAoWOvZvr9MXP4drHT5nssJFrwlGlwc7PXQS8h51KlDNShnW8LR2c6vjb+qs7L3VVFQ3H9Y2TbjrZ3PJdmD5uTjjoAYGYjxHNLrc64YnhphsMYx5kq1IAKn1ghH3ivRDLg32eHtyRvzKNvMmbGXCvctMlLp8rcNOMZurE6Qen8fjHJ/+gkH+wcGGhKq2gGUoFljGQhKi6hWaUs30+ODV9xVJW0wuIsn9Xn55wEDESKjgIgDhkhGu8n5PmrFSPkU+gEH6pkL2UPhbqtZeHSbbLdLNV/I/Mt5Y6SQh4BSP8D7YqfYir8tqWmTpTFACdv6Q4UjlH0xs1Se11KSmodmBW8CPevJsYqEbk7qP24p+MEHRMKdRxc6D1XcwhVwhQ5M6pIZ9cBruY/tW7BF1JnZzJTqBgXAnw5SE1C7sPZ9kWh+xSsaXn2kZ71nBnETV5Aopx1fepMRH4ykbr04OEqKH5emPrBEaKVlksla4tCa7eMSHjyrAUCXNjTwz1QPloFR/9KMBhX0K7fp0P313nZ/p/DjnclFQa7hPZrYOgwgeS4YAsqPd72pqudiX9vuSJiruhfU/6Pzv8aQwE139W3I+clzV8IRE6ZQrvxqSlIzm/sX7+dmMb3Zs5WorhT8wG3K1nqNSGym8px279Ofj2UginI5beY1a8+ondUjlJ7TmooE1s9e2KEcPMtMkgg9rDrbw7sJ6swl2f9br5CAidPePSrcCn3tvLak+tzuwq4H5KJiGq7kbZ9fbony6dkGg9kcr88uB2SwGeYHGBDcv3xsn0E3NC1tX2X6uR6vSrhxlO08EMSIGHHTkgTqakcgLXx37OivLZTV8C2xONei+Jzz/fkkTmu/voVrLRfhVXgYqYsBZNK2MQOaEzmPueNpWAJ9ZFb7yAHjbq7Scmm5VibMszMq05oRrC1218pv6FCtfxJGTii9L0e5H0EN8Hug9yJ1wqI9cz+Y3FJgULLE5M/ZpCuGzoDwITG2I+OqE8B6JTRF3arxt8BrDJC4OVPWSoGnMACKyjZmQUMBLPdA3+LttOVI5sfvc+WBR1yb1KpEJ6gqSlEOm7sECbVBMgPBGJXVfSbmhT2DDsR6N78QbGRI3/IMKY6eF+pX4PvDKEs/53BlnEOWT4JGB3IQuentFbC+xEneHjRCovcYLZjLIwLrYerNjF5buYSHIccxksJvBFVE2zDpEUN7cvw/GpiSWRvJBExwv8D7k6ftS1t+wnbDOnWSEb02RvPTU4Ta0NETLqprO2QlmqjhYTDz9Aq+FBhsPTFqJEm0bSsZiQo2NVe5g+a3zm34mg97DJcCHct6vJCWP0UqH3KX357wNtpQQ+OsG9uv0/fptXw/GtLUEFpCVa896TG6dU7veOzhtdrQyJdqQgU3qK/c1Cbsg0da1BoeP9y5Q3pKv7EzzoWMG7fpUMP0iAWDfFsO6OhpzpwBdojC1/fMIDqnyO1RUbheIzGcfD1OlfBNmjj9zyByJwvFMaokO/JIh1UgSmNeBs5IUEgGY4MM33G5DxBJOZ/XSXWV+Ig4qtC0MSc/HiqeCD9WtWNTJHj2QzKnaR1q9c+lmsMTHVrAd38Mml5kDDxxHo7lwmuMk9Y6emrfRkHo/v/uxR8T3zh4efvCA5y//0Hoy9BDUQt34aFCNlsbRTt8zl1xAkSUZemVujafomBUWyngmDuJ3WgkVbIRbgo9p6wmG+8bUNgk98lPuy2+7e83k4JWhUbZ/V8RcSKEUhAn0OeIsUOcH6CtuLKJa+jdoi9FM/7W2fK3L6kHzq+8+rW8p6XactesZF0xkKSWkR+LK6T9tgbJNlkW/XaikmGvsZMcGCbg0cVjSGkJcO6z41zFGWU5Q9lCgWmSezbsOqvROP0Y6jjvSOrk1mZeYXGQJvctb6YAsxpnUhKlWGy4cgj4BYhMhqwUqV5O1deIHNHjKv0aD/S9MLHOKK6G18vVvsnJst3ryTvCBPBxQGS4EXfBHRrnCNSFKV9jBWkHhyu6f0L2FS4/afSYIB0ZrxTS/z7mwclXLz3HZ4bcWzq4XMzSUEuIv13AVWT842/wen1SZ27spxeQzvUrBVAJRfMvb+AG4Ez6sE01eFI3Yw4dbFW7rk1FbvpHoZ0hDWph0AJ6kN4+4eOIO5i4icxl9EBEhpzmGpkVvOwJZxBGqCM5svU8Hv/rOuGYb8rXuNHulZGk6bC0Bbnid+M9FNcCnZGpNsZELADxV0J2N93I1u9EAvX8MVS6uepUAGnXY92moF5P+sNER8Yu9dyv2We+hS1k/vwC6zcye0TNMbb/254GoRslUA1xL1p0gIR4Ks4mUFH1TYJDBSlDpC/mtP2dxF9FsmXo6NO/KUR8j8WJEStGkw583Fy10nLucirgKh0TvZQloc+w+Wd6MWIFtpUDgiDAhYkxOwQxDJiripaTqoY0f2xX4BcKbAnIUdARxiyCdd7ZV+lZ5dHXeLBoAy5vCH5XlKnxgfbQlnhts88LYv5lUUREMxDiK4x3Wp1pgcdu6mkG1Dnd3WA/qdT07aQE4twaatiM3POV2g0pVavV8zp914LPj1Kt9YUez+VtrY+P768Ww/8qyKFBMGJ5Mj3KeaM0iKvhQALDHaGRs/B4sdEbpPOiqzgkXlD5VKQaLip/GI/vCm0dDz2Denwa7RVWREsXVFgZl21CcIGsB/Ccp4T9hUfG60QlpZQWk8LN7ZkJsxboQ0eAMzqUMrD+foFye0aDPFaFB6PgsBtBYwK0frXo2vvymkBEHVVhkOPWeZxhV09bSuJoDNuXS8JI4Pe0qHcOdgKr+Z1C67STOnJ0hpb+rZM41xJuMzQ1WRTXxhPdZGMVW6UTqJP+oUcv/tMcrtpGtKh9dH2nQdmpTtfvgGQiPGHEdwPGOOnq71t/Ze7rJ2fBr3EdcMzMjT87Z9MFhoPo04kRtjxVQGP5feFKNmOIOLeIeBfsy8xsaT4wA+rXd9PIUDbnLH7gBO7bDznYKxbSSM5aqA5Wf5NOBVf/uN3qrOdM4fNOL2azkOHAAuVzyHDUlPOu1UW51Iq1yOUfIuNlDY1UMUMn9/44nl3LuSspQEw7jr1+uCPRDAhc/bV3VKL6iisOkJcBPW7n6vgqc1Ne9xH7axjxGgzg2Y7nmtl9XKGMVQhP9oGJShK8F8kWkGKSHJBTjRHRuH9O9GIgMyrlkdDWaPv7tRfTbGBHCS3us5I6xYfAK5DuV+Ip/ISZqscSxGL2alPCYUAprcZDs2yShma2Z/rj/Fm/l2nsiWVJ18IjrjdHaCqoHdJkI+r+BzOKMEz5Q8oGeG3Sv3tb+umaSLLCkXU8s/iUg42VY0PngrVxZlLBewvwkG63tvNN3SJMVKB06HcfoA5aXTrJJsBJ3iMe4ukJyQhoWmySsa97D2twH5A4MouAJ8vKzV7rLKJx/bkyJJ5G4JdZtBAyxdZqFIdaUeUcx6C9qFdNipoiH1hdydfZiPIIEvklfrNTJ3W4xTBlgx+odVtEnAfhTIXT4fv5lTFV04XGDsODD3rXIFR/gOomCPBllD2RnZtUHn+1IFjxRIyfy0UYyRYfNOhAxRpiRW/D4gumB56q2a6pvst3ahRz6bbj0SW9Icuo9e/eqLl6HDv993Yk1EQvx6LfyqDdv+qQidf5WyPBfy5UH2cyKiCh8qedCW2oH+2oAvju0N5mWPuQmlnbftFHvZpe82hegBFninB6sei9i1VUAXNLsbtAYbp7cqGmBMrlE4GgHtswKx83bRibNDnOvGJW5h/zkGRkaAlbF0xLvjFvIU7/nvaQ5Qh3X/h9zSVxAZaJMVVgC7ej2C6WxWifEFiA15F+ZOA0vhxVJMzPLC0939q1tOlZYHFqPEAf/fZl/j4FM7wLhkfaFh3EiQHWy6fO8GLty6KBF6yuspcoJiQlS4xb3kKf1iPW7vR68Qb2SKLaIav9mBA/zFXCQ+/0vV//XVtxednyuPybn5S9jX3bIENnW4ZRQWs4QyveTP2h3+DYtUaLw/TCVp/76Q0QxK5eSuH6tmtDUeOxOevXpQ9ZdPwk8h507ySVPY+yGrfHjNjXXcpVqWOx2q3GybjW1nA0W/LDu9NGDFZBJ2yoT6Lz02SVyw5cmIaYUdh4ghJbSZ1j048UVIRbhs47n0e6i2fAIsQHFUo1k17sd0ou9cHbwORpqsW5gegJ8Yv4X8FUCiFWAWxsvBZDZVc3ZNsEnc5TSF7ADIi9twkHAiPFi+qnkMs3TK0tOY1wYZq3cB2yv93KN4rKANfImecR5oxbCGhaTEu30AgYzopVgS0EkXDPBI4huyf+IPR7Rbo0Q4+698oq89tzmh3tsHdIYc1V4joo8TB+5AvWUTmkY6sCGOndh6D0q3Zgucv2h4cidR7Fm2wUJvSZtUhEc5kXE4+RHlr9hFdDPk8aNc3YGIkBPVOyGWXtwbe3QNEfSngf7cLbwe02J8PpqJmEOrUho8gXdC3sVQ9Y08vdTeFqH1CCVoh9RteaE7IgcG4BELjLhu0z/P6be1LDRor3wnmYUeD/NaSnx3dI6rYWxYR6hwi+fWTXR+dhGbTcaCHTxZVIZ1cYBbjDUgF/UO6yu4Ng+QUaQalEOrNRGqHhhgznHvejFgsHgVgt4QQVJACpdKh++um+0M+eV9ZO0rQ2o7tQFDF6IzVurozsKgOPeIhmrR/fkHbbfC/qAtDG28RMG4YPchDpIr3WegLpE6pjwAub0NGsRpV5GJwPgSk0gd6QOX7CiEvwBYkGj9rLLd/dAb9clLhuL5mGqg3UofwBU7kw0ddlrcw4WFIOswC8nWk2eTc1/qLRJZVdepJOUdahlq/Ug2K+CXgNIcMDY+ZVbvHGA5KDDmy9KQcB2lsbAlnQqFZCJAP/4SMJW2gj6zyuMfqDWZonHHBPMBNmmqoStLAb7B81N+pOdfGuXuLKDxnOyhmTjBfZdNUsHoYYl4xOX6b5hLw6SD/LvVXR7ONVGRidn01CbYkNlaDhyhqQvY+B/e1svkmfnvFRAkzQJlX2DsgKkm6WjYm6MUzf5kilFGi+ro7sOhH2/87afT6o89U/AgX54aXrxygorOJneG9zyfI+91hovHMKtiRc2cgCFo4wi2lzcYNn2arF6Vfajs86Vu5KhrawUhMg6VNqLpU8SF86/8QeU/j7P86jQBhe8fJFrjeTeZvvSzVuREgAL9bDQryzNjFmUBzA1qfrW/bD18rpYLfIZgWLKU4aVkWc27yHxMOKIAkQYOSLLOBH1MDQr3IKfmNiTdNn2gJ0GslY0AoyNZSDBccVImlg6PmwjY/5pTre9VPekKZwmSjK0hnSJlPghqSZ+sxOnsbKma5oUiW7ZLXBF0E0QcujlXl9fKUlKvmqnuy0T/QJLdbpa5autGwyKwjwwNi+5OqC+iNtsxwwKmjfy7b8IvepHO3F8Wcf0rN2DK6gMqQ20H8rkK+xDX9c4gTGe0BQJNyDLQ+aBgN21KuRlUFc/5H+4FzIIW/Rxa1roJfcgDpVvWMWdT4Sw0soSMEI1VadMoZKGLyU61uPbcAHFJDkT3hmp4b7j4bBt7tSH2BZpMvqAuFg0SQxJj//LU7PXIv2uB1t25PIJGr+RC8+n+K6kC+mMsy9WIW+bvpHeFqCh0rTGlLZu+i7oQhuCXieH9g4meGYwZXeogO9qcJ0hLH5uIkMCHGdYgOM+lwPGgfaBFabDpbSAL8EG6R+TOd3UJ4Hwa21yqGZyRwbTAvBTNGANUhGsNkBL8+LrRx70mIFBxjj8g2H8jx2kWeA9ek8wiz39Mv8YQWdGZnSFZ+1qMAlRYNr36J4f3ju/KUTGyPpdayUkMVbdGOfAQIMuYbGH5AsCsEEbQGUfXm6lWzeGajvtZO25KUIs7Qje85duDuDWTetPuXhZLbysgd13B9F3aChVsuJkVjGAJyHE1W2HBGzt7Hpktlw80cquDwnQs9GpvO1hbphfoBM+6QmJ6F7Usgp0ldTMq3XPEiR7QL20RHx1EFoChp9rug/t8QqtAwYc/RfmrAc0XMEz9zpcPSq9Lo+D0c7HT/Fr4K8PlHP6+/IpuYfGQY/Q7zCqF33t1IY99XbIqB/gIv4mO2c2eGAAPTmvVcagnISOgWt3RUnBHqYih1af0B9BIhxY6PDy6TMPOlUTaKHsPtvzB1477bsS/4r+0LMKlDRSRu3rsYzWBxd5vqeGsLG9PPkglh5Q/Ay/Dsa1Cfl5Y1Ll1Z5dkZ8FWFFiSgSe3ITjGRzmP8PPbMnru0pSwLGdCK5Okg23HT7vbyNxV9wvbRmOt99nmSq7zLzYwb4iyfV12u4TAx0Jkzm8FfQr/X2Tu9dszWHM+ReUNG2g8AdsISttdF4pTEyUoFHAVwTpZPLlsN7EJ6vhQCVVO+yUu+oO1H3gBogrV8PnKEeAAL7GVU+POiOCo4kAKwMLhMG7gCM2/K+RZ28o6uqTApnIE8ItfrjyIst8VSZdBnkhlXA5zpPaqjw8D77/cFMakF2U7qOGCLf48lxC74x3HdGH4/JcFOFwmLlEasNOuUhZZNuUbCYJK+AAaWL13vAcr0/UsMF0waYBzGFM+CPEUg8eXzl55OXSpg4UsWa7PrZVsB9PV89RCVccs1iIdBzZ4+r58Zt0S2UqmdFhXdGKbIbuiYDxuudRPv3vhT+7oJeBZPw3aVPaewne3jHWsn0LXpWJDVrxLIhfTKvC0Ij6c4q0XNScmtgqvyOeMz4ByR0zcaUR1PzIJwwiSaZaImdhOOqGK96mYl4vLtosVNm2yujd3CkqApFF01c6eZVPISPJAyZuwzgE791CTR492AN3WGGdDrDQUf4oLTb9AuKpY1dZtg0FQcreeuVnjPXKYPl2ot8YMNPsKQcd+ZOVE0heM5oaSLCuicjtuw/dstTKZENvn8bglJ2vIkFF1KnUxYJWcnjULnGKn9UHipBbVezp6ARVN4xqD+EB6tkWtwLEhaQGBH3HXNR9Y+eOShn7FMTZ2FZjgMk/CuW6mKVBr7HR7eLUiKZ9QzthcA4f3OxvHmcW7ZJWnFd4u8GlTNA1BImMrOjk6ooE1aYBcCUzyDyU/SnadQl3Z8Z2fi69M8KMNKO67sAaomnhbvaiDmbEbhRjPJFtI1JIbCesDSowwiZIjJMXF2GbQ9Ke0+s+ykwBc83p8avOGygdIdEdvh76xk0ekcsRvSzws0w4YGVOqxwkf5gMnxLNeQzIgNrSwgU9LPHbRnWjBbPN/RKnLa/s1gOHbg4awezem6QUNjpFCp3XCc0itAeCh3i3uA2aAXlIid4h49O7IZN+jX51VFPEDrW0AAEXsWr/03uiF1GVEhHkvLoOQJLb7Aipcz3cPOta3qAl1z6v7EoP+bx9qfkobjK/vjgyhaoO7bGPYo/qS1lXLmS7tdzl/0LIsiaXLGO6Y8Wf5yWMXGVWN9MKybWzPPLPHzp18/7b61TATOvyxYfnd5NVfG9DOVw43lO3gX4p65R/DUpU3jOXWqy9YnLiQMYbEtPZF2cTeWX1bLXoee7mJ5c5FNJFSMFMDgZhBWSE2y1uW2cl1n/qx7t5iWu3tK4M59pT29QWBq2OKztDIpCxIMeXfnUUmGi6/IwSYx0uwE9xmMpYS668qHeysNdsCYglCw9Qv9j53gpisOVZaqm2+CdqeNM1EB/Zr1x9G7DsaNNmJhKiUFzN9IAe6yiiKxNr/Qaf5ELe7YJmqEFueW6FsIob8OV2By16CeZfC5ydtfuXvzDU9lcur91avRNpXe5o8NXs6LEw3AlVtjrPFBYVVIAMgSEv2f54su+5Bvplb1Xe6k/Lhgbap6peF0mlp0XZb5p7nxwC2wLZZAQgR0m4HClxXCpwiPl0oNoPbcIS5wcuU/cXC8+R67+pjHaPQG3dkARJI2nfOWTcYk19yCwKDP8+3ofsXyqier5CaFPymPYm3rTIZxFqJsFijfvpaeWM4dgHrRHUVeA8BLNRsL783eL8o6R+zDqmL8PqZ0n0AW9kStM8mKffJl8HnkJVyLs1JJlCxBef7MKrXa7t+rLbbpLTauZQryDHyUESJQAf0kUwkFKR3cOhNb0N16dz/SCUZn7anXq7JspcG2eVS9IcBRJG/8lNWFIQBn1X+dk1TjjWjYBGP47t0/KkTpCwceJpPhf8/tFq721jL21LGeJNI8a2RQKgiHlgBB2qCG3IwHRtG486eu36hiCSFml33EvbWYLVtNj78BMISCyXMtjfgj2WloWIEFp1ogJGSisK5aUX8V+yOLSGXfIMpODDEFn0n1zQ87Th0KyDDnu28aguVwXWNtuGCBCdZoEW1xHSlpftysBc/otQNNdOdfubPVFyR+TrSWrX0OuF6SQucEDxgR4S4RgNfSAuU6SEmZddnUozsqtZX5CA3cjX6N9I9AvHsNK8RHOlCRa2e53M10zSP6VJVz91VGdh2UCkT6J4WCVrcJyh73c/I/nlL6MbFx+Vq4F3s8yNxJH81k+owbC2C4v1eeR30Qpz2mXRmNJiz97rymvaVbpTfDQBP5/pOYyeVrbTiTdQXFIZUuojBG5Y20B7t4pmy7n2MESydfg6ANFaPTHlMl4BxJOJApW1ir/o2pnZiStV7yPZp8k7pI34GpRT2S0lppFFT/A/0pHmUeoesOdyzYpuMI9UaoyGhErNoJ75I7qrKj98QoEEjSHF/zhLuBHXtU4ntqNpI0QQped++tjbjA/KazhVMilXQrb+o8zjD652IYby5T37V2ksE9kMl1ujAZJYmPIoCY51/rrZGIz8wYwRjUzn+brYTEBcLNF5ERUT8o5OO9vbg3beU0U2hzIb+zEp5WUG9MNKnzRM625Z76ArgA+ciHFGkvs4hvPrkk4M+9wtQcHIOEAfIr+b/83bQZZwCE2w12FDwo54j3pga1SL7dA+dZTQPvSSepQWR4G2dyWv0H7WXeBPmDrjujgZJM/jkbgyEAxRpD5Ssd6+ash7uIcNdsAoa/Ls2IMoLkQLO2oH1zgYmmRwwVD+DD3bhkXFD0lgaxofkXolutvO5AZgI4HULcqjEW/X30M1cB1CH1/6Wq/Ht5rLWXoEc4GJaD672ESEQeJI8J2BLtqBK1F+k9cTaAOixF3pbrD2H/pEYNV10cjPbh+grv7uGb9QHReDmYpX9m3bri10y0Gn2nQxuPHEkb9tGZGB2QWk+CDu6ve5qA5/y6UFmHmd39W5uwf+cc/leI+wBLi1j6hH0ouRlkqXqYVS2PxklQGF4G6rIUd2pvQ80pwEq+24mSTMGQYwwWxZ4Q63XpTtY8SIGK+sBL5XmL/o5ZJ45dey0bUemHaSPscLRkeGGrH08kobBil40XZ1d/upTSlmkZKY1OZe09fbXCXsLkoQoKi9bTSLt8WWTZ+R1lsG8EwQ4Lrf8KmFy7X0VBcvD4E3l++W7d3kfu3aw5SqDGa6tLeUiTTey5SA8iKCmvH2Z1D55EYceuqel+zME+HDNDLo/ETt21sPr+TqMvKLUGjbPsXyxQyHjqe5dNVhH+RcgZ0hiAW6FG/olQyes0eqmArVFjidSaZnqTd0N05P0qJH4PIrJ7ofmhGSPd1aj99URztvkDJ9IMg9Iko1XXpBHLjgVKIcHDs9i6VkVCgSEu9syi9lymEjB2nlMZyxiYk92hE/cEs9oqjL5I21O3EIIDKDjtY3kJXLAzIsu+xmh4yNODHjgK8xT4GR5VDHNP4wtjKDgBnumGKgBL3kFu0ulNo39ywIWWug44vsydb+GPNdPoF8A/5C6hDN//sM/WXV3Ac9ddhwf1IWguQ4/SXvNE0JjL0uL1zGb7BkvXiS+Adj5kKKmgA4t7Crf2DYBJ36IkcU5PWrmx8iUThSw+xIdHYfi+PG0cvSkNDeqhn/saxn+AgIwIdPciyEtRHZ7Sl2DcGgRY+o24pojDdEA8p4x7fYRIXU3dXzNf5DaTC9Rzyryxjb3adk6ds1X8fAPaUsjkMCtiTxeGJBi4BaECCaHLvJM9WDsDERy9vHBpiJTVbuktkCWLHccv53KE/LXbrR087HGrdky95qxNs7bsCJjizqIravycwypr9KtPq+gsKF7QXzY81drq/kufoKYfAY0K6oWBNoG3GZFHkmuuwc6uRL29xrCtrVNEH47OTVjBxIKkmHxIQMI3eKIYzfGjeHBxyfU2qvAxfRCH2zsK9EnGSWYwOGModBfSMrmx86r+3oaTk/7SdHy4RuqatOgV4zq/G2FAwQLnhMFuBDYK9birA6bwbPAQzUgSm2swuruOZeKJnSxhfszmlR1vfCLLFYGqfOpBlkSKnxUQGAxtUlqxlnYYntz/WgbaNPg2/SJ+LUbSbXqzsqC0qL4StfEU1OA1v1XA0BoMkBsKJ+0VtHnEUM8e3QbQZv7i1SJ2YvkAp6pTufPeMIoQvzXtUFJSEpnTPPl7k1xTdah0S+9LeVD7drlg2U/h9jWfpizSkV0R76fBUbitMg/huAE2/MCncl6wpdd8tdo9l3bLK28/Mgp4Lm7C96HvcwLB8o4rkrC7yesGHQcypPibFo4v++090CleaayGWSxSvNSg4mB7E/Hz4+tt0154boTpGUWLgrPWJxiq6oBDAEXh8G9uHYCUWaXW0VNqUXmUuqvQwgyZcmGx5yRiCxz3cy+DfauiGmbeQMvNwQoIQ9R6ImMaJhNHZb5AuDM+2PQL5/GJIqKDQlDc2srtEL20A2mo9dIByuwfwipBoyW8um2YlWp+uRmngN2ywZzIyyzjvg/1b5pnnsEDbyf2rn25wOKxSvpcJ1SWdUWevv+QzohbPEJ1NZZ0YSPkJ0Qw4uRVTf0nHEfwIAEPaelADh0Jsirqe+/0Q2IW0GpIUopCGlIY0FOqA5a1IwV33hurcg3d0KdD9W8o3IOiTsxtQmyyQ2Naawec35gqTQ6GUERVui9YtAOweghpEOGwDlOkY1qXIX+G0Be7mxsfD9KwPNgHHtyNKeE8DLBDFSo+XbeA8Cv8OVQn2mdlLzavJe6SMHAx6i9tjtJwURD/Em5yqCA2dZ1TqiuBQY647B5uVAl5+qjHPuBvPYqf6tJoZi4zoYKLHaRzAUn0XmRYx+EEDkvr+o+5AoHeRYsgsMurbKPp5rZKnzJCKkbVXjkpAIRXKbcZFIUQxeaSs3TqVE97YTk6VpATcV+/H6IDN3Vn5kIZFYEjI+65oLVugX7HY9ciTf+uD0v7JQfjLrDAI9PAawetLeFHtaoatizoJ6UpfI1NEGjt7yRMtFs2bv6W8cR9MpD+8z+l9PBcg6TT6nIvgPw3Rj4qJ/gFEvlXpkVo+Ff/jBbt+oOldLz8QOXrJIdlaX8LCKi5h/mi3ztmux9JReKSbwXWt3R/nbgsY23i7eSZGAFCQJKT+ox6DdGMI40vdLLxgoZt4+rG2+wqKN9wZgT2TLaSz5fzoCsrKRNwqPCY1fUJpBDp0Kq4oO25pkpppl01xn3g/BjKJEeN1oNYYgFkTDAeNmMVt7YXRYgbDA8e4Wt1kXveqF5Eiv6tkIOhzb7Vw0dTDryitSlxzfO/8JsINYbX0KohIprEjvNic3uhTbpuvxLawJSoO1he8CC41OO6HQABpojlFFiIMttSgkDaP00AsWIY88YJ3jsGxXD7oIf5ow6FQS8KltKTL/U7rkSBmX7XDg1gYf6xD9l0i08PDwGwmYs2PwhR1iszPe298KxIUoY6MjpjPR8dpjHo0Vxvo4zX9mUei+96WF4XUprk+wP8rgw1p5V20G2P6QZQx8I25WwetUEZ4hcjehaX0W9uEU+TVqp6cQCk9OATMiV8eKpYOj+xZaTvFFTjpSfqAXiaf/LJsY47IdaANtsQqlCs7IATHKCWDVHcA809q/PCyg2jtloLTvCc65Qi1ggG63Xe4eWWd7uuixIlZixB7QLLtf34aK1mWQbL+0a9ZHqfuFWp6BoB8GXt77zssyuHd9Wcnho1qwVTzrT0kO38QhPneqv2eDeFy53FdgR2Tl4Qf/kZF74Y4RoDow2T/UnlfZdjeYqrtcSSeC+rfKqmU9JBrvwanlOVtnpWNUs9b69f+Ixr9hrHXOLfiNvE1SQooXOastDxH1aMgKPtg2X7lRMX6K28EY3PbkvsN7ryTTGzPAsjXEdAsjqRqV96rIrVvt1FzfrCBlFSQ66M7WFsIr9kRs5UKpdBy5VjX6Mx2s3SB24tS7Ne7jKPDJXlgkurMZ7hrcHeny4bpKp6B+97uYWaNk8MbB4oMs/fkYwEioZY5UmamMkWXfHPOF7RlKfghzKJYJTuJmPzgUPmmUbHhAbiN86rZq3Tvp4OYclok1yCiaLTw/yl0f3PyWlsaz1SVgwyIcEveHtz01GIRTEiVW1AQi9eZTdlgoqiXTDCQ8VFmZ+eMNSLClatL4CxcwgyAkFsDwG1lWvg67LcYZj5cmmnhTFKxO1uTw4JQkuYPn6CBWjSDL9pnEkk4TA9e22IZ4mVr3P2iXi+UW4qBcqXdXrL9lpA9LEBN5uukFkX2DDt658Qw+I2JAFs91p6QZPBRIbKrwYPvU67IBJO5FZmuU+C90QVZh+adITKPg2OYHeYf0hWjxxbd73YnQ3Yw9r/jr44Ql1pYmkYgw6pNKjnXjohWeolefe83nDuQ7uaVIyzSjTHsRUm9B0B2gNlXjfmxp6T1R95T1hjy48eaKPdGHmKSZAa3VPv1gF2DhovUdXa/iqeR+RmA6KsT3tEQhEAX+01lz1ji9SH/6YSY4fejdkA6nEX2x9QkYtFh8u9i58eF9+EnlTBz1MjdiXLUozcsR+hY9QHJfkY3+1hAMmUBwLoD2vfXXiwV9MYgkt4C1e77OL6hG8evCqIcmZ0lHYjK9KANzpbc87IjsmbSS+sR39/k7w5jd6duiEaSIlqE+A68eXWzA6gIJvIIa+5w0ksW2X1IXO3u5ZyWtjrmEF+wN/qEeLGl0pAYJBI0Aw4O6fia6rD9Yvoua1wQXvyTFCNbUoR/ZVazGugmEQBTV4S94ysf75BEULK0VhSeqNP8Cfvn6emFkMdn/FzRrYFRLxJRe+3xytYj0ZmctSbd1g1hBRKTTCp194aztGb8EHw+dRylrY0/JtKdpi1Qu2d8qMeYWtQ2CsXsaRuCzPRBCZ/9+DdA8+Fq4FH1/Za7jd0Af/0tOTfg/rCzzPzXq3z11jh9JufflH+VDyZA3F5TnrF4GsReIVZw52Q37qRaPpdKMkfKBYt5uG+miz45ufRIdThZNPdQ8t8HOXz7qipV9l1D6GYJh5TldUnhHfCU8jSLb7VYSZ5HGMoYIo8OyrJzNc6+kw/ZSj7pwNQ1lyOCKMoNSTr6pu4HvZPOE4wmJAmzXlojBwVXCNiqyYkRUDb0A54411cJEjod55kvVkLcuhvaZI8QjZSh0IFjlIYYLMPRwV0sCfTXuFZRF6ZuTEyC8RLKT9zcVRP9NDUV8apk1ME2bWnKMjlps6Za2SWRbMtaBvgbkUWvL++OaXQ1ks0s3vY6hwkQEIH81Hvicf1ZKB66X47AsAwqbeIJ5nu5ovt3/hGcyplIwIP5bxK2x/yT9WIaTqQOlm79ixe5D24FWugxqOA0q/rZSgfjiQLGj6M2eOSsQ3WwzIPQqxxA/6uNZC8st6Qn0rYzuhQbCL0nPlR7MJxN5B84jKvfdgdmvQW1WQPlEP6UkDqXIPTqcuu6IGiwK+r8m3uq/SlpIjWMIjiF7mwDhA951+FhxfOfxR99LYi60IxrSlrNuq9wgPaJmeToysQkTt4r0lETu7MNscy18iQES/n3rQZKhjC4l0gB6L1ng54SvK+MIpoDRg6KpVuCACadI9nai99/NOp6ozj34HWmHLu2pL0pRZ/8TNk/lcTn9+q4JWikPg4GWY9FHNCtNqdTxiUl+1dSHfE4wIXWvl/aBm9XEmyIfZyzRIexQvvw92pm8HEGZIWc4OsuwNpkt/wILXszjPNBS0GidAVaouVVz0Bp0EOYrnh25PCJMF1yFKVTC/lNO3UjbJ/KDspOE8Elu0Xw05s5Gb5FA3LjO8gca5or6Wly4t9EOXWgJFyUwPS7OA/Ky0TMY7hAAmQo755owO11mIq+0IsIyzRvd097WPUlQB/1F4Ig4lU0/yLODQsjVj3GR7bGaXBVss7bkBtBuPEhWnxWcbzheZFH41kpi8vhclq0mauIUArTWBAI+TbSOj9/ymJQBtvF/GRVOLK3UYYdFhuKqzBt1xiMds8fQ33Ybzdj2QpvGMyjdcK8jhq9id7FhtBZIzBuknl1CIkj0c7p+ikkCALKHwTbLdCyU27XMxtzeCt3EW3z5uJPneDKAp5ZkN9x+i6m1dg82W8LODytCP85mYtEcdy8KyyFiI0xImanX3VVXMh3QuzOqfmhcqSzbhr8wImF7TAUKkmY9NmQJ2sGfJzUIT0TVs93ih/nFcrcSlr1vmPfKarHv+79mRmFhzswIA/Jk5W9E6fBjP119ypdDIHx1c0tMSoq2o3x+6NPF3z0cTerHbv65ONY7kJu90GZLKSTKMXISNawy2korSAiAc4ZnTEzEBA17ZhRJ5y64UnnpVeHdRSKYODnxx+13p7cvYDKMfFGo0WBaIufevoSpc5htxvG2PPT0PpOVq+HIIImaZcv+98BDhOxa25l+SMo4Z3zDAnpenXkQGP0aNtMDWO+dKIdwdqqg+Msv59IniJMYgaxTqtBMVuAA6boVxBXDqsRw/4yE7IsgHsfZZAWM0P57eDvTwE9ImGJsd9EVhPhVfFCpDpXY0yo0AxjSyexZ6Lqsf8DcTwzXI86KQJbCVf6HsYt6G1fyBzj2tmLMH0/4eIkvuINLQj765YTz7o2bp8UcKljatp3NDP59jbjJV+BF5AmWuq8tDg+yJeRHUjXXLLoZsGt6WAk0L3k92uCzWAIs2rSrquqb24ZJBauXZzhMvc04TqP2+Rj8b2h09njM+bnepooFKfAsK/EGDAh1GpRTry7VqIbCpOZF4G/5zZrN7OiyooxLT1RYV3sAWlPgLmdqey3yIkXJfTCoUwBALxRtelQC7eHjwxpVM8lF/4XzhMxGpieBF09F9WOBdfVMxYJD3YuEUNfhAyfhCnn9rHBs+88k67hVl/rJ8cQNaUH1oIj+on7FVIvlSGBL5fO5nCT1EjH3AKUJhUuRlaiRKyFaonEvDqUs+SfOI6b506tnUChtAbFnfql3Vqv/g7vV0PDZMmVQyfY7S6xFHVGnNIQ1/HkQvN9KTHr4Jt487Ku8VELTolE2FhvRW4dVSYmTr+WP/KvltijW0ZWdNqqFLN8Y2nUCZpR4zvYTytFRcz7b58S6R7bj7jCD8Xzr8rn2xSHR/v6SYHlPuyBXUw+bhPXHl17KRISuMjf4xU2sslMBoJsjB6P4nhTXhLLnUBtBP0PFOm4tR+smGDlfKKxzMMeCBTQReSXNLRLFehSOGVuWgvY3qnESXiJNSe6F0MmSC2aUqzz6wgv/uukLcQBB0nLX0lBJ0wn1UkHj1Nn7K5prVhN19ziGM1LpNDTzuvXohgAU/hxozVlscfL+Q0EobtHI/qiTb5BFF/oqkLe5S2Nw/ajXtBnpIPWzjCS3W5qqLGCciKL58vSlQqpJyka9FRb1pHhJUXu0jXgDIfaiMPCJrr8hNs/j/EXCp/Bn0jhgISOwTIAjCgo02zMxpxZHWbxw6dBt0182wbO6nPuT2FBSy062WW/m2rAnUnrBRzIyfeYsyiDXTwoyV8oO0EgScHHEzTynjoNQcKyzueYorkGZW9Ct2qFurDrPl1WSkeijzLoURtpN7cKJj5A1Oal/wk49nbCNyFCPHdP6sBZAEy900lZbvwgWeLVV9Bd1AcQwIPJsGFq6brqEwQmeHNV1QDh2wfJDhb0PTg6LD28cnh80oyWA6QZLMraoKim0CCSEjP2kbRnDrAojAc3DhWxwqOMGcL5Rck79ob5zd62Uq2ve0yJZLgxoex/3bUksmrlAfsYUI6d8BaW6sMiRBKYj1S4vLGOx3SEp29Gsf0AT2R8cUDBlDjJRp+1qfB+6kOmQPe3aoixnC2F5DiFRhL6W2kdCRzzRhJKdt5/R+A7dxxQNipfaiezwnPh4K7o3/NPaZXW0nv3Vz+sEDKEKEi2802QyAelCp6PrcTLrkDO3K/9PWT9HafJEd0l8CHk9DOJsS4x0cZsJdGN+YgXrZKtMjwq3HkWUaqBD4HEfThpBX3XDUrATHz1mVvuv+lb5HXh/vKRYLiFm8zzAgXOSx2W9YIA7SiuuSh5TL9t+XtdXCe1TABzY5Ts3NlORpzpYqwOU01LohAhBdRF2FE4j8JT2I55jN2RnYF3DJpHoH1GEmyDMjd6I3N5cEVB1OcYycFTLKAoWGHWxyzJ1ljJ7TX7VX7ki//NADWKoK0D5zd+8EElNu9T9rnDyUEtsxU//bwYAxNO3szO+C+5W3wywtY1MJ9JJh+5n+atYifmLL5Js185jlkqSdvD3uDB1o/n6a2LIZcL/0M5y/P19JpWMUdSVp6qSgWttsx6OQHlkh3QskylybikATW/lW4o8RAwz/aqa7LuKpcJyY+6zJ0dDbi0yhIUPC7H8StAdZIEXDVBRC3yIUaNkLSmsDj26Dqiy55XtyMi2ef8pZi/VohS6bLWl/jOz5JgGYR2kR2pzBaDab2QvAzjzQ9rUIiJzlhHqI5x5DnnuxPbVZ8JlkAjrWoDYgvy5vDdO93km4sbajnjaAkMpN1aGd+V4gEUD0v+KvdeEdlIGXRJG460+SrJOYZ2Z1m6j4knZg7gKtTZaiihKjSYo0pu73SfJiV1R63fkERFYMRRIH/XKwrM7uYGqdLjRpJneG53mWsP0uNaRAqVWJVVLInkgaqdngFs5ZUeZTXMrShfGnOHts4m5KbpJQN5IQfAWb9vnukomiB6u6qeneBWhhow0MBBqiMkxgW+ubOHdeo0u43gVM517cPI+6XdpFflnBuvU7LtSyCJKiXdCQ0wMe+15xHQfa428s69Y7rJhqzwOWmTXsqYcdBt4idJExuiM2mSg3pwjG3M60MpL/rCKWazvV8YFahmTPPUfADeTwmD9+jEsb5xihAcbfXIo6KsFfNxqpeY6towk/VdqyT9wC3HTyD0YM6NBVrYAn16AIQvMEWAKkZ82ZN4T7Q/HrGV9fqd8Y+JA26/7nVPRd7CNGLjtDaAh1531dD9736/Q9yLbHT9oHVl1VyJ39AjBW1uwwFgMohBhutEHK5iYXCHWnkS4BNoJ9wtfM0+hg7BkmE7gme9uGUb1n2fjD3fraKkgchTPtW44yNqp81CiBQcLhOYN0nfZg+Dq5Sf/g6B5zSCtEOnMsZcoM16yYqo+oAh5+vVb9Cak52pbuT97VB5QLUEmVSG425jFphnXv1dN0GmCE4rZFejRYufeotZq/8ndmUajuBzcNRt+WgjitfkMfRptGHxr4ynzCy2GuIaEF6qX5FtqXi72jHiJSa96TysDvosvkYljwnW6Om9rwbb4qxKhqpm/amLnfelJ7zGvhcWiLBc5AVuRBszlDrV8N0Hi7us9SOU1c7n7mObhmP44P1lc84xHgBRaSaN/lbM9gwPdPB3ajJVxOA1P1BBsGxnmWmfypKqTrDqbrMmtgqXylROVNYFp8Fhs8qxjJ/eHZpgq3+ccYsmmKqpTkJJXPzfF5v2awK4dVJNcub9msiIuD5JSz/ol+bHZCykTiQuc2/izwIziXw9Gl/rxfApebR22FhslKm5jyVRzvIc05QE5GDV9fsuZzDteJC9mXZHyACOW5qOsWeSwegunGan/FEaxLv7CVdjBgGdwDDfmnmsz4gIICIRDvwiQFADKrURiZHDdgqTBIKSZqMQJ66mIhsxlHOmYGV9MqWu0zgVHSFn5jdUkwyg1qn5JUUEcxonwOQt1tr58k2n9ib9UhknLnIxWl13j2LmzMw5otJHSTtE0uIHtdCXmo0vkkV7Kx3p/DIFQ71p39gQsWVIGJOQcqU/emJstv+YBHz80LCygqKBCeHtmih+M04lP6ny0RrJVzVctdtyDTC0hJZGFGKRCA8+Wks1MiFpyHJcBhqls9VUGBzk64VgXTW5Xd2C2RS1SKhFp1GqGRtQhx5y/wkmZN+bB09oSJ3zVbPoeFjR5yjFURmBFH3ZEaFlIsl/w4mo/B953jNyj3BasU1pEjuYOt99nwQ7v02dGM2UXhbwVj4Uu2CVwi8c/gWOYvyXUy/WnDolmm7Ndvn9xd5MrO5BWnctr/4HnoYCBUBaRIRNtHNx6IJ0j9lVpV4a7Im2YueGGzbZCCPtNzk7VnlcRKK9rBDoHsRYc5f0Ut/RqmlqxCj9i9TASVES73L38vITlCeV7edJ3HtB5VcEyIUr4JxMIzajY2T59DtHDwTwZ5iHnWBbQpLBVdCJe3tYNYH+nIJELzTapzs0DZhQuwPlr1q23s7YrWVRI1SjM7uq1kPHNbmpRTYotYTdAGjopPT7lB2fgv869W/tXHPmPcgs2NGY/aMpKICxd95wvF47uesCJ4NE0JH62yqNU95Z2hpnfoYDItMknOHoL127/A8Lu36L+Rzw+fiE08P0glJSsap3OmQk15LgAgiY7gO7k2fEnA+Y7rgHyWJXrHya1nRhGDW0Uca00K2JIV0/Dx6bjMvHVwCtkR75EewiMZ0XUoD3s80B1I4RHW8JNjn5oB9IGhwFAtXYwgkKcERaIPSVWwBGl9PQIttVAOE2V6YL83fa+DtPmB/+N+XNfMByBMmJKGNmV2MoBA7IifzO2IDaPNFCF77KlTOBQ45O7KMEUJ+YHVIP7mt+AIZjDy9H4h6fa6ysPC15ca8t2iXhapGIQktJ2fSlyfZxiJsHxP1kpyM9eNhjnL2e1Hk1fyeSSUB/1qbB4tiXuHGHz+ZpUBZ8PToMWZoh6xU3CDyOlpacvO8rsasLYw15VkEpdmgbYJI9bum0VHrIA/LjOT0/2oj0HBqizpOPyj6k2IUzF5nKqZaQRa53qb5MWux+xuzSh8M+hBUKvYj48uyXXGaMCxXGQQv8+bTW1JGtopBm7pRawmPYBhBCFrtiUCScznr6glBSEzGvmWyEyL+aIDh4hUqlmTiOda32tazeSumLqxhstq1vMXqUUbefXHwIdwbxP/QQKkd2WWqJnZGIOOkppd/4FMRSHSDle4zsdCYrTJVjX/04kMENsFyPVsG2X1P8q6CZEBf/d+iL83NhV357dAnY+d7AGRZ3nCj8QqtcEkZFZzCPHCi2i6L5NhM4XWpWf04n2wCgKyw8Edz3IZQyPoidRuVD0GWIY4o4fJXx/T5gDuNCUfzfNXXK6b+C7Q77JE+jIqeQJ3kubi0Dyo7M5SN6Y9jwP2SaDxNO/97oIXprLXDehPtPjp0iANkoBuQvXZPRY09tF8iB7S28eKiImeW1Yi10htEfnklu8emGh6YtxF10ZJo7XlM68tMadu57LHxn3qw4T5BSo0YLSdpLwlVtOq1trCiZxIndi+ppCybUsHXmG1RRG/GXAl12vSuNUd0+RpJV3vCm6fOEPGEK6tfPV+UEHk5v1hu0AgaYf6npr/fwYU37V6k9tzKvPHRPj0UKXYrxmDs2G5QQ85EGOb+u+QWt+5Nmj5ITpNLWeeOqmbWi5DThIOrJOXtV95asXWMqabXZ5ms56M8PSpF8PbjY3b6/PYLLnnwDBRIdjxzE8PtkMG/u0nqG6A7Kk8a7IQf8LItFn6K3QkiXrU/jj9AU3scyxsqYQAYlCogzu+XigkksFp2PRmdx3sWAaaEqfjKe5tXqeBOptqIJkmM5XDVDUqgklt1wxw1EO7+DeLHxB/Fe39o0AGc+zTbo6q+B8D09WbDDh9tizNSP5DUXe7jK0xtbWPLpV/m/2x5tPEEpro25etwA7UOkSoYOt3qqCyNZ4Wi2+3pID2DYXmThFkRgfOHKw9RDxozOvDq6/WvONipm9//aTfdq6hHQNQ+P5Svqdg1Is+8/q+vk90sXUTaUPslE6QsQ5SK/5p0mYpG9HMGfikjGg0gsOKKxKTSM/ty16IkSvAUNZVPL80UAO8ctSW+fSQKMfGogVfoCdBiZOqB2BK1bf8js0le+5BmT4ONQxoD6O5lJapT1rDYjkr9tyzE8aQZP7eQXUDrAUrbXBFT/zi6yZlV6ddZYI0ZFJvEeVq1ixOj+3X1MiRpYX5L1V53Cabe0Eeben8B4dndu/CfF6k8F0B9yDmBb3/wQI2IwtKVNMYCq7J8G7VPvh31x39ePWq6LpHAAUPe6dKtuMi9azWQB5pbazTQ/MsXa01aTA3tUFDGwdeQODvZ5g7UOV8Zj7XWaqTIxkaIhg2lTR0guxrE66siSkwsas1aWdSmF8cPxVWTXUFnDuErSXqiCsNaf7mIccnZztXTyAAIdvIxfvjcXH5J8Egw9BuGAlqKx2T14JSdU9duclLFLBM46IWn6xNQt3vaekPwTnALsojTfWuyFAMsA0lbiuLJCR6Edzu935v6a29ww/UUtiThK+8cYi2RSPQYGe1T4lQrXiLTqJS5cHnN0CSvrIzV2b13gvEZunHgbEc37pEd1pDiTw7r308hYwysxzQV1MYyHtUNXdhPd7KkozsTiNWyQSbQ6+cXL6+mzsJY8quP2Tl7Me/isuGCIBmpzU+DdylBGeNcBjYznN8u3WWnV2yhdn/BPExu1qGYsNqNitUBjtK7A8wAOKwJ3CiH9XlaVr6LGDRD8n3OcZ0XN2kcy3zJQDwnNp0wxr0XMbfZK0JQcmpoHCVqfp0yrrD6OUDbax37R3fKjRRVgttmdMGjH454TJqF/XrNO25E5e2Yi1vmYAmMcVzzXeFcSJy/Q3IRksuYr5v44IR4VWkKxifMKwR8c4CNINMzb2WfRcUK1aQoGLU86nL7DSbMzMmA33WlF1Vqk5MyMpewwZDTd/dCxcPEV/NbI2NJ3xJDSo0JNufKYNRJs+F+XqVSr0Y4SE3weshb8Lznjh6Qnr6zzVvW0yiqFF3ui8Q4jKG5UEBgLa0koQtpDYbNQIRS+wKxiVECgiVIHTATPWFXXQ5yFjQE+T4QjiVljx1HE+84PW4OfDHTBVFS3aA8LF54xneqR2Zrd/05qOsfubsRFR03F/PVUlkiwSMM3UiMV3nPJkz1e61OIEkAgtjQGFH17gyH20/TkHvR77t9qNT/j9SluMyXBhn6SFtsCijaOhl2/9OX/wxyoxroD2sbXP0Iv4xTip1KOTW0yrlPBF2Wb8ffo9Zb8TQpPnRvK1KHDh+RuzW4NbjOeYegf6q4GpFK1bmBwSyS7hRu5RCUNesFGsXwKz4c6+ryqyB1NLjZRX8dPe3UCJ/12WyzdwrdEgW5K5scQnRpfCEq0HRTbZxhw60/ZMSfPnWb4lzEuakWBOO6c5bXKeWlIRUWHZgXKHyLh+iGPGHP6zRES/yhFsJMIQI3SpJrBxzvyY8a0DnmhP31kzNpbqAPQ5Jw2l2RWbGzepb0a9qHVy04ajbeAVdNqiyS14VW3XGQQmEmms2aOW0rqjeEXbwI850EQZvG3QoHnY8Ea2F6q4Zv6XlCgGrsLM71RalS9WEUFHTewZsK6ePdOUE56E3MA3tgU3FNacpBhTVL1uy9zqa8Aq/LsUTe7F6bdDW/Ya8AfrKYP20e4V7VwzTh0ZhvVtF9FbYbqRCbL86Zxu9nirDegFxxO8ZtxojDZYjLRfwm50xHVXoVpubsryBPD+5qdbLfFSQ731CLKwIxqihKBmEiJbAq95kZd/U4KVR5v6/r4Y+3YXTufYvxPobU9ssYBa1e2Z6L31TAiQMRr//iNH2K3aG74p3ye4sMBnKBu54gr0QvMOfsgQCB+ujYJndfWzN0ZGMhswtfebne2MP9JqPRt3XeQJ8S/qUfSael8v7mIszdHgduM4L24pteAjj0kiZt220qKh/hH5Z+23PrlKHr+4/SzZnTUNKN4uqgUYqvdyg6pzaQ/b3nxNEOIJdhgaftuotTmDIHY0sNbsCoRbQBHBOCn01JLgViuKzgXNbgpZJzbMldA1ADrT02XMcmSg4YVnd0A2xcMncB7six44Zs/jpDvE1vISS1sBvPyI3YEWzIwB1X2Q1L8uj7IDFfVMIzOX8N1rWkl5Kr7xBWebmC37YFqyPl3ULKvAdL7zYqCAGmeJ79NFr5niGlZsislFDqlOjQo/Uebt1O3MMoIB8bJTKd/V4fV8kd5mxxCIwRO/0yF9h36nW+0S6UcuWbAmvdYuQa10vXQIwHQoHuY1zdHN8/EWZsjm7iGpuc8wNCkzrhqsJ7gXBpwz6EqeOAPx/E6NZ6b7ZwMiWcUvd/uItaPTJpirrzLBk5fXTH/HzYkbcnOqWiVxzAtVBdT+SBGgx6ZIg4h45YhHjoWLD5GN858yxCP1xeTyUTRskHB9aWhWmiAz1WZHDkEeFHrQnvAbRmuUIEOLf7DUEzxI677nZEdtINVAo3VtCwuR990BLYrXIzw36+NCM1nmazilsXAn+41u5aeCr6fZFIwSOub/8pOXtycJ9gRdB8s0hRytqjMNPqRcAwUXz03r+9pH3fTdpmo2G++gYiVcrVMnzr4RUN7f9tANDDyn8KMVlfpp7UJ+dgbVOTqq82p6DJAzFXw8x53ESE3SFg8t2dm7eZK4mTPoIBqCfmfoekaF7Vs72W3mqDyZAp6yGVJ/gKuqzsgX9KvY0OUJi2/pmPnBlA5sdhH1mG/FpOQNw+ki9A5Kch0MAda6Pf3DgKQTN+E8nBXfTGjVuSzg+/4rHzTe4T/dDa6YCZOUTwa+XVXONFXGJLugLFN8l0y+oHYGgnm/mmCm2zte3ZB3FAagdvKwmG5L5sl+m7YNhi/fvqzmyztTEroZN+usZwPA/QiN9On7xD+WejIUCauprPCM3ag2KbZP5AiJLheYm317413e0N7rGtQ1qshM4B37SsVFbS17rIEu2wnHwIVT+cKh2wgdfL+ioTZ1klMRJnPpB6DCS5RaMeik0Vvxv8K2k5YeJqA8mJWzf31ZafjZefyRouxgLVEhrq1tg08O5afn9l32lqhSv2FmUqs6/eTSz7fgrYqyig4bgVUI7UhC1frfHEtK54DsSapYLf3nVSHEMbZaw/wxoGusfSWvOs3LBo96O1wRCjoPJUFJFA8OBi0lks8InCBj1DqltmbaCbtTnjMekbmSACFLjoiuDtdv76zFjFmj6o6Vxt4nb1/2+Vac3ydULDPheb8eEdEdpyRh1dpu4iIgEiXUTB7JrdKeSQGqxGeCSD6BtNGJH31py0tfGHEpq8UYVZa7hOOLagZfcgtbWkJh70+vvmuQB9gpAczKsuYgw+VYiKErmAL7jowSaF5LTiWi9NJ41QFk4E/xdCj1nCk//I12iIaUSZ80hLQTN62iAdnumN8cUUzxQiL0hJFvLAYWs8rU5fyxOq7vKq81FDs7p/29oKy8CIRUeT0BbeiyEpWf4q3KKgzApNEfsUqv3jDUljmADQ4PnTKeErYvMiQYUyTVFZbCJGvM1bCnmh4TPJn518MavApTlOUOqCP0v/+22CHE2KuGPctsX5gT6m16Oq3UHXmLTU3CjmXelMB5fdNee8vh0Cu13zeCRoNmsKsATv6OP+3pKhK1of2A0pvgSP8044KcWHCinl3Y+uwxjdsuiyxJOITNOqAguA3FNMLvYStx1V82udIaUZuRw7t/iejgKcLTo3aht9/QUk6UR9GEJ8vw6KiN1OSx5BTOnWu5ice8vG5BnjiJBhoi4RDjYj7vnC23HPy9NYmI7Py9o8McMOTVhA8dH1DFBGHRZG+n8w8+c7e2lvTafmHW7jnt/qMCm9bdpV/Fy2E/weoJpiUrtD0L5awwYdgIIIj20Ubsxo7G9gkx7rtc23hUGQrE0PXW52KmCdzyzeOW4sXDGIxG4Qj/0Z0G219BG9lhWX6KLqWq3pyY7PZHwwKV68Md5iO6XPlBY2OYb+uqu1mZkr6OpJr3f36cqha0I3jlVvPk+8kmI1V/HzVbCTTo16hCVlLLxwygPUJMYqJC3LtuIDYV+BpTLpW6mtdJ9SjLtUgRjVqXrzViwT1HZ99pHl5Dk58+jySM+7LNQsKJwTqiNl8xG9pPbRh+zp1PUQk1k4xNySEHk8XwhQ3wDWDgFFA9Q9MU2NJkHBN9buuLgcuNVQ2mDmt1IDAEBGs7j0srtgFD1Z7cLTKeNWk8Ob95OAGe17It2V00RFv2cZ9hKZSN3jDZ3R6wTgUPOM3LklNEU5n9056MFIqiqAfK7l61nG76XSSgLADiXmDpY97esiwONrrDjDnERDDKCcBUA7gYQoszWABWb2wax4iNyjQFEKuyf9yUOEVtTlW42BASecG4zNafzjJvQmHU8esEkfmsXiC7eycoaSNUe41fyziRlQTI2vZ70b8jFRHVdnHvSe8+cFAxlWs/uRGMZiZyL5Xz4eFyhpaAXSGPZgU31tbW2VMY4Vcvy2+xPLkVTSuTy5XBwhe7YzEGq8vV7SduGtTbQkWcGxsv9f9PjaNLB0pcHMqokn7NbQIBAx/qYwWIdnUEY547u+rxMDJfI5Sct5ZZG6IGv+DaImIA26GVbILsqsOldJvaDItDQFxmufKuMKKc+0kw8VcINrKePmjlt6r88AV+KULpR0CnHEOjYygjAGJjhb/gORQBFM2YeeFFmtmG2AfuZ9zP0AvG28a84wQQ8XpB22j/U2QKgiGvI1CoZBrtCGSH9uYs9Jh7InUESB+DWVSNkgUA31xoNFYcORx9DJ3rIXYCfaUAchQRP+NndxZeb3tPSCHgoK9aT/lWhV6nymZR+FlooSo+TurNpDzVqfklssRgRDnhvxiH2pb0lFbS5DWbQIKh6lKUDPQTRA7GZ/Lpj/e3dhH+D74c8+T+2UurX6UB5QnxyVOAIz7v1aNttC4Nd0s031Fz+pWAsL7raJNnZ9VhzBkO4eKibqza2JoysrCPoS/YZgDhuCdpfZE7AGJo54/La2iXBHGwPuq6adruQ5T3BjkWc78PRFPFdHW/i6ZBHS7IeGzF9AqOMrLptcokhejUNaZNGSULpEqq/FTHLnHuJjFAQuUxh0Xgn8vZJ/5ppUv7z+E1j0eogTLHn0OubUVPipCpK2foFIGNnoRcyiJh0u6TavH8HVTVLEkrfFylWfSG7n19zIWFVPd3MrqdNWKpjSCApgFrnTPL/blAIhWLfQeAkFwhUaCmAkh90locO88hQT+7sNFKd036MIDKWTvtCfAzU/1fqUYuebQbaZEaaLVkiQ57ol6zXtHYRnUqU5fReoUM5rgoQ1aT66/a1hDXItNhof6vRslOHC97Oyc6IaPKOZWyJERRfqij/lo2N9HtqRDwxPoD4BwUkydHOAqPMGMpUmkWtuR7cvTQu3FWFreasqe7vYj3gmrlMxwd5aqKmaT23rPJl+9aTgpbay96KZTJpe7MkPxLvbiXQg8fErKEoHcizbEemrH6g7etQ4t6syzbOtQDW+wopoyw12YrPKPCpVaU+A2kXZXbbXQ8R75sqWigurzRWt2jzGvzqQCFtUd9r6DhdLUAzErG0JJCzOURguk+UHsgAaFGPoKF6QAmnTg8FAqusXAsX1zdkUoQNi0PQRdGhm+OiBWtEMrCdWNCF497rPOqdt7xFMNcuEzweLdfzROZEsEgs2n4ndQtzQUxl/egUNmYNGrxyHhyrcflJu8wvQbccU7hJiY2oR/O2xWBGkyx95IKzU4lnRb/8MnxYdR0k5oC6hssG2RcFbMT3C/xwB5vwu79X7aNyYFbJRvshxGG0HKIT6j2JzCkrBi5dLenjSerfvozbmDoSCI2yIqJmavvio2v9p6u5rvgTOlWbhDFgKx+J7p6AG/251m7MO7KQX8TbZKTocTzyyYLdOP1p1sYtaLQ25ESUOwEdZJqfwp1ybxRzbD8/V/UwsCwQLIM2bPllRzj1ELS6shU2wFY6+5Gr3K8vmCenETLEkPxijjl0tq+ES+lm0eLI7T2pBRg7RM344b9A0OGqYtyZNHYcwbdy+3GVKYMO8OtWymyrTfYVagttY6ekzDDozr+p3B9kZw8jpeb5jkHdKd9cqwMOh9sTp3viYCry8v/164uuqSCuQGRqbHb+odkEGuPRTxrRMhLhzfx1ICZv7S+8mERBBgx4jBO2h0cOg3YrfShWyOELHdkcG8rtHsIl7co8iXUFY5hl/uH5I/ymDuG3RcHPubUQsVx9K/0krQUUmOjdPClAl7IrhwaX041vKxuCDQUBYZBcyYr6KXPYvlKXh02HwFij3QHjXCMbsKp1qLa3+CblKNdC+sJ/3xES8HYKeis2CL4oU6/M5AjAROz8DKUvIOY1dktkTQe1ZkU12npNV0PXYFziR8ytK0ruzIENiNwREFTUXaAEFjWUO9TZjtLS7VS9Qy/SNQSNG1ccxsT9KRZYuzjjT/Mcp0MHbn1AaN3PnhH9z1PFvUntcWFg8z9YlvMDWmgbdfTM+LazQGUt6bYzGWKuZWjqWeAbTQxjlAqXBvG2DoIa5vDoB1GrrOenrCMNMJkoRtqAz4fyqla4iRVxWE77By85ehln3l9xYT3iSbD3rZUIpKbt2sG7WI1Koq0csfltGe3lH2bzpIFKbzc0yudNh7y7eSJr06bLhnT2NsVnf/lOkdPrS4VWdZ9RkYaMSvqBiC39omJvAgmfZrN63CZ9GMWHnbwFekOcA4vK79EE8hZAjTlPh7/X4FR1cp/R4x7vOykRXgfLWkcm6U7UNzEMkuEUdJqaCtHK+wWdI6sLjJN4FrOMM/eFqewXqFkEaCVdNV9nA60YiraqL7jtXPIdZ8XLYxZxiP5zLt+Hoh8HMOSke7tfXmxxK50vWxRrXNlM4Pik05iZti1ZNp3wu3UI5EF1dDL/zidRDdx5z6pKjeQS8J3b9KS45+IDg1Cp02odtx11vn2TgeRdIKVokn9gRaiavvMI08W/cDH/VjWnZmhk5nK0HJBfeJ0XCpQjFTSkgotvwqC8gxk4XJrA/q/kPLqHogeGrpjIS84ck0nsy6ub1hjwksend7F5135tFR//q/KFTuvdIi2s317n5u8jLK42v6+QQRdwMGq1nQ+ZXb33FLgf6scu0Xq+sUqnPLvdn1rrRB3OBgKG9xCdaw6Qiisp0zgaGkkYCzKEx2nsjlNhEEbdJOWsN7pSLFgRrv8KuxXPjrqnTWzQOzKXFfbNtIvqbz4U/LXM1QeqT7iHWLjufk2iSyazgV2yPHU8jG71kYwBNzIsQ/uoiEQa3a/HnRcX8TePNGZJAVIFzF30Q9BEkRiLSbUoOMHQQuUlN3A1WRMRlA7a6S4t9GlGgyhYpiFv90sc9Ie9KevUy/2r1xUdM4OpglK9zxcUYGFQq5OT3lLc9yoCZJsoX6qrHopdGlpRwfI+T8tzAy9OCYjoQP0Orsmm0ESlbdO+qTjhQLKCwWF3eQc+GZ8Fg3fvUoomFae/9Lxdql8mUO6MiKFVx5NShwJ5vqY4O4xlsb4Xowc2JDiUKEiozFsn4oomu+TmT3pRXY5Ygzl71K306vWHnAzERVFwmQRmAbGH429eCS9jj+TdJytCh8HD/e7zA8HfaYMYc91a+IcS9kdtg5hLwxI3H3eEjl07dGLin9hF7uQAhJwUlbluTtm5f/dTvdUg44Dlt6guYe/zKCMDKUrn+fjsT9iun0lZAQ38G+BeFz4LAphe2yo44d5JB7xuX9Os977j29okOlxYguU57uj2MlZZqkV5zwhsN3LPa3RhnIRAvK3sSfjukez5ZlsrZvqcYIWT3fduEcL8zFp4jR+JpYBDl5mE5uXky0U+Xp7B1eT9PNFaV5OW3JHjK8zV8jhGNEgx0ZPtdrxN/hDWE8YQK5TZ4vT+q8c9VfiYiv3i63Uzz3z4mATOSydQ6LxlBasegksM7H6FNItfLDx5+fV71DdebMQkDDgJNyUuXArgrVgBbq7DxaEybc4CkWcOeWulqiq7Jc/PX42dXXNnQSc8w8AN89CEMYdgYwNVeCgr58TYswvWUW72X4vXbwOGxRWc/tjHjl2DYZuK+v/qdg1hn0SuBdDrDlWAkxDfhecp7xSsrjV1kEag0yGgvGwdJ+abzrtkInn6w6nUbxKymMh4UWpBrhD2KbLwtNVwoXMibfAKLYQtv15sV/cxal2NjiDa1m/6WhkI5+vL4keKkZSxrLtfrZrjv8pA1NBa5ec2GiWYKmg2HMs36cUPxnqdLGJ3HYYkLnxLR+Z32tXN3jqyik5vxOHpJJmC7cCVpo+fhrSJ1E4EujHOUmu03TqS7mw7tMVjMtQNwa1SeHfpjOFTGhiAhWy/HBwo29quXV/87Ix1dz7d+eBvEjgtq29JuPRL9baS0MnXaWuydOc/ulDzqg9606kBiC99LJ4Khwn/XI0ibQayDd5f+iaarkiY+kNSym9ssX1/OQx8CXT1SlOFHxTpkR/SAn910MNzvc71oCbFkw1+UZh5fN1ni4Xw+rVQ2i3B5Dnea08CLjtNZTzIEMm3K9eW+j2/fG2M5uxtgrMqco08mcjtu2iCDs4c1oytiSlBjcC/6a9jLjStcPmlj/izGWUe8ceff52pqLOBQ2k613dwIG1oZmr4gTtGhLEfhg4I+iPW/5Ok/DTZPb/XbL/Sk6WC7CdUSFhgv8JD72CKQ6gh16LDpdTu6pzM0jkpLcFK2bz8d/z/z49zWaHC2nzDOy5HVU5JFQ3/JYnFU96TVVQuqqiBgd4OEqdiSGcq43uoNuMyw6ESEQvI9npOtnBRIFk2r7m4185iBbZxYZg28dyJqHnVcHSkgcSmdfvLL1KJ7i46csD/SluoY3KwKaMxrYrA/KbnxHBMHbrAjWB4NLQEgmUldV6+aO/IAyCoBkUlYsaDLJOZjldHUYqKF/BvvXXKN9rG+nZAuLMjqh3a2NVxfVxSklfNAAOg2NwKHrgtkCosX7hkrQcw4ZFzh++x3zv2dRil/50bGEah1lY9t7T1DFVsTh2qpr+JQF5U1BR56vyjhrFP6q1j71q+wm5UqPLn2sRZ8KuXaiUVJ/6JKXldgPKHFIVV8r9a0iboNh3Z1vOtSLb5lInB/QezXJcJ0x7g53r/kRm2+sd2EQ5lubWcphJxx2yjZml/gH6EVFc71OoD1B0DET3uTByvIoyUwz9sNOTjF8Vyu5kHTS+ZaztPkp7yLBIYVeC2U20Fe9i0LcgN4SNr5tz/vrN4sRzF6Y5SGr1v5c0mKfVYL3ZnbBoRrwjExm+QKFPaEzCw54P6U09BTtbWxwnodO7mvdPSzSwEWSkxvKU0Ob5E9QsYlsJuYxojuPfQoab/6yYziOUo/6nIMR0QtRCsBJfcFPgrpOnw5g8+VdpVJuS0F4lYWJGt0gxl4PsKZwlGotEbDvgIz3+WIEcbn8SsO2sOUDboG5Cl8d3U6jQDq1QPHf7ZrFp+I++wbiimGUEsBHFfrhEzth9/csalFXZzAJfaItvklfXKpmUBk22/DlzymDrraWo8QMRErabWkrNS5kK296fKMtkuTmyVbUbtvh6I6WWDNoGQwLHt8Z/S9klpc8hTXvD31vGpSgI6b/LZLblGa3c87cJubt57myvWPqYODxiTgJtGsjlZXua8fOhnozubpJ3IiJ4Wd4KvCLfziMNZvXoyEGOy6Wte1JvDdgKBjWnrnq7U1466seUpD3hfPMSXoTZR092D9cMBEaplQnfM5B+AzZji22ZWgpr4QIIoM0qqut73Otfwaewo7DBK+Ymn7iECU5Mxtvj7lOH0Ys3MK7nxGvG8P6cWYl9wWnGMfLwB2nas3Jw7S+8Di5a7ZWSv2dyilmYkzfV1uz7ihtVtzreZWiBTeOCUsWS1/DWSmAPVkxeWQx6DmCG+5G8BSGCLJafBf1yWCEweLx4/rqK7FxdtuAVvKvfdgiN+cB4kAsMU9vv9lOg9Ov739cIAZQ+tKKBd63/V98HbrrOkzPEOyoaSTy48UXpBbs9a6vi6tvvvC+ILkyXSa+DU1wuHMv6cMbnQt5Db1i5Wh0ubqdMNSdvWmvdm82VZFZAXdmrXX+sShzSzH3E6Vj/yIXFqBhVEVmfMENguCKH4ib9DLAOkLeIxI99dEYUd+BCUqQ5Y6j/w2CVZMEld86I30eb3OLaMOgGAQ4s5lRs4gTv1S+YVwNx07pP8SZrau7V5NVa4curRs6GI2qG1yTreinlpd0paKqzsdHb2Qa7ZfcwIs/OQgSK5/NAbLqpiaYLZx1Xfajrw+MnBSyEPNzADQd3M978wsRfUTiUdKI+IXp3GtM7Jn8AaezCC6dsLhiLdMQjingU7UX60xpfHHTB1PjMuP94WMBIWTZKzD+B2cmLeuUY7YTEQmr9APtVrtmmWdOmkNQFU/r/gfV9RmvdsMh8GMreN74n0L5vXHbDnmOHa1Ygpkvdden2QMqwSBxSQu06djMH6GvU9yBLmW//NY8o+U5Tuzqx0jqI3T4SgS7wmaDtY4gXuKhs07P9xfR9KA0qmbOAnMQzJgbbMAeY95UH7F9bhM9OROy1P08q1DcoWepxawA2wx+YY56rriKOI+/7ZZRgmejIkZBtgFwgCA4io0NfiJJriZFofM4D8j/FURcUWifUxcADNWhDALRP0UhwYZlTE2IUAus1w5rdl5T2h5/bG4L/LAKBIOUMQEe9vhE/ATzI1jhGii3ubV8WwKgzepOwaS3LiZt2rsA3+oUJDSu90zUDmRHfXvOULXTRbAqrrALxxmgsFsoe8SezM4GU1+A8BoHGvQMmD7Kjw+eMB7S32Ynufy9a8xvLkbyaUBaSavZwHl0QuCbkkBkVGXr2IbXs4E3Woi0CuCXUdjluPbADpN/l6Dx2eyGPnX/dVuydVptKF+M/FGceQ6aHXwxS7TLq5b7g/DSs0woGbM15J7GMNzItWvxWG+KwOvEyrIErEVOBvwN+QXVU3884gvLoYeYjutjJt210jrVU+1DlcLH/aa7peE1mP2/KMqlD4do/+cftJDJZW0OoLgtV5LsCmaTEuLih3jFGPjQealeWbuP+Mu4DeoOo/0Rvh4hx1cjQU8pcOalglbyAjfCbfINLHrsNiod1sFbq7G3Fa3UpISOk898M81zbAbmHrsrzzLlj9u0r1Cr/l45eo6U4IDcyEwlAWYzAObVgDTfZPvRxDZzbOi8DENkCXHedoeTRtxXWbaNL2zXH/1jE4+TE0mMmYf6n2b42NdLT7/IwjkdPNRfHJjK6ZMjSvyXs5Wc8/UpFigDdNPpFS6jW2yRBy9JEJu7IL8ozBaoZ+S4FxA+ZA9uULTzwud21/4FRxv4e0GA2zE77yv6fuc1OErUBW20puQxVgNizHHw+fy2RCG/vOlnmg7vnwFwpQXeuBWk57ZSXJuJ92ki53oaa5cFBRd3RPuhWHYJ8Oz//oKSOJHHjO8EMab8eqHsbFbc2Vps5YCA/i+1oqlHRlMdH+O6qKbYypb5plVImONwnqwnT6PW4copf4B+5uWMPCzvLEbjTvTSzGlXXzpHnuuQOWXlCmGMcTv5Etqm6+qq/pDXNtT9RQ5Frx7zmCfr4t+19U3V7ha5ee4XiFLDE22qtVCP24SfUFn2H8WoGl2abl1H/l5zd66IXpFXq6gynyaeqQpznPd794HX+m3MH7vLq+LlW/9wzytC/D9xydyPf6jv5Aj+0HIU6NSwkxlqsjQKQlGC/xhPUE5uKsG7wjTLMb2Qj3kt5xm9TGB58bqPBh7NLxUZ6l1P5EaEVuLA3WKRqIlRNgFUsLA0bGp+dVIaph137Ex/akna45kOO75IPM4z5rlDJpTOimPeB/b4pcqXV4XaZURC4UU8tthtH1M/YsjGF77zCfqf5wQv/2JJ3BBh3/S5qSxFR97eoLxb3d8IzrYTiIqKE/bk8PTsO6aVbqnRLGp9hGi1CCzuRkM7glCE6N5arbTrT82S64ImjwqqXXlPgeRUCk8mjfOklqN1AJcHlYmZXxr+yenK/3XjGZjVVBRd+rJJ+2GcnCQCSde4t7VY/6bhtE+837Sdnb2HdjHMzIzseokeZbFc5Id+Kw0L3XbO5SYHiLFngiyk4ei7HQoyaNU8o53kbZlf37TUCBksjhTAo62v1QeY8dJ9wMPA0p+VVOax3WcU3VyNFrbGxF/ffmvjRj/IyYQnc7wcpfGRiig909AllTaNuLiNTOq5kCxiyFE+u2j8Qynhv/3EoO4ZCNZyUnXAQmfJjiPHY79rsLUNHPLNkP4fRSVEVncgfnoENi947WqH4brbWajYyEiiRfl+142xgLgkmL7aRuUgCrBgf/Ggfrylf74DB+7Fm0SiuAvja6rioRYo1HR6mQmHe00Xx34lBLzb+EW+6ZebuEzabs/pE5G4frzghit1kaUqHy1yIYMj+iA0Ggei7kQjEBbtL6G5nz1DMO6j538TmlCC6S4sIhOAIwK0UspTxUo0ahsNg0Zyb71bwaIIu3yhKjhLN0TEXkuE/e4oZB03C3CRaOE3lwC0RO6Hh1fUziOBAoW+XlJWLX9vFDNFxleEIS7AaQWwB1yLjvrG3v4NILgHeW9tlOzbdCvzT28ajt2x/yiZMIDKE/y/qli5j3Y7C4R6UVGs2c0VnWSClyJOuqBMKhYdcIDbRmrI22fLJAzQQpU3X+7EaYMTDFVp20DTyvlBV2hqbO1TOMJk1MSTA9scIST0YKPN68BZnnfaBzYgvJwlICOQ0tUc7njZTfq3tpse7X9YOo8Q8gCRZv+zej0+vg76Q1bxH7yfBvbZauf3NddWHRvnjQiEflKouD9+x0YTR0GBmYO24nAv2iLCmAoPvAhxk9H7ddR28B8+6zi+zm1pCD8iMeAZDCMfXh8Otg52JwwsrICl7pKveIAP726xkKXvxTuY8C60NmGGA9N5e3IDsKEstdSFlzCVPGz4CC4cA3+GgxLZXRFaNCD3X9uWqUiWqSEgSHH4x7KQMjNarvrIA1OTEOWFr7DAu6POGt+Du9FffE2oBCJutAYLndN0ukatsBscwMp0zKPZaSl0M5EtvlPUwHVqpLwyH2jrrXgjfGdnpVzdh1A/bz9n9Qz3jFa8IuUAXj7MI9dHMu38uwHFmryGWgsm2bZOxO78hhVy/zesH1591GoHDi09z9mhndgGfNMOvlexHJ5Dtkcpq9t2B9+ZkdrUCLv6LAGxlULDZodeYjVB8u1/9gtJ2WXQFUpt/cRbAHMU4oENE3R4wG+DVkJ9yEg6Hkc58Aqt/XzkcbqETqc86ziTJ9HqD4AXIp9DJbVOA5i5Ad6vv8b3ixzKXbA8oljrEKJ9KAa6MVx57F8uOS1PU1XGtpFJM/n/Tsp9bv4aUFxVxvvE7uTW1oPY+RsdFR6Erv5RjCjrf3kWL4czFmW3JBWWbTFGprHjJzQ1mozarzDOnv46dYTI/VQiU8fX4rt26H37qpJjN46MBLxERjD5MpuZC5Gga4C7kiJoKKKeboIZe+4QPgORPTqk92/1G91B8unF+abSR6gDRjB3DncFB57Xpxr/2Sbgj3XabhyD0AqXTLxrkhIBLVNxcS+38T3IJJScoIi/DG5Ap0n1KoAhlxA2VtWg+fLnnMO3HDpx6SGKEunlhOr88joQ+5B2/CYeR9VZTVVhDrHCRT4QSuRx1igFBTorVPUeTGEjdFVrdS7wOgguZ1qmytvb+XlLwNeZCQO93EOhpf2HlB7PiBqqbMLZ5fLxNMlM3l6WCy8YuDNCL+DYHWez0JMDdi7IavuU/dk8PtxZHLRvUKqr9ih1xIC83AhRNa9fRQBugcnK3l7d6kxynr+CTxBWt1QAv0gV5t1XZOxKVuOIz4PtzANkUU6a9NxsFwnKSbiJXRN8SodhjotWvtClBtsp3NcNgXtUQQM80BIhlI9uKMT33YUov0MorCqAVHcJjJOhDB+t2jeIDlI/fcTgtDQOAbvFSBQ8oX8UCi2HaD2cm1BiM2FadUNKne9Z2Xw6kBNJgYYiuvNaFcC/Ht525TEJqv2CrTXn13RP+Xwi4Cx6nI4k/5dJ6mVjBb6hHbJM9zgjw6le2XB0UtM/8x7otBXwzCk3CLMI6M8BXBapyXTYmme7mvFUQNAB3CcxoZO8ZWJD0ALG0+iEikSH8r+ufPPCyogS37Pat1e6YxKwUwySvPoLO9NVrb0oDKUzepanX5+e0b/GbfCWqZFqkHB1+ElvJi3uiubLJcbiFhq9fzG6eDi2QW8m8ObCAoIfygvLwTxY5JBtJNeOWyi1f9NehtNryOHk6hmyBLjcOWLL+1tR3alKE5a82wF5qf10bHcrxHBvBd+rIWEjrtftFNQ/G05t05YLoFUd3DMQ5dBAMCCELgOJkMvoZBgIhT2t5W1X/3PzDAkfJBglfdDNz0ZvE8pkmOriThZ+CnW/BpYtjMgIYQ7/fzqmbIDslLE2M/Nz471IvELbekyVXigMHhwGlr5YOxQJftj+rWcR0qtDjq01SbK/usLt9zcqhxCb4EmsY/Fxzj+2H9G8xpIeewgiS7lknnLSaSbw4ToXp4oaB29TeLAgqmLndo5mtPdbtHCsIYFu1tiDl8Xl0bckXEwZxipjtI0GFRWT5lnvMQ2BmwQI6lK2gEA8T1VSjUG3CTKCuBFiuazVsd0u+bf25YQXXTL6ZRHYrMk+eLEaE/2CL1GasB1I0iW39X5Nm6ME3Q9fhHW0Cup67noHoZDzoR5+yKASazEY7wcmUU/Wpa1CJAos7HWTEUx8tGXV9Jy+9pftOlZwGTrEi4Nb2mWmENLTVGN8xU6SbP7jtlx5WgnOFyYZms1qn2eeOrJwXg3dM2xxN1WZlzJIlBkDe0aygJaHEACfCm2Nxl45+kUEb0OC/1SB13dApXDJir/QvqmC9LeTCqplJqRrH+sEaOM85Ae6H1BPY4u5ZFtc+4Pn9kyaq61m/HWlpaVD5KYZf8VM7eFX2LywaQlIT7ApS3iQp37+h3ZkDZ9IlOhvyq7BvvaLb5pU/EbgeR+HOEAwAv6dxu1Yrisv2m6bP/AEKXmCBnmaQwW+f0/cuSwDmy2+G2Odmn/mZ6bD2EvSeeiGjo7PWkILDUDjSg2GbNsMOyYLjm1svbpbb0kT+E4A7Z43qC2rapvtl8Xi/pqhg7e65aIKUvAAE+giLweg5h5lI7JBB5x267xW27vIQ/PbXjvwGcmFOqvhVDBzGzinjoiIoQ8UkkFNi+qGAVwYPWuccHIs7LNm76x+gjyYLK6OGW1VH/e+a9NvmzUQgl/YjW0mcmTXYRcZWo00/WcKDeqVuwYj4s2R/NbV6Gw4FxNTTacLnoepUNlgHx9MCBck8Peu32MG5HUsmYdJT7VyYdDsD+K4xoMmUurPVzueK88RZd60AkqI8jjR0WnQK4FT37YapXq3jevdpXtEWvIwd+nW6PXLfjzpxwNqN/3+n+JtPi0eDY82NtwPhps/CR5bhRaHsR7nNbSGYXEuutZNwnTsalmADgBpMzyplBPRggMrD2kjL+71x8uYmdVHUMA58/VIz8F9oW+tqcEgMH9Laxjzf7kjmxFw2qciG1lntg96MH8mQ1nZhu1sKVoSSrd9DNFJbV3JPC6JqYPlF/jMFm7QZS73thmqjwKeBhZOUw2FSIi5h8z1W9broNMUdmVbrP9NPmGMNOBuW1HSmz6RxGyfMKDAvGFNbfV9mcO9UiVM4rPq4u7PsccWr6sGbFoKIgbOQ+Evfh35jcwaFwtrjdnDzdNIeDH/hkKNDfvBqdzyJaWlHjdil3cbHAx1Oe2kSYlOFxTav4JMhsaL3+292lGQVcylg4XsbU8xSnIV6VhF9nmtEW6QJgSAg6rwhOXGCzdD0sBgPzpbnVK9ECvG+yqzzksaYMxToNftOm4RyyBr74bKvOtO6BlqdMRo6jOutSAQiRWZxrgBiCKw4533tQFTwnFaPnDOSiR1E/1Y6dst9RyNYPTy1AubKs73+iabTMJRvp1/7UhHzR+GGL7p88BeAC6k0AaJS1KgoeU60pMXo/QWev7y+qNRN9bJWiXm2OYrzJWfUVSLChHwhoGTZHuPYVmoEUZLAVbDHeICvmgU7u2qSsp2LUcClQa9vkhPd0bOldI6YEmbKBpeRwXQsYpPhob7qxIzCy0mCu1IWTn/C8ECaDjP/1OIckA+JFbu6jUJNCUgG7uAIkte2CJQUnDR0b5rLKEOrmXGrXU8aPIW69fdugw3hrxrxzAfAmJJmz9vo2FTEuMgtczlhUfyUdHVRSHmEy3XGunceV6KR5aOgXvV8MNhGIqi3n/PFITaui7HliZhD9BRDPNKYeF2yFqnwqrspHzevRqHsO9rpdzoALwTrhvvmDW7nzqU01rf9QKMrDGXhJ592rT3olRSZn/tIArAk+ybxFUaULG3usep+uUc0Oo42Y1iS+HNoBjrJpg5ayVNq/079ZOFvTPEYrzfVQ+bvhlBS5rsU4t5dI/MVOTSeM+dv6jScVyGHZzB/Mtfq69z0Mm67J68HGBzRnrJ6+LLCiYS6n7V+V52TPYc10WgaSSDlzwkFsz+8m930OivY2xxr0RibVXvbMYXARrGGyOhOMoVz+09ovUYb+P3yNYLp7Z7YgHh697hrf+yIzq8LKhJg=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KcOCmEHkNLyCbb8yYGoDPrFcUvJX5M5RRBm0YaqoaD3OVh5vMTPo7ifhQvjWKygUCoMbXz1+6ZaBOMQ2qrz4oPWkoMDVuuVw8U09bYn6OInhNy2zc+YHzU1nkS7E2lgAYlenJPBiG20WsqG1ovBEuBOM2Q31eZqTkX3k13WNhy+nA7ZXUg9wZOXz+bF1i5l4up8YzU2PJ2YPFG33tvExtqCIkP1HVVX+ZU+n+c9l5pz5bBmQenRAKfYpZGJLE+9NurEV4SSJ/ZVdp0+qeU8XTSR1j/4s+1Zj8s0d74+GqRJp88C2rs34BdoA3FcWIH1ebppd2UzZkstchmWJ6mgEQwqkmgPfRt9tq78Ny1zFAPBfO9FanrUBN18HKVi5dhiYhkAPkulnOVCG8Cc8n1IWvLQlFm0275sdDFn/zsQSZ7tGG6OrCyr0kiwHgo7D/3a8jQs3QQJ1Rr9I+uNaZh2+J1dYrXpJi4fMoo238oitz3sui/f45x51PETZjeY3rmJUbA1Ryt4XDbJtXDilIoOcwjELz/CNTBK46i3qsgKpr7z5EdWBbfltL1GqTdn2r2bzaokgt4vRV5G6MHeRZyWcRPFLaByeR/PKifKJyus9MUYNYy8AmBHmzchxXDmlgkTRouhNHoyaFpXCuns7ighWuVvu1V7huTM5tN6vdA3PQetEPf/Yi7q8/yRgkfIziYU0b6eHrxFUFxqwGF2SKdOWJfk6f5a1q4FzxKrjOXvSbk7ZZTgn8evT3dmzVslbuzpSwiAYBMeSJJDBMGkEovCCZzdgBC2lKrqN7ot70Te4AgvAcX7jQYL8Gd0ySZlCncmstQPOGbRXOsCeVGGPPt0XeP6IiVREZn1S8phovtQq8edzJ0l507TKvR2gEEHjqJoroR7iaGv9LQ3mC0FAgRVUn4supXiCbcYERqJTOS8SiDroiQy8CzBfnfZibLu1BnvVnopGkRPEhJJO892BrWATfozdJkf+z2RbBEhBLOahIKQ9MJSuyNuvnrNMhmCHWMGDDqHnMKEnIHa9l0GJnZJDCKLJJPQXbeYbNCFFxOSpK6vcQ23M3J84xa5yD6XD02fXkOAFTQ5kIqNDBV0G9Lg1sa6hK8bEwc6kc5b+GH38TOQrWtZYAKw7/VjDGj3K/fFr+hHrMeMPA4v4fCW9DkPDyNWgqZjdFkf8OXKTGACwkTfIeGNpph9NDT3A8I1d25cMAxg1uR4IXXbT2mph7sEbKt3PHWiifX7kYvoC/SYScCvIqgiR3HSlgCsWQiYu4opG+HXddKzapwdaCeqICXTwfUePWSq5kLsdN/49yf9wZ6B/kZ6qxcs2MiKlf472mmhFTWd+yf1BX+TEMgHtNk+OijHy3FQ5elTzyE4CxdjGynPY1JU1ygqzcYKXIPVM5ij26naAaDqLj9aHZeapWPqUFO83gWFujcZLtYFxFmfo0Mg11pBiUe2KdEi8caxFNHYNFQQq0vHv0+ULMw+ZaJxBpmEjtibxucFy6Wui5o3BJrEi9vNU2/uaVZrhL4Yf8GHqrK0z7i08ZCceWKctJFkgXt+n5AmAFLeSY6ndsDzWB3LvUwbMXSjndmuLNLJ/ia6PmGl8VH+O37hZ3JhJ8hkdjL+xJtIgBVuPQ1xB2sQvyf/H6SR9DQWdqdzLydB9byGdoa2X+IoaX0HCgHbzWdsvJWPSPu0QyxLRqKWqk3Anmo4sx9jxjHipARlzgoyP2CX68KjKi1rHDFgvwqWsG5MnAKBqTaUF0L9X7kvebLbHXCi5IceABj2KLdpUBMDku44/v0gn2sx1u4qCp0tWRmVECI42dG01RdbM24hPtvr0UiKqe36xjKTi0C8eEkhupv/J+m+Aw+FKUXFdZM1AkkXpBIZw7FY8FIuucllXOPlJ98NczyK3/O7UwFSzXraIKkht2fK8uUf7O1hzg1i7k6AOKLjM8b7RMnByaBDkYSLQhcH5uC+4hbN+3hEzaeDdsDuZawdnx0rNcV6/ux+o30+H767QsKAtSCpKV+ytkJ1/gmZbS/XC76dAIuCo5Q8X2pTX6K14o6QQTFLuLabRwqVJMEMa0qUCWJpae57Cvb7mioKXwioGJGsjFa46tCvjqXjkqV9IB9V3OSyJBE4k8ge4InnCuUCk+g8vHytsNTY2QqFiEtL4HouJlwTwLpYa+Ingc4SaAaYVTDKKCE122WOKDRNsML6/yACglUoW29RrQ3shKVrKvY6hKYxyOR7S4nqOsmBKsEDNCcT39r5fcIy7hcAUmeSj6Rye+3QXWsO3fZ9eOYEFd9i2nrAVGSj4Es2QmUd7SYme28b7aD4ubiYTYVsgWJZKahU6H3fh7W1VkQj5EjQJIExUc2I9em5EsICeIzDVqZbqY9XU222u9KR+6PuyA0k+yfuzbsStxuZqK5nDOyoK7fwMlkTjRRKASuTfgrNFwRQ2hm9f4IZ5bHcp9yr1kwL37RyJYCTDVbUAaTOTdTlwnY6L/tEQG6grVF9gsfqlOqwhZrSNHyXHvd9ghcjZl6mm5DC9Cpgkkcq2Oyr61IxNbssCQqwcILlEGasEnmuyCEGdJkykVxSb/HtNsc5VgtJcJy9+/M3RimCKeJq4o7DVBYATGCZ6//VdLdVFar+ZivJyWWMrWH07369LfVQXEwFP/9JK0xuMX4dU0E8Fr8Uinqea6jDDUgPhpBHjHfk/vs2D9dYohwTa9TyOdCwdBnjjdyVOIVTkNoAN1GAdIDXpt0OzVd8wZXzD7RKSWaE4wAhDe7+yHioEHcQt2wFwxXYmdWW5UdaH1+1hwUNvyQKd6kJLGvqxoX8OFApODn3vGXuQluJhUJQ4bnQCe2R4WGwxZYW8/GNJjTmCwrxhgOPckM1L1HVlLfAS8T7XIL7diEM0c3w7POevphmqf1LlBogZNdQjn+IYX/uNUuBHZfdZzCE9UldbAVxeKmDvoLgqLzdemecxk/jA4Nw1xiFNs1Gi9vo/qD6oypsPYDvf5GlmNXWxkaXma6VbD+QDqJGsmkStgjSoy7kO+u8UVpgTV6AjFXZCF19pvu+Zehcv9jdX4gzfRdU0kdDBpXVrZfi29b3XGODn/lFjjxzwOUbOqBX1DWIs2+rZaKQ+XD0kyhTZ/tBAcbagJNntvh1I1RCLzOX4sXPW3rCyrvfNG6ztHWc1hncHZLmvlXOaRzSVLBAVXGK2a79SqgLsCrAfJfj5+HGCDI8+Ds9K40U0NuBROJOwWER6E3Z9sVrHxjGGaCUC3bwiO5jzMeqa2OpvdUTDPHhkeORO4RytbT8iGDDxLgPOFxQqSfCe+YvlUCzx7Vs8o3PsMVE4b9+Ie/EKxWBgJK0NeGSticBXgf4PUXUTRp85iCC1e5SO7zN5UiiXYuJBRvGIRU8x5iOZ9n7wjk9KgfMfCyFLDYyj9xw9vcBucCXeQt03myIxZnM5WhIeE63Ldjx36nv5ryR2EPPYfLPMC6QVSQ9C/qoGxZkjLsw3dAouYnYg2rf3yUDWdSdlYoC2sUjvv3N/nzSIUfkTzXBMWeAZfrgDya0/F5QA2HhD4HC+8vLHNFRjf3hAEsD8EnHbSGa8V6O0k/OpoCb7V6cWG7hWUqXgkEX0TUgTxJQ9ty54eymcATy32QTX/a8rNXCx8Knah9QKuFh5uRd2EadFqptgsw2syQOdsrAV4caOyzsWHhgl2DMphF1nToMvKswdUQagmBbDKM/cWx+Fr1t7xTMqlcqOrHJTasErfahZrs3zyjmk32WEEQriAibXTar9D3MwFV7aCvkoUYRW9u0DCnTDHaf9LNYOKd7M2x+kAiyehlbKGwl8k3OS1lZ1ExkOQmTrFj+wDR1ZiuCIAMwdaEgKDIsiNvgA/UsiNauKQJdU+CxMk5XsCmmHK9nVVtdRRB+uYT8aZO/pom7YxiqjcPJjuL/pNRuir1RcvAU/2Tz9rQExFIPCvHv+KrFE/CQfCzWUZiClfnlUNcWFqEgC79uCPhaGdo2teo/5MMQekdH4T4CW00gPMT3R/S85oHDBaqLslT0bPXcRjC5/nWN8ja6oYR3eCSn+2US/8MbCd2AvLUl8cvckfLcH3MAPEtQDgacAIO6NhUJR+TO36hA9yhVPQU5RLOhhJB4POiRQPiWMBAFx6dgDXUfnmDrhfsOP39NPQ2j9h4sgAKmVjDH8uXpza8xIDL8kyOYEUqW/DcZb4C6EXXKMYu6JtoJv0JgsI7WpEJ2sA40WsubpFigLEbe8fANXlzrlGLN2W03TJSZEqsWQKIsPPKoil8BiwtpLvL1n++0+h+8stEQMbL5W1XKnWJ+iTPDv1jn+iZQlVCp/5bsef0UQ2yvKx08pcmWmfgW9LmUfwX0W9PMFbRCyt86xe7uvwEHSGKLKAW8qpqfgXJFGhTNE2meDONjz+UBzFoAGxtj+t9DDTSC9Hcby/FHI7fzj/Od43Qcpv1WReOoUcUd2zCMQjnguZC9EM0XwUacYjcFNrzgIujyvFezdLjH2F0sdIn9WhoVCIPVlGBdSI7WH2LISmEgrk6deLioTdGSgx2Ohs+CTo7u5MZEDGZSLFdqkC1SGKqNGbIq/nSLT7q6vdyiMkaDnRwQCGBSSUw/hJpo981gbXdf/qlYRlUULNMsGlwZKN2AZpovDavMOMVKAk7C6XE0BY6BWHd8ixIAwYtuXbfbEJivUSyIUIREjGUT8XyG3qpKIQLPetGHMzPbqKwlJavzfNaW8Qd0K38/YlDzhMw3NhspkHvv7OWePh/6YUwQDO0DVIs0rP8LVoyg8Ku09tFoLYjH17+U7zRALEj13ERqNgb48CLrrdh0TQBLfV0blUc3ENX/KyxjLCGLw1y1Ne0Ot3ij8sId1wUPLN8qcwIseA+RrVqd9XxluYjiTml+kPqN40HX1MHv+vpTRDhyUoLeanpgyn3s75aV36xS507IfKRDqEWI+a5gkmRzydqM7ruM0+mQiJt3oSWlbU/nU/0fq9es49W79srKYr/o6pfNBlY0o0F4xjfNEcoWlyrrH2nlZKe5kyzKaGegw6P6ySO2W0XCuhXFoXqEc+uGoTDw66tgEzrnYSvGKu5mOXyM6QVgEzXgaRGGAJkarSJHEafsXICDntvFnbTGkq++hAK9Cu6OXivwdfx7rSrR7aURE/iZ+xgM4/AXeHoPnmyEEGiHoY7nSCJqyvfGh2Eo9zvjf41o+2gpQT4VZ7m4hU6lhLyPDHW5m8gNOTSXyl71eUmjhnhRU/F3WGgNrfmfIf0A/OqFj5jePgM63yTD6z45KLpx37R1ndAOcXpebayAe4MES8oXmTM3lmOvdq514haq6DoDa1hZCsW+NvVjV7Kfj/BGs0/xPBca6GMJXLY507YDRJLTqqgtNKHkjtftGQv/DkM23ra74AMItjL48sOCGhKpUBDQLijgHO6Ph3Li4J/zloFVawayc0ijXTkkTSMNv5jqLhC9Yp8FdhnHgvTdswGy1n3No/GJJfvJL5UC3DDszO4aRNPyu8onOc2DhsFEncn9JoA7+9siFEO9bd/xb2Gqte+Ga3yX7JLOg5+ZNiOjSvZ7WNW17IVHetRfUibkZmbKAhNHk8+auD+jcTcO9yerEINX8srdxCoCCqcuA+lpLOB+ExxQywP97bKJHj6QM1iTy58Y+89K5yiBl9ERH9FjTpROJFPmDAOsWsyhfwc/m551iO7xyjzCWCQRPpBWxon+EfmjvpbAKGQfKw5nudxv58zqhIJBLHWLoBLaP1wJkUbQRRPveczKYWD7K7J4SLRmNztSGz6rEoyVvn6MVq4QSCWoF+4y2vvtm7rmT63hIB4icRmS6HOCovp5vPxpcO5cpVJgtztEpkYK8gSN3tR9l8ihPutqPo5/IGGXxlBLAvRPz8OBuoDPoDcMGVALl8zRoTgLAsFPGZufcvpuuwIA+v1OeXu+nmf/azKC1JdzGZBBkEImi8IDMlB/IGqW6+ofZB2XRlYd5P4CDNK69Bsb2EHwL6R3geAU23PL6eBxriTshie5UMLBh6BdEwsU7F6fa7KHi3qvSrzj8n7j0DrrMKildASL2jJJmjUQt2XLu486RwZVG+mnH2DYZB6i9f608cmA9Oxlu3NYoKey3QGbFFz6bf4chI4vJo2G8oxQXmdQKtqhc5dLxiXjGy7o3C2322PlaF6+SmSaiqYa4tTn9NF88nxAGYTVymUddNXkNcMIisZf7erQSg3TS1NzWRJgPErM3utDVtPLgOHLU3n79EmCPtz/q17xeVBSq8zAeB2IQB3HGAzm54cvVaVgc+INtzMrdnoKWHHjjyuMySCXVvjkebrtVQP2yyrpmx1gzOi41NQAC1pivhP/BA9VH5OVWT979uUd6S7i4bTvrleqpQWshjoLDarVrVeCU8PO8St3SxejuALRXuKGsttZR/BQNohsxP7e/W5vM5Fa9D5JEexuDgZGMI9S/nGU9jdAbAM5CB8OLm8JVTF6WIp6TND3bEPmse8RRvngzmcoteEGTn3HuBJHvLYEeiLAcpTlpZmAUJlptfRJydnsqXmnkcxxiPfTUAa6eI9noQMoz0sL5lXw+8fGttmCyUeiFswR6XigxUtTPu4A5VYtrzT1wu4YfkDZN6ak7Sk4fkpilmptwTvzL2rfFha8UOeYkdBGTJoQUWh/FQDmVYZE0TuP1AqTyIYlCkTRLYr7fS7Ap8Feh0ocGrZ3KPOfP43nx2mwzgBJp4ADnqPcIe7+v+ZyV3351Hw3GyNTIpDG7bTVaC/VuK42NkCVVHRC1rSNPFjn4WL33KF6dsF4a+TMv2Jh4MGn9eRjFdmwCX9DWscwtI+kwBXb67KnxOHvuBFA3CCQbNTTH0BtWtLxA3cioE9TiCPRhwVLnWftgYc7N4C2ByjvRJk8w4EtntwQ+e7M7Gb9EUx0myhOifStFlKyFcl1EE3s23cjmIQFSaYMngfcV+ivLJV3a4qgb8iK7UY7B6FyYOOrQxcThjpH1lLLJi9ikrYkQ7U/zb5bIGFQSTZRZ2+JFYXI5KZd1F834DHS3IYMs/dNoDVZas8H/YznvPyJlf8locfF9l+TbOhSF34YSTIqmHajWg4oOMny4elJmfYxW3emItjf9zzh/VUy8Z9qLuUvRLyD5SAL3sG3Ytk0RUqK9GGu7HY0+NvFR+f1muHtni/dh0YKkXsOMelz6/Ros90HPnX8jkSPYgbMs9lbKh7Ra7tm4aRmJ1vHCMt6bm7LLmEWmBXXA/T/J+XW20zeMtO054nbCW0WXWjwqiIjMwZAIWyBg/PLAd6OFQoKUN4pSXEYSz2KsOCHhCMe4nKbv7+tBr1bQih44h4kO/LjjL6zjpqRWXZfyDiBuxfvxAxkuen9rZWXEkLd3yQ2Ct+9MUGjwL2mBI2nz8/bjecb7j4LOF92mC+Cew7koNfMxsavtemTD4mCXKhmVFPJRJh9kmAQuTstv6mzlm5ldAvyR9MY5KVKmlliVNGZgf22F4lOZEB7V+uLrC86Ia4z0mxLmrCXeIt/euoc7JUSKnGcL83VMSK5A52lW8wS6e4Vl60M0upBoKDE5s4WdIUPW21n8/Q9k13mQcn0xzISU6cn+J90j3ij0e9WV3A8KdZQw4IxdOFDQK1Uq/ZoTtGgm6S9K6esL6ekwa+v/Kr7Sx5h1RNW4vXnUIQDT6RNeRjbMYQ3YFDBkIGA9cOMpwgm5Z0uaJ3l9rV992D6lc0mxuFFKqKKbuw5qwXK8351ys/F8IFMyaEPQpIQuoPUBU5Gq4EwVIEwGp+imMb+PHpO3slWYFqJJT3AZy3YaTwPzdMXCMT1UUtTSAXQZ4DVlGPyeRbw4nsnoCG1FyzWV0H1AIsFhj8R2TBP9SxHMOiPXMVSdYrdePLRrBcifq+lV3Tx3tnQJoBkEK7wPRUHyFK+d36e6fdGuLU17cxd8DzPdv2NARPHKco0sRJgTyokLiiKUKs5Dwov9JM7YC1vDrlXiPyHnjO0B5wa6Dl3xzVzRBMzot+wBQpQWHMQirFfsAD6STBa2zrXRmX7XhGtcEdlnm0AEU0Zrqib54LO3aPxfLs0M9p823AKXGgXYIsaDp6TtBoZX8zg8IGyzfPmK82LkGhEKUvziswDXPfghEmiUpEXFrhdwJd0IA9WZ5FZvLmkZXpcK3Ui5kqUtRJ6JSW8kkU/wj93bDjDVvKL5FSCODuwQfPjhwq2BXCYZBWpkEyLRNAtunqRbAriY7Elm0zEcId/00YVzeFx1EU+k5YvPt7BncO5iHq/tWWFWUVcxCwiAHCfDeFkLGSyKME4S4thDhaPXFjq5y7ypnGS6HBLCduMCtIV7POytBRAOTb+tyc+QZOaRBFgxdG1pRBCQfGno0T/Gw0cGiaBnF30/YXDQkM6AgYFrWpvhNbUVIzCAxOMyrSukl0GgIdFx2DvkcofDRdSF/ntbCS9mtDruA8AlWCR1pOYPyqTJuckp6Snq6P5Q2sUI2023tJQ5hp4WMJKDuPsrqTXbJ22Xbo7QnCBILcV5vKeJgk3vIsIEUm3aGGtfv+KpxOALQqVQ8FRiH+a4JpAr0UyABKDEWEIy+7SqpExs1B+U0ztaVPb+SSStB9gcHHKkGqmf3mXdXsMuX89ux3cvPemfcK2RuKnNYBDv6ToPO+TKOKJZFICObEkgeV4jUJM6jEjhElPkmCTSwt8nfuK01iyVpTj9WpdYpLdpAmxjKhuMhoXqxOHTQj7BZvIGAr33Ul83tx2RbCtzyFgwBvOJ8PZPl2N0HLrgE96tZn6R7CkFWMEapOJzCod3joT5bEbKTTQpzNnPlsiA3M6qQ6P8ZfxLxcyQixhnjfKlZg/JFtxj2bqJyeSctF8wXeMJszpigfRE190QPAEogdJn4rIbzvPIG1k5lUR6UNUY2hlCDznPqrNhLIDIfXmasIxxwrAuG60nWYYeDdOld8XWUcSiMJ3XtNatU7zbkTOZBjMXGNvq3zuweTQUHlyYWBsYD9Wwot5Ux2B0G9U6RQ78lRJy7CwEMDACoTviZJj4YZZzrE0FqEY7BNkay5sy2GOJEbVNOJpOu58UmZG7TRFahjWdRgk5os53Rizh3+mi47StLEB+kYU6oAqtxroZ/SXHOChkxuKrOy+s1RAFTBh/k+AeHROdNJsR53ctNwSyq4TaAVPbcfXO7esU7vQ5/DB8FiYB2jYVPdiijT2I5Bvj8bjcFkDB5yC5x5qLBZwss/CNZutsrg9PvW00xhSUPzcZbLVduKjyG522Wcd0vdTsdOIjTHWc3pYf/NPgl3UcBNnvSSyv7Glxikj6NjvHlNR3MZqZlZUVYniekeaqxGMFUTUewYcNoSlKPqriarC50+JJgDW8mnGUn1XAjC1ZOsh1WMGw1zI7gsXtRIAeGZQmqGlZr/F0DwjSifeoq2nbCpFQRHA17BQnpZVzUejfFuk0UBvBLI8k+6LnTokDdmFW8rknsNA2SZXCcPLQVhx+AE+ijC24eNsnWrJreVWJoGkp0XCFtuSGIHYewDY2oH+P9/WvXhqLZrKVeTRfcjhqFI1S9P8KZhU+wZ6umacQd3hwLBI9jngwlXbyUg5HGetB/1LDs7LBUDyvT2qksp+IeMyAo/Y9mQiCgLDktBU3gHSf54rgTOEe6Xo3YHerAL/dc0e8U0DQGvYSHRcvhswiZIzUrE52RXAZYvDMb9HnlD50hxR19R41N+bx6vnXRpi10Q2qe9PYA6yc3gvy0wjJX2OS0vMCsmgy20GacA2Y++JdS/PLlW+83pdANJIsQsggJx97IxvHXt48SnRLWn5ckEo9CgI6hH6KoC8Ro8A2rk2YMgX207mov+bXZ99GWmpaF9l37ymxL+meOjVb6ACnIB4C4BeCNaU7K7exSlUrViHj/KAp1LB6tM9+wNyizpR9jVZdZO7MnsVSbJn4dvBqdS71sUlwEufgkMugZ9GJ9/+g3129LEuAqcvCzzs0sRiBjVlN7Si2UNDoz4tDoE+qzmYk760CfnewElEzyY6H8kqSd/4QQVEMyq72gHEvd0wI3aJHSLxVw2pDSFCsvL5TGuSa//oady9lAddGFzkA0q84N3UUz2Qk7elAUya5dpbs9tCC4urWoYmwzGmYXZIim0rxy5mbnf0Ns9ZxfRIaAs6FOJ8Hv72Ac4f8a8X/omixNUZSjeSDt8UDdzifhTsd4Udveb0qa4V7X/kSnyPfOX5lo3Zjp07JFTYEcy4b7tOrF0dUTdghQShP59Pjrz+57+UeAgGu4RHHUnxHnno2IJf6EpwPZ/NtSJ1gS2ZQehT8vDAB+uTwskZS5jVeFZSzENL8IyRFo/AERJPjAGHXybBorpGmZk6MtdAkrGE04hbNBaFzmbnLYwSuL74c7EQPPoRwDzCQXXC1AvlMPE4i82fuufINrztVUFYN5DqTtGL5rEh7b5Bh/3ADdbULqGGA3dRUHIZxJNglrJ7DfS9WcEt+lGX/F6hmoub5xHdCKzzcNP5hstlNZEt3McuJIAmaOgHNgfmdQ4jVilz/w6sB4JvYetXaBGO2/g0D1atCuhmW8EvXaifFhkSZfuxbLGB2I3IImRoUF3zklLx5tZEJk2baQXm5jDSa8pLTA7vzNANNymt2ca3VsnH289WbUyhMksgFXb2Saa9982g4fzAOXnopvi14CMRO2jqXoPAHVuDte2abKOxTvw6AqrQJImU9vhZJx0b+ulWf5tezt3Z03A6MwptxT+IXn6Bg1FFPg4QB6xSzIsZfRcd1gek9xBTFGw+ipoYArnO4eH+n0yB/CyivTWdIZK7hRDNv5GDp+3DypGtMZvMO63jkNrq08OPZSkd0xeukY5gJuEzc6mgPWxTyKsXdPcl+jiH1ZKWTFvcLOW/bHMPSL+HIpEoG8/8zcJKPoaiVLj9/1nGzBSvQUbJyuCJ99Br7IgPn3BYxCM/U1vMOZ2f3KfTxPlbEx1CmqHqSaIuQgg1QssnGKIMVtxJIublwIrMD4ZQCk5dQuY9bLQKdQ9IuCdBRWGglMrUS00et9fV0icfucdQlaZ1eSqLSszHwHef0IioiUOecDo5QclCK0p/IDGhPCv/wvou3K7vEgaK7TD46qsLRO7tzq59MOovDw3rieOww9CW5DbFoMH+FcBBqJO5J/TORFhSsFt/jbK9EJwN7YjQwcKMU8XaVZlDBx0RHL/HiybkL6tAbBmPW07u/VRp5UHnOxhzcFDRsUvYReDaDSQ/DFxyWaXN5xXPbsyjEiW0wyRhGR4ZWSg0qWzPbFAKIKtHLyV2zeaRX9pFEXqD4mWbcM2G3Vw2zNQdKTxRqfL0eW2ylZAh8AMoJ2WWHfFXqn1jWtr/je3LawHVhUFdAmrCRPvL7L5XR8w287Xlm1BAwpQOpT4fiWEQV2+WNoS2ybVp65oUS5i3phxHj4loUdHUB5Nv5cRXIENXVXlCsARGkU4bc1E/7lGB+TUK4V4woysZEBtF+qCSPiKDySZ4U6C4FKrBPpyteVxdqx+H/lL+nd8qGlM61wwbFYrZZxmbwrBqOM5+DJfD5MrcDkO35XTbayYsap824OZa1H9W2ruBFF6TjNr6j4AVT3/d0eKpKFAs9fBong22M4QfM3L0mmGdE8VcS8dT250tN/vYyP487aOKMGWejqxHk7GAA6DbP9SHZh1eo+Z4vaQQRQpO0Ivo7RUR68rMOkrt1SoRU+TCNl14aa0vctyxPpIh4KbbkHG86b3qmi/zb3Y5iXEhMmmlWNd0hM2Ku1A2zoO1bmdTj+ToUGNve8mO1aK7VoZzRTV7CVL+pblOH/Jw9a0uh+PAIXZYEA9KZAVT2X7JEw2MNQC3xCXZLt7xOeqwVx4naGCgD2UghAVa+fnffby4DBPw1S/4YDK8uEKbP5+wrSkeVOFVYyfymc1qQwOP+TbU/RcGvM8ohzhjHKVQR8HEXVnHGeIoKKEFkNJMmeYC1TO778oE6LwrgXPCIoEY5QjZPdOE+fxh1/wHWK/POY4+l1NW6a66RnjgchXxgoDf3WHrJ5524RdaeXVaQ/98haxcJr+AdBAiz7KbwUB53EHF35UPW3qCFnutO9CrtHL7LDgI9QCxd35g/MnIAScjMoaKoTcmubGYe+PjbJtLQTYIknVHu9pYtNnr5oxGfTkPCJei2KctTUJCI8UH8nBbhmy2HeJmmDnCEq5igw/4qkFSBEHcevoNLs2tlYoMnp+44+SjlvPvo5xxDSum+VKH29T+qqgdnfDQnCw6i6wiJCKGEuB68Tc+I929I+YXup7P8jYKBCLq+odDGABxIbrbtQKDMOWJcfjLV7zH8aFHlAfBdXV5lD8k1OViw/bL4+G3BM4RRp20Wkv19CIjCP7Eym1XKvk0Cd5gTKzSEHIh4/8WN6awXgYe7/e+bTFzmfzbXN9vQ9Fe29LF1dkk8B+HXMp4bMwPT4NC4GMyRKSs1+IgMObtdeiWIcLGCo4FmS7awQQxsCHxn2BzzA40wNbF+0p6hUpx7AAdyDe7PgkDqwnnm11jNHJ6y2FHL8lczCDfPYsmXe7XX5xspJLKSsm9reNkYvnV2Qxu9K63wF3vnNlu+1KD/HZIebWL8YE9KuT23mdmzaFvPtcUE4c/wR+WXgc8AswOAvXLCnCszi2k+8e7+GDy7Qr05vsQIkbBnMk377tg+3gKNoiEfvyB962EE1rfsNpu/SZD9CySijtyndMF2J0KPXfI8cMWI6+EakONxaVCo48JLq4UDWktTGp5n9rCr2S2ECmx2LHdJRS2VAXLgewK7vGEHmYfQsTZopI0d7IirMS1CM+wm8L0dlNutSugp4xY0oso+qucKYvnc1tL0ycCrjXXOO8DoFUZc8eRpV/1JJtM1Cefg4JkFpUmR7AUZy7fWYx2FMFdk5CBT0dGChsm3XHO3/g8h/XLvo3ryfGv5JtNR8otxPelvSHgjIn4gsrQfQ0jqI0ntcijcCFCKL5cUQC6JhHe7ogD299TgGvQQ2G0W/efqszFSVRnmVxrfSnu8D4w4vkDsHiVIIyqntYMGpiVgEZ2bWM/tEKXSqpoPhwtiZZqucKLecJXoeVLFCfiDqdXdQj2iK7NSJMlZSlRXxK2AUIi4COGLNxVMvUWX/WfqnkE46sJ44C1jtCtH31KN5fsrC4kvFNXHCO6IKspt5NOJglbHZCwjY9Txf/lqZegAMbUCTqd3huaPLbf6SL0bIlgEhxu5JqcPsQK7khXGmre5PTtLSgHKDY7mfsqiIfzxGToUVLghFlYt9/8wOiWLNGxrr/era2HOpjMoLARiT4cDJzw0y4GM9VAFSdPC5E8iOM9zz5bvGRa86i80UzJ6qNjEruhWkF3LwVcGMAKvEf+tXoUIm1R8evcQ7TZPUzGiub28tSDw8EE8sHiK9g33yUxcOR9P9meQIqUGnEyvBN1XV9Y3bHaLRt16reHPQM/6LbZnzOq2UO+PvUMX2KSr4whCnzaGAngP86rx7M1IQN+TOXXvA/OjY1w63f0RU11ZVHAx7XRsb/BwAeMGO3DELB2qJy0kodlOAcgVWQzTC0B/SjKKGMnyxZ9pxD5b1IRBO83e1YlRVDzUOq38WOu2rzCTRxN5SIzm9wREeD19WMfCYH2BpOnaBuN+26Vp4YgfzaxfibIEm8iTcj//EHvx1mYZNyINbBtcshBGrrrdp38FbJVLCgg7H9NZkn48rpmCkYcPvfcQ17EpkV0iIqF1O4pzXA008/deyT9261ohUtuzYsnfy75aBG8GP/PSWTxAV0ufattkaFZ1QOAD1vqYxitGNT/zQvDQYtvl7SJNB1G815E9tB18eJjYvj0MQ3i7L6SqT98W9X43TcBQP6Hj0xiVvLX7mFwZc3Cpu8FPctQ4/1PV/jTe7KrDmNoFSU/QlJvxBKsjhLvXPe85eK6dXQsbHXi2VHSwwj2i9DTJoPA176XsJtO6eeL0IpE28B9aWeAj9NgOWPGUigFegGTi7+my/gU6oEYEzhJ9fGgPk096zvK03xKtHdgMt4iqGGf5cfTbE8BMjOfVKiQW1jaWN7g36Ac+Jj92NI7AOpizhKYJvgWoKx0MAn/Knigrj47ymk3Z70EHu2CAE4ZENBcy5NiTSNF7W5pxZPifQvXBnrIsbF1XtDWqvcJFSIOJ1rBF5ke3PnMvP1S2gepL1JS48Z/3L2gGZYjpwFORK/GiGCg0T9xNpcU6KbxICkVCMS1udKaRFquWU5QY5OFl7B0TL7/iKtbbB6eqvCQnGYHLDG6BaOWyI+d/0yegztIlFFwVVQvqepgUk9OpzqoDcr7S/mADMCNp1VNS1T49BYarVqPHEAXufcRkouV9Vsrs6YgViVj0akl+Ro4LkAlBIdSetvJwhtnWvPb51ti+upQdNsAehT4ts9M//KGgFxkYVQXaM7bGvpO+Vlls2buBT/5NXF0Z1Cg7QUmbIxBl8bUfoG5v9tP0M6BB4NkBARFqaf7qE8WZMaHyKdIBycTHzqwXxilQ/KUnGXIlw6cbZRUoaHYCEmAH66kVAjWoHXKloBESDjLGlO2NcA8DQp3KUB4sad547czX0EVDAwONo+TY8IbenTlEX3rCmCzzrWbrQb5RKsmNRCJrW1xGMnjyt0cMtVqixm5KZMpSOoHZuiqdeBwgrnG7uZKo63jTOQhSPicY7x0wDobX4/hit0nZfcccZbvYZgtSjCVyKZg0AEdy64Ajy+uWiHZQKq1dJ5Xpc4Z6/Hm8HWcMIdAKruxavaLJcMrI01IqhwIALNzXwWECfOjG1zADd6+rXMmnFrvJ3x+bsh+VZBb+v+ctdOrGkYujo4HU1xVuxefM18TnoqoHWV5fsN96/oZM7aPj2YTCEH4Z8EvwTCEDBpIVM/AYzlLYtACYZ0VK5DX+0z1gp8Sisyx2H2YIHJC/sxTXzCYNwTTPLNd96a1epW0196RBDX4n9PN6shUYFoAJ4vbYXeFv2cvOM2BdHzrrpyI7x54ZI7/aMjOR/pAIN/RYFPfuPwocgKDeZmVa1hZtBDMMFTMLht14PsP80SOpm4TiAq9RAreRtZT/UoK4GBrzH9NC5DXLc5Aw7kGTNuDTKMQVI8M2U/93PFLp/ACZ9Lk4rxZO9adYflelF1+odKXXodSrjhaEqKlCTtM1/kJa+uejA2o4jeQdIWzWvvcC2QdBsCqHtFT5LFL58BjuCcFtqW39cfGQdEUdsReLqwawxLceIqO0PUy5yEgo7VQmcJciS+PPkilrDsii68H6FpmhVdsMGfpHsvI1gZjkVCiugo8Ylb47CcJ14ic5bruAaOwqD2pnB++WRZT3+QBHU8I0Kek1Y83qUA2Y7LFbzgv5VSszKNHcdh8JeQfN0lkrvvBibyof/ydOsAfcMuOpgnP/7G9yZ2B+XfEOfvE7NInuBR4I8uUTuJtome90NNSvsjBkHF+hHs7KDhtNE9dC+nHzT3AF3oFW3QU9fz3hxwSdrwzQ8zT5gNXjE6wRK7v/Ck26CeshlUfflvBgOaNS4zbmgpLqmJfX88BLizScvvF05JgbGlo2tgM9AFcpLrAU5c8uPqjqO8JQKI3vDWToKMkkvzf61iNTvfu+SAOiZw41CoiAVILoo52o1vkpwVLlzw1nLNCJfMKmeyLLtuZqNw1CoL21NIPUdgc13o7KeOpWYhyyJxq3WvUFBqRx68P2SxMv3NywHzlCnLbpjoFqwNfCOCOoO5g7NpTWhahMIhzrewGe2X2Q/qa/0MoKQBdjAbpdbK/5QTrBKNvxj9Y6a7uJOzmH+if9uCMJFokoXM1/qAQHb3tNS6072cEX+LqT32PmXSwQpHI+YtCg4rn+Ic0uao9hw4un9/UuJA3yMnyrgUDLGtRcuxXhlo4+VmFRQ5KrTa+Coy6vsMIziSg7HIq0/JM2itDfWMjYIErgGNlIszLwn3EUg8xdWLd8UGxK/onh9mo0mApjB5CUVpeej0Q9lU281CE1Dx+OAbFd/RFbljQYqzr4IZX9eGqZMxSdYRfbQ3ytjBrjHVxJnwRvXyYXz0EZFEaYVjIlqNamriVFz5iYILzoLv0vyIZFhVe5BZfDOUnvK8tUAqeypwqmKkl9APMwBugsGKOLR1ZcabKRx3AbHJcCHZIYuUZDjoiCCIdcWIZ1naUa0bPTx8hydYsxzYHdIEOgN0aOV4Q/RNbp8AACbJK71JmH/dW6UzO76IN5CQfHKYNDLcKKjVxgwqmCb2lUJ1VHA5wtWq6DIKUG5k8NYdhMBQ9/K/j5DH+A3TNcGFr92XcCXn88ikmJtgV2fiElJyt0cp0CIAYbHBJNUs32dxNFellYGhEFHaybMQCxOypAhaWCpTAbDEkUN+V1Wk56RluV1adB2W1w11rO6bhogjoXFOBWuBhh65iKBi4sH+1qdMewYgXR8KfPu1yW/xd/eovB8iZstZfxsfM8kQ8DZw3iIqSbMarmxUMEAoEXKMixQ6Xmp+PQI+j08KATu3V8MtXl+SJ9wdwV03ZjPDRTjls7J17m2yOeo2H02uCXP+CRDCGPMZTdeL1eW9phMJcwPUuoxI9dGqdxOorjuCXnoLOaig5kmswJF5P2CO/HlGnrTngMTPpyB/1RRF2W6lv5m14Y1mEINCgnnwSFeh7yUgfRGj6/tjSBa8zWOiXjhTZK40imTfYYnH6vuVfFAUGSvs3RvzwKrUEKgL0GspA8L9aAfWtFNHf0vCArQUz9p1aCKSCk5YcdbxH7+glnUK0TZe1hOsKSE8p0xli6d/b1xoxUnGcPSC/47x6qr/W6V8s+Wngzt1TrYYNfmDlDA04LMeQG7xPU5CQAn1r0aA+bt/SU7buxEZozmyWdc9Y47YXDWtnBBfKmQZHcz3e5MHyeZzWRnpDIRhYrEQL66tnHRW08sU7I3yQQCrDCrWfUS4YMaeLxODhfl7BY7TjoJ7nQkviMb8ltzDtA25vzSZkDBC8eSAHh4OoLKAfztZ4ukNm2dR2cqVo/fI/WYT0qp2yurQKP+2D3KKkRryL0jH6APbebyicUWeEaaZuR68bUVq61TnYucJFTA6KaClPrP9eVr4LW1AkYFBQ3PEMpav+TlJEWXcaEjLDppHvqTed2M4qp7Hm4AOGOsRJMDNHM/dzAMaUePb9R8V/s3FnMy4V3S5A9GGcaERQto+G6xwGP6gFVHGIuEuGdTqbojaZHhxL5hqa+2fUI+vJOxWXGCqxlTInrJxANraewIRWsd2fiH5krh4xbX3lYRDdcdy2CEB1qGRPKqpeI7q6qt5+9lg/DCC+BZv6lIi78k7lKfVcUBC43Y2nzM8nr3W176BjMuuBIp27LnhLPMWI7ZCThtXPCqJGGTnwYQxHs79y2PtUhqO1dC1H1ozc9MM1w5IaljBfrrEE5QV+9t5JEXdRgyXvknMganpj3gC/HwGb45+90Hw5oY66xwMsmv431RssNJygMJiap/RKno8YXQYccnvb/qlwAyvSLpfd6YADjbatHVXZ8xiJEvmlfNf+hRgLQmG/MoRhw06quxqRsRLjWqn4uUjgEg6JjN/uqZkjceP0Gnykz6zE7iHWeIF2Pj/OluiSrDcryNcm+/IEdKfxAFJvgkRGixjDnRMdP2Yl3JoNh6MbX4WR8vAlEQEdbdYa1V2LjaGIxM6LbVXSpF2CYPlKRIp41iSb+trOVzSdfDq9fQ+MceqizD3jSSP4xQqudF7W5T644S9KvaNIFJTVsCmF78QzaM8sWHi22M6rCPjB8poEUCOPEbb5HS1mITsc5QIdBO23slsUTwijIHgXJthIonJ//ykenAj57bEnKM2Gw44Q6AswUd36xX+Lh2j5Z5kUVl4eXbtTGviv69VlFMZZCBcDrK5/SJ972EQmoiiOdkwQQl+/fOi5cCBHpDmT6Mlks6uJHZc/Pu1eCpeZGV8Skhb//HVQ/eJ8ZGJdsCuUV3XgxQ4cDsSVaESXnHKo1kubbPcwYab6Tv5DwB4F5by2rLAtQqu54eGTqpOnk00uKMDZRNOHzn9Ig3qcvUvj+XZuCYzdkkpoXjw/DbUeaRIO67E+LGvRrP+ymdvCEIQNwZSBK+jQ4FdGDSsjQTeh88HaRTo/8JSA8soqMFef7Ueg+5/1I+C88iU/R/OBfE9s9FMHG5nBmlJjRQnDLUtBOPYSJL8mElA8/2henwm0EDo1EeIfyoaxuOlXLH/ne7NPe7ioIZhJVT426sxebCRDsl4a1s8UPYrYVwupN4Z63MyQ928fkSZ8xfS5fMJ0G65ANufqVbG7pXZLSDnGYDUbWuO/AEkldRdFCLobsA2FB22NmsIOD2U7l1qfdN831gdo+yi8tifJjgJxsyz0tIqjJPIoyUSJTXVUX6WPacxgxrhOU17sIO5053B/VqXL1qLNwd9M8MRLjsnk8o8NPEg/QtI2kvudrjQZ5JGmuYE5LtfqbkdUPv/pGzYprOcMCgrrJExDTlraCYkdSBry4wsTekIxJeIYSNFMgwY345mUAMOWWwOpeW8MrHBKDoi6n6hvpELdqYi1WOlzGWEqxvA93r3yCEEHkLOsgGPmwOlc3OeHvhJ53gdqSz4N+uU1+bW+CfjRS1TkfNMCkwYQXuXZgmNDNUA0KBQ2KRgHo2HtcoDeqrqeDXA67L8O0hPs6QqvZGNnExM7Y8bAuAvfCkYwFUgBjhNubPe2gJarSIJG3KaP78LuGoG943bGlO7nj+1zpVSGsQvIuLY7NjnCy962k4L68uB/PMRic53mIhvbcKRHk2ljB7yuGO2Eg3MvjBZM8Nsy3MvgzLWJ9Eo37XjFJq/lO5GXyXEYdC9H7TvTCaXTWjYrYj+qOeHlQu+n94pTu4DO8am5re37JMhOCm6B1ii9T21cgWAEOsqJmwayEOrH63thTjz34ifUsXldtMFCmh2qR68W8esqRqEJOeh556PuI15JxeYNQo/j5s3PlAUJ4Fiy1iaG/HusnOIMl815SDrj8EReTIHZNAw7XSN5GW2esidL7BxtFazuzXuKcvufayMnAag7AumUp+7vMlj0byv6LXVc5fZGaMJMjFoGcHwOt8QBgqVNlylvq28G/1Q7xcnlYB8aA/5skPtyvB2izn/e0915GXcp8qiimALoAx0Sisl6eatl6TvJk8G7Y94o80vtVg7HE7SJbhWa9NvEerxC2wf+G1fdVIl50vWEvDcAhFsR5Pntr6MQCt+RNQP/PWt5FKzQO1xV32nlB85qa4qaiLFS34FNRLfHWJhJdmYeGA5hztSgIPOMY1i68C0r+jHZFEq0/BtNq42Qb/l0SQVod8zAxbeEzM9ChAVuKFZ+s8s+lMjEJ58gptPv8cCLXWQc9TgHFoxvi4oM+Evu7a6iPwO5FuPqkvFXMOqFY2szWplG43XKVs15kGbQsC67NFv8XaOtyD3xNt6LAfnrPruxp3hp+UAmE/WuDYh1jd+bakF8xTzmoF2IcG2bXmBHRPtyQm045IEIpikdXKN0P8HxDTD2PlScJkg+mJ2yiiiNoAIMjGhnaRUl0euPriFhW0BVJW2yhMMC+9v/uL90e0nk5GyRRcsTzHACfYdPihtUR/VpshlzoLHQzsbdPXhKy04opiY0bKT7PlBmsVQao8dFua02wf7L6wPgM0B6NTWD8Z+DNZv3R+k0npzUHkF/ehs4gRLT9kfqamfYnssCvWOwuFSaFqtgCH5s3/v9uybUtfvQ2uNN0YdjPhiqQFzNYAzm0coUwzbfckRsYmB6fkjWJoS3tLNPmMUOq9dJVcCTHwZq5RYijEUYqGzt7INrROZowptF0TFb7mSQ7wpbrhlJGf7p9WUB2c3HOtG14txm3yhyYQfPv2Qo3uZNVPJN7+vko91CVt6+rqbjj3yfxcgLtGIuakABzBwvgJPcjVeO1IamYBE/yrC3kJ/flfEWPLYeVXFtIGJ8+KIXew+0ftHEdRSg/EiRLQAY0a6zphu4kAi4vRwhTPUkyE3hXoIdFzg2ZqsA3HF7XrMCLBCrnbXsYyhZb7lB0TZHfAmhg1hekS8seq8FXEno9Qlm02C6gZFFjhljqFdyl6Do1opEGv3Yd+sUpAt/vdvTmg1L0iVXuTgJ7E0KWEN9FOlFvjIWD1nxwerR+ZdFaPoPLLLgq9ksM1zPxVP1oZBAyeCCbjJSbQW0vwFGr3rIfPhO28PWdJHtd4VzMkJtPb3wHVLpcvjIkxal0wZJePdFx9n93jjCkJJMD8Z0+CJOy3KkAg29/HaX+egGLJ+Bxl/ZcKn/NrjEuhwGVCUyb/boJ8mvGmy1yZGsOwCTrrwWL/rSbi6VA/g9+avRmGAQs8nqvLBsxmk+RpmEG9e/ge+01dsrgISNzC7ALZ60eeBHqb4rrLZkPH44lEmgF9rRYdtFyVvBmpRbvZtvMdpNzklFDp3ygp4p4x44eoAi2BO9RaM+wfXNqaNIeGIYFQS6SJilm5TcwHgpB6+vg9P5eBTPV+ZG+2XHoBX1gb0b0iUIcOCFt46MvidCFU1QVmVbeUd48f8FSBUOe4uQEtFElKFMNPy3LIJnPaWHztVSZ4ggQZxjATpgagle1fISEszitghls/mf0pdtXJbyX/k1u31iUMzqRPMeQbSSY3JAeNIxlebBTAOEy8ZbFTigQBo6h+AcfL9BDK4+W2wx5niAM6NdeZGJ62sMiR2sDXGYcEkayGc/mMxlLtf25OF6Im1ZaehNQhj+Mjua+EXF1eWsSViM3ZHEA7WsPlAgV/WB8FxgDB61xY4c0pPOvlslJR7aHHnEfT32wsVtZAliJCsBqM6Sb4TL23I5dY6m2Eq6uVtg3MTom3ciQcYEHBFYHc7RLWsCAQgpBRhinYsigHkrQDHH/ZDmtD0hvwMwv44thYzS4uAGO2RDb3wIBHtdM8Blsie+UCx1PaIG2nARGlHvZ107ge8CT5M2f7NbJ/W25Wi0Bw2ABuSGuCJELL6HhQzX0wyNI/7oHPWYtUoLrUHs7bgI7x7pyjp810pU8gwSnsI9oX4IBSs82YgMV5K6Zd1TjW0Ttoa5uEW9e7CzuHh3mgVP2a7QP5CT14GNeUsQeXISVn6C3Nnq6hVo+u+w1zJsD+T5qPrE+xVisIxvJsBZUdlXUbHTs5DLWU/MvoeNmBou9kve96loMP3g6O4gbNKA28Nox9osrNs8MDyir93h4Lt6FDXmowwexMFCDMo7k8q2YJSpvpwPNnvoDvUI4nbhhsJxBByneELyyu3sfQOUhEm7aGyQ0QmOpWveU44JCkhsWEscRfzvxuR7ZnUAfErxBNUpLrHl7T5WO1v0AGLEntwaI63NudhluqFHkBW8zJ0WP42FOWLTZj7vrXXlc1srjTva9C2ONI5Eh08mzfQWf8Si4ZSWtow3fXDVDcZE7yA8bM1h/fdOabhMhoTOQIS3k3GgoxiPzX736N19fOAQebOAMK0XK7ZMWHAVhWKfLqIOWzjeHc2m02QEXcPQpVaBMxMZnV4r9uz10mL7v7HSM2fnvNHSRfHCJhTynjJP0EVoIY3vitcfJP+BwxdKBmNmTqSX+3TOibXWj+2Iz9apott9x/B+sF9nvo8mow6w660KPB3J4Mx8jYou3IlpS2W5zCC9+VwoGzCCtvU5dXqKfaeq2Yx1XrmEZxFIzta+0Mznk5l9SSPOb3PBMiapy5A0roKczwk7gNT5fNghtk3AgtZMgF5P8oA0JSqGVDCA9qy4eELMwwJZYsFQgxV3aqPA4nK1PkfG73aZTJUBZgcHsJhQ/UySHtJCHVb+NWGzAzHWploQwBj01nWqh/ZFzUUak/ZL2G3PVkWPxdLRfAmlpPBi6HeKLKPEPuZi+Gv2R7qrDwJEOjuNNvfGQGmq+eHJX3/auC28YOLKSaky+HC00x9C9t5F+tDFMRUoU/ICDYMOB/ns3sfEFwRB/W76GiaF6ye1lSSghxxoQiTNSkd+05E+SnXGQWfdhXbMrykxZ6YSzIcTcJedlWoF1HnSnLDU2GjQiREMSjCLXoH19zCu3gX/pLcVI+EAFRuRDQaIpOPhwD0tvhZQZpC/LoNNS//rXl13Tk2+IBslCj+wckmPIg7yhwQts3SiHQn6BzBJIHeyb0+3ed/cyY6JNm+bUj7gZG5RublM3vEykHmq8ah4Q8xSStQwLTelNAvT+aqgWGbH8fxIGUd8vcBmYMV0nmPkLpHnpcVBabxrkUQKK+43abgb3PPV1xyU9YELRh7NMcn9ZQirN5/NihiU0UnNGxAJPddJRTRwtEdmjhnK+YtjmX4/lcgLHH6BrIygP+y7g61472vfWNF3Zf6E5NqDdT1jbM44+fI/CMUgJISbONUEcbAwndEGE4MXsskYhaCKUdtN0pZTpEIecEd9wyP2bN8295KSp3CG1tPB4RD9xlQr2pKxOjEAu4YlPe4vSMhM0zSdPNUWl1/hS/o4ehsq4MA9RgR2cklcJSbRDXUr2a5NbT0PA11qz/TTnMe94WjMO5X1OCIyyvyE7NG1cw043sEynjWK8hk86HYYmQC1LBAtRH6ANvLQwrLh8gAsyQ+3ED2aqkh7ikWixQtXm8Ibn3mIcwnmcW/zVCbr9C+5hZXlvPC8gltdrfhQKwEB/4a3F7RnHpM/Tc4E+ksnKVLHC1hkWn+u5SaNv5UZqXtI7/X0hnG6r1NsiHd95FBC+tyTBU1j+4VfB4qc2c1kOp3fYnZ+GJKNPKB1hsnlvt1xxVqSYX4vn+XSit3gWOlbjMoRLyLcGQ4+Mug60wqtrGZbYV4JIqogsGKGP5Z0mf+BCRNdcJiIYvTcL1OAuN05YoJR2mPz4rLEqjOrsOdW5AWpRFFicTHafRp/9/tLEUN2BqXKh/nnbjqkIDb9QR1K3PlPp6BmYn2vy8IVbbaNTlQhP3qHdViI2UjWslXmckpF+MAdfBmqqob5rqnZ0gJ3ZzFRzOvo/C4/8iveRj2kwpI3PL8OIAp6H5L8gY+wOFVsV66YGu2C9jiyuR9fyVrouhjkaL+6Rf//zbkXHPBbr0L4gIUv+j5YsMPgHqE0LBHcCFjWtrDjki0iVDC8fb58sVhj4AVzmOMCfNDL/esQIe7VBgWEzHVtq57FwY8HKsohuLzl5CYcaf1Flt8nVdao4Nmh+yBuYTYlTS5XUyEa1HxenQbMRbqEpjgnY8BQspUsVQm/Ia2tjD5xfyVTxKUGuydcwAMe5Ty8f9vrv+mE24+xo4NYOIOLVbjTnUgfx6dpYR6Hv/qtDE/crzxBZplc/qY6goDjHwGHwhPMwQJwRUp/Gc2UKjQ3iezRGfChE+UCocyFbqpU35/LWlRmiqdlxgza/nfuxR+X4s9lQVFb/lU+n2ZkQMToWtsfxOoQHru/scGuk2TC1b/6Yh2/sfaIjLR0di3x8MVaxvFz4JIikrl6GUfpDtppzETwXFjEjTQXYDTn7p24Ur647wn+k/ykv9Hj8rEHs6SaRbdui0WtVzpd9M/beIHg9MB7csYvjYxdlt2OHaMDcdAnwlq/pR9mov2Pf1qQ8907ZDPke+hw9qPafNbKP4qay99Q8OO//tSfq1Q3GqVgaP8yY9eCyLDqc4k+N/JRxgtztQiuhgF0LFh3wvZk2hbcdWIEXPCJ/940nK1Tx+nTPoB5KSuf0WICYB4/1oYEGyNcNDgz5FayCnZM/E3/M2i4YaCVf6JpPOb2qbEeVyr0JHfDDmqzGgak5AnY+46rgzkJ3/UXDE4FMp7TOMyw8Zed5tpsfoi+ONoHJYTW3m9/DPGYxBE9gz3Oi3D2QGs1b4DaCqPIRFV6G6i5yubG1rpuvgVIJjWj84uKaqgMLe4bz/bHdiwjTYeRHI8Kv9J7c5igMPIoZeKMjLl6C+sGOhCWYWMjZLXQVqidCZsMfOhrdNXgai2PI8/HLvnOcoceLMLmGWdygJe2iIi/U5bOHuAJAiGksYRXbP/dXNrY3n9oXs54dkdR1M4PZ4AGZb7einHU8NdNTOdOP2P5fvGJSO4md53Vf4htMk4Pj6hj+P0WSz8A709QLJb7INg1ZAf9eOGI2pGCTLZ530e0B6kgvMeVXI0ODcXlaz6+An03DeegCdL5QGMr22+UbIVKTGrhPYuM+R6Z3ljjQtA25V6kMpt5Cu7oZlgnhCcGFYdhSj0wsJRaroV2KSnidEntugm2feXzluUw2vHJwPC5IA78j6JgpHwYEqXhxKRAVGRjcyupXFkG2STtXR29jFvbfkuIbmJO2RernrkYlKKJZxhN7F/VAaKBQlm7Nuckj7FU4okdG8MruJfS+wlGXeT7RuQL84Gc3qZsfmdliXRsc1OK15UXD84quiEDbgp1KhmYlOWhhC088UfD2ZtFa5PBe+Y1sqdbM7WcQDhTOUZKRrVlIYKiyZT7sfihA0J556+gm5MlbtiE2RqfGDW+neWy2piAr0SN4Dz8YRILb0U8j6LQDtnm5x7xr6dmaiJRt2RT/bUOmClXVERj352XDRV4jvxIsMYxLcEHIPXjMCBPKwctCQTYJUYI168gZf8MwE5wuhFZV2V9W6MP14kTob+ojgWuRIYjwHd11WmB6cojvx1Z1DxWyfMrI76FOYs0AADyYuol2NTdG4tD4dtwadoK3GyE523KIW7dC81MJkn4CINL4t3ocwdO2vuNRwTPGj6LcgdJ0GYMdgnWJmkG8NlQ5+Q3hnE9URL+lReSwqL3IvkmYxgT3O/iuKMMCsveQHUpxf/BvU4exL/alOXbEj+43gkosGcjvUXAG3dh/iDv3sf/59TAfBwXTzJz4koiOaNv2lzCtJL+arapsxhTeqYfz0z2ESeZ6JWj8YeSTlWA2crrYVMT/BUalWIcSfE8cjYINB9Ay/v2GNU1K9VEOQRGStik9p7u0zBjRgS8m/V3dIX6rM84DB9wjmC+4n4+c1WFEaQ4MUJ0ryriSh6Z5iYp6IIaBUlDylE0sOQRnPZq5jKNYe95qIrwQt7mXNJTu+nRx2Zxhe20MwmA81ZTlxsRlv2MJn3IOv6yp2evi5aae/bHZuQle+heDVlMB08UUPeRRP84DZeIYuIbz/WBityl5DZ22NNbr4cvZcnaS+lPDiJ7Eq1OMu49qc2aXb/EryVUr/GnBTjO8OVBcOnUg5K2ScwVFZLqiWwWq+jlqdlKfZr8YvuTD9eqAQVJkT+E0qnm9AH5a6e9KO7QYc8hOckoz17I/DO25wpcbCsruf5WoIqSr4AQSOl9G6O030uQuVUSh35JLvct5QnDD+TumvOmx6VEgfy+YOVbswGHq2ABlSeJcJhibHZFfj035UiwG8DYk7g+ijqawsnYyjZSuGQ1zGR+nh1blbbf3sOgy6HeUyk2uzfKxOKvV3Tv/iS9bzYsbx7zeJPvfr9mH/5XNv3tu9gToQ+tjsrGHNKf+ia9wVNw8s9CkUvyGb/M7mQ/IPJO4Rx6t12w3arRVwkyTqAaCYnCFjgCOEj/4/hKPyNz1fQ7l6XbGCx7iXmCr3Bha30mbt2iJimSJ3OLNLOGCKTpKHGpaSJ10yQ72HX8nmJHWOqtWOXgZNjW1RNfSxLdhPQZPovKpNdoyS6LYm7IBJXCkY6IRFZ2hyYjgUlUPyqeYUICpsDGtEs1dLhMJ/PF5NgRPK2NUutDsQ4Kf6yyguVm5pjSxkFXmNOu+KgK29SKwXvKXLxvZ70NNF0YOfBQ+SkYa7qgOU7ixmS2z+O+Sv631KbEHKoGvs/wW0wV/kJpURGx3iz1rJ8ufsmEKzSony6jAoTUwtj3+u07WI8+aF1oioPn2YlDqs2OhgbY21OL5qmo6DbMtbMvSFssD49eTF5ns65C/P7b8rh8+6xV/Icx0D34eVxrDHSJMDb86gV8v4k4rBvATLMXNq5kBJivXmH0XTMCgM46mZ6E9ecUwziKi0zD3pU/dhXZP1Bgzv36HALRfBm/rYW+AQ4n782tpK+gr0xa+0bQzN42hUfPHNU4pR2dKqfeEhXVpw9hIbH6oT4+io4dx3JLb+t4dVAi5e8RVVtzUrgad07VgPfQxAqiHsGertjTJ1PNM+NbFvBzBQ9vddDOx7Ydx8uSiW8pQuPHcvgJwEHAbxcFcf/zm3qNDsy35CKw57G5UbHU4vsQxAvHqbvQ9aOwfDoeAlE3N9wcP3i4jK1oSvf6E2DVJNQN9CtiMs4+XDVWF0PUoXnEmwUXcchl8/FlJdHn3zuwbDA+lawnGb+kjVgyt2KlpXi008Pz/KKyVBWjTf65+0Y51P//eRkjsONvnkk7MSSu6lU5m92I6aBR0zTLYPhz/MKihz79cYfcO3YL+oV2p5kLPasLMsF2oeGZ8NuWpqGngJtGIb+XWu/Ivlyz7jAbnFsdp87n77CRmaceV4igKp29e/70oGdXawuJT1N9JpvYyjKzyr9x9BSOPjkhh4os7C3zEnhXAS0pGbbW8n9ybO8G2Fq5p2Vjj7QbZua/H9Dee7Rkb5TpeJiM1nrl7X8XqyPfLzW7dgI+zQKzjXGXrGb21P08AgBken3NlLHEs8aDovDQEXWvlyQl2MZD0iiGR1Xi0eroxdCzND2inz6zOHkJxuLL0qnEJrJ7rNYDQizu5iON4QmhEbyeaIYeZTbjduLLysbENfezYOUgaXT2vObT9VeDQQy0zLUd8MN4IKc4XGFC/NQ34NtIz3rmzk1t3j0MSx1/X1qXXW/Rd1hJe214dKTUmG9YVfP+J/Dutc4GbknLLnr9KWq6ja/o6Vva9q2A9Yu24NrU/6ksOWEWm39ezUue0vamcsPcLmW9ez0IHYlUZ4a1AQnU+4Rru0HGA7ZNJGD+DYPILpobUkAtjVylva6/V6RE/JTILXFdRP49AIcmFG29h5gWT5jpgpdwfG2KTieMhjQxXFAT+VI5sOZSHmGBzpIyrnObWSjnYl/YQLJWByMsXxEy0qdVGCIKQgzNHWXGlrfVovtgANkrzUoXKpAdBzSL+4+uPbIhXrNmf8jl9Tk99JYG6sfh2+YWqzK0eL1Jgli2fpkKi/nJZ8QeWz3hzpkZEMLworNGJJJflpweMzuhFeG+6Xbrx4yWVYX2npmFpDMl8q6Kc5j0YbKw1frWFBwxg7fz3AUBr0nnyKIDlU89e4EFXiKj6mNOE1bJyW9Ous6ZUUt4aOhlbRv0pqpIgXuRgzp2TrIgZj0u7poqmu6uljTKsa3pINxce9pleb8JQCE9mEUNb2m7bfJzB5EKWke2mkswrUKRjm4TzbvrL9xE9k6T3/1UThdV55n3hYxYK8w1G/K/6dvfXB5btPe7IRLgDzbL4q2iy+8d/aKyz5W+9PNIpfomPgSObVXviMB94RJDCkBQhc0+FKepkFeFtxoLQISxtr/yaTcB/wAMDAyVAeSP9N8NrCM4n8FWyR0qcJh4FnecWCA27DGaGeaQglIlIiGw5kc0IQj3dTHyAZjAzSeaJQT4/5i+9LecBK4G9ECbMOMDlpLwkIr3uODEVK59Z8Rqu/yQ6lCgJvzR6lB4MoaZHDWharcPglSYhSfSzL2vXqVDBR+BDkVOqhtqxLXvEHl6BAiaOlXj2vdrN2bCqsaYCJhD7eZZ0yXB6DXWU6HLE+2kE8/VA8oXScB0SJA41DCMZbN7hSMOrsNcDjJWymw//2I4GGlRFKB2bMlnpMoi93fo8cg94iRgv5OBB/VqtRom8Cfux5brOrpPtwRD4+F2nlp7naU0zlc3guEgWe4/bhvryQl/Ymx1JiTtWJJFY35TgA2uc85v52G2HhI5ZB2k2zeUwSp0jks1LMDRjMU2AFLOXrG38Bdz4tqHgbcsOkXjL5LdEKFRm7lINMyRfrblKw4gCft1gDX+8y1PYHHVzVkqnqEDM+0ikX9A/rjBJAzDeTfMkdCujdjRJQx5XAPxbG2xammitENwLhzQrcT2FCHMXMPBtv1qYX/3ax2wJ0upluGOoAl7FygLLcj/FbL7uLjoWah0PLPPjj0Fzr3IX28DQ/b5TqW0EYC4lZdcj5mzmWGcrBwABWqhBZYPdaJDU4WBdHeE3/CbJGURP8RbR3Ku4trh7rkxT363n5OpWDcy0OEOZtPSQCgYp4969F2Pxh0OMYyxFcEOpJiUdMWIDVluoXS249eSWvxXHYXno0xxzRMMKI338pqk3Y8Rr54U1ZzPAjby3YmUzKJ0RV4b5cwgkubYWuSpcTELr1oeotlu4jlK13fEPO5TpEDI52iu8dLyVXM820RntcHi6w0CY5bnMh5lsrAYOC7PdaYwFS8okWmJ7fg4okjR27GvQR/FB1HBKxmE6AuZTb2ICewsROTathllZZCY7pBwN/gi08NK8/ccjFrGTtAevWRDJpA14yzWKASkD5HFNTlARrU3g8X1r23gr2Rxd5733g8w5CkWk5cg0toV9dwJPXgu0aB3BIvr8EfobUJ+gYoGX8LisMd3v6jTxFZ+z0VwMIalIHLeftlEhL+F6wtNABn8+qmlVmASWbcOpm3jwa9cTpt+bUjAlN8vMrP9wLKV2EzLWRS/nDY65mTAiYg5hd8UcVpEhWQhiQ4+Ys7KivTH23eN6CYmzOfspNAMtdTxfLAytD/qsNjpqGsehcjRlCnxfqMV0jlVsKn4KAu5Lu0k7OJykkPbcXMS7GSto+R7/ZjTQ4vGGYcLCkX+OJqliC2xxu6Kv9CIA99G87aP6uS++UE8lBqiJJ5NZsZNbfeHN2ES93XZgXmJw7mZDjrozSuUYSmRJJfqxgYd1CfMijs1EQgbrOI+PVKk+e4iNaRu2siDkPxJnJmzONjGUfTl93aN1HQagjmtYg/9n2fwT9rTXovAg1Vrm2A6idpGioYbyNxXa/zB4HtHZBIQ8SjqSObWMS7EJTzbYs4vnpB771/Wk/yESlH/a295VVoa8oJjq33T3qtR3bdYJVGz7mDXn1mkJqH/PZffM2+Lp/XcGKeekwX0JjZ+XFMEIKE8a3J9NUp48lEm+xJ4wIAqqwYvKC+/S/Acd/zxNccZA6YPh4iBroy0521nqm1BpG0yFc4sIqqES0WPFGdLHr2odt8pZaTyS9yYziDctCpeK/GAoBu0dhk86+IRwrjiUiDiRF5iFEQJkW2rxnaiWgHD8IOz+vNZ+JdfxiCjEBClA3jsN69jLra4MY4szy1/FAWeoBoEhlhbeVBUqNoCtvs66dmtqYMM2jGur8sPpdlTXL1+GIBcGcn1bbSPaDu2jbknC/gx8S0Z0pEMdC4apWiXkc0PfTetTUPDr4q1VWdsqE5VeT3iDWE3gqlN/fRimjtZBFz58fCYmnvcAKNdwgn2DVN6Jroh6FKUXBYeHt6FBRSZY154JHRwf2u4ofC4VWVU0UNzGQp68KhdUaWAGLwgdyqsoKoyTsLeuSbZVKV/7KKpuMU7sh59OCclbLuM912XOZFYinWeR8DuzwyZd5qrX8VJeXhfF5J/6lcPCSQWNX3A0jG1m+ZnJrQTBrMXA+ERvnD3hmXbhDJMj8VK5fMvbEJyb6e1uFpI4KzOknysI7dl09UTX6MdiwI0wiZzJd8L/MrXK/jw1kx51Hj8VrVtneFr11+oQGyvHWlN9hzZHJAkntUZGCrHUtNmmZSyyg/VdXoYlG3UUPSrAKLScMSnxoIfOeISnWJklsrgQySGxMPQrDVcToSW8MlROClcQEehoCufzWxJeWTGd6IG5OH4pHyY+QZrErR67cxJ7rkLMJhI6r8OjYH4UaTGfNDnAeVYn2hIaioZYGJ9RyadjSBbPMLEhWCUteQQSISaNcV31UnRHgQb8Emr5p9qreRbxDrGqsExsKahyAqs+ChjzycOoK567mmyqo8uF6rz8jiSLqOyPoCTb8FIdTs+XtO4gMbr+yxing350PvjFKrvB9rn6M99uKW5lQFgswIS9bMH+q8DBn7+5SHcZYpPM34C1DLBKXzkrUfzkHl5En4c63YD+eGOddiehhn8j4SjDnZD0fFfBG6fKJMX3A4fQ7k5pl8gHfKz+RGYKb6O1Qme0TMFEd/FGnsdlylhkSFYGP+PD9gUZANt75QRMJLVC0cX99adwUq2pR7+ssNDxp2g9lcONGOy+jAUZnxyFyGyuvcS+8VZE9BndmXf3xp3nLfoZnkgFG3lgnuLEx9GwJEkRcHkCsRLeuvzQ5oeY0t3O8KpzsAmXI1oAnnsDeJs+tnTEubdadwu/CK8yY6NWtPB8PL3PAIWiWYXk30xrSGk/PBOsp+g6pcN/TjEsH2inHjxAr4/a562iR+F7IkjQa7iJk7mzCd0p1YLDSBRthX8czsrblq07rWd2HwUhlUlrtlrLAdYWLm7dVlPBPvupVACX70gH+NIUC/zGIxi6LTXVOBdEb6aiy6I0pgzFXBfAEG69EVdrsZtVzWyVw+CEdTSFnG3m89Xh79dIcZzDlExLbaeK3zDmT1F2ULX+kx3W8wFGG/O4j7QcXj3oyDxeuos/nRUeWis6+Xn0NyK7yo7F9AQcBVostADnyAOPd2vZR/ORqRzw7Fu68WFMifs/1MGkZjD/IXLuwaC7Sxc2vDuw4DYqtYX86BQnkcAfF9GJqM17cSKWaDWdj4N9UhTGnYJR0WJqAfShLG8X4KNwUA1F9stYQj6e+jDuUE1qJdSlCv1spPwPzUyWpp9ewBQZ3rAepJq1CO8ZGrY/wT2oNTYF8voZLdR17xchFyan8cVSCO6bm9txAXmtb6wdOQQxsIPCZ31S+vEz1PrWSykNeBHcwUIb/NMGJiJrD2P1GrpqLruFNTMyg55n6sgJTce100ZGMGznrZykWRcF2fFawWYFjPRzsnH2WACbEhD25Yg2Z/tq9qiTzUUK0Rf03rxGP0zmYzKDOisoIMf8jxC+Suk8CSQp+zzLpN0Otskln0Y4WCiwCwJuZ/OodWp7CjBDzImyt+eHric6wkHgcT/4tyvqYQ9psTBFcbKffpuvyY7yrrBsibQbtO2DVsNQrEcCTmxVnGWmoD/8kT+2PnDPp6fM0RHhqVYyBGb4q1vw8Kw2wbJDxhvOyBt40yDnJBehXBcnOESDBpSjTkVVjWUqqxdL7XEDbt0yG6yAC+qRU3nAbBYxmV15GNZBFUtDVqf/Vl4WVPRvtGJoCrVxlkxg/v7RNqik9P6qIMztPjlUs1tTaMQ4QaBn6ybNrLj0ynNKVmy7oiMSLL3NV59L5s2GHr0x/ZZXxZ8Bj4WiLDhU07ZEwFFS5MxI/sHlXfstzSsa836iVSRpT5UU18AwD/2xm1kErjI85J6ARNgtHepqrYdwjVGmZy0GQLkU0Utvg3jTvIZJjibwAD7yADA3b5gmDJkHSC+mOzZoUqSBkwZ1YbB0Ddi32NVgbDVDh1aMUXTMBUEyv6jKhqV83fuUSmQHPIWmJ9hFNQcbFjm+gnYhnD9fsXUFjk998UFCsnVJ8/nrd/8vuvxkVIaMo+d3uVQ6pi4yYaxaig5i3i4OYIdmJaRK2X6+fgCxipy+apiBq/H9A6pMOn/VuTYQHGri+5IDY69Drv049WjWdjP5do9Es0tDsl4WQP3Gmz/xdcIWPiejkMBmNe8tL3GtN7c0SdCnDVRX76u/PYqgcitfwAWr/zVvDxhZ4BNzSdoNePq05N57HfCZEiPl5wDCwQ5xDG5wPgPGetj/d/fdFJY2GhATtG06wB+uONK+wiwOtYObwQw+vxiPwN6wqXQmF4UJIrbyrNtrLY/u4hFewDupAf9apE0k5TskiXCys+GeFxV5z6gkhQIL9JcjUzq4WRRvZKghw4aIHwd7UgJZJwRrI6CrSBsy/x9hpJJ6vF9W0HimI4kmTnaFOUgHes1Jup8Y1LU14TjRLymn8XJztLO94ohAFXLVlqSoCRJCAhLxG9DhMXldqDQ8pPMRkMtvpJ8mMhu70eLN2itmo6IwEoxjAmuRDEC0SZzlvFKxgI+c1ZrnrGbPO0211lmhCN565uTst8jq1TuTJHCQmIT2Clb8Sr5adjwkJWqNdl0CdUz6Yb46WVU0uUgPyaGYmbe7Tik8MWDU8EUMdzoQ9YVKNqR/yzSsoHVPHJzJ7jCYKfQMl4/JHSeNrbQGsC8+ohHTrakVcy9zGWxAexKhl8iZYHM37iEVZPMII1z5O7xXSzS4gDA8dJEYGsAI65onhIeLDM4OvGBmToC5Vs1uwsCDsxrXReNA2rZS+k77YFjXv8hdrjqmoZa8+A3rfMoaWbpp8U3ED/Vubl9/3x/egSLa4W7LJMJOMpTEgbGtEU6teUP/QJYyr2AU0PzahETvLQO877pQlvVhGHqGHEEssV3JifpkZF7m/dBHOqLjrCpZ3bh1QAjCMG/wZrV8KT8uLR7FXYCnnf6P5IoXTkD5bSxHyYs7HlZGXsRlmQtUs0VuU9aoJupTZhxt/yUi3r92aFVlSLzYVNfQWNLqBgTfEUxaHAksbQIstJfG/gssjOPctfn9VxnV1idN54LyB07cb+Yk+2NM+1rstJy99oR3Sa5EUVgOSk30VpMTd85g7Q6WJYiT+dUEMMcgM8PRxyVEusZY8J+ccR4wxakJUbwKG9IrrMXOtD5FrhPBYMYmvot4yOazpomtCVAKbBBqcTQ4LNHUunpDG2k/JBJxTajg/w4U9hq0W3DCYK7KPWjwGyZD9li9+4Lz6Y9czAkV273Y44ltkrzh7PKWhgyce62YGuYCHRWMiCOmAa5n1rrTsXkpom0EOy0a676p6NwMGLCScLlrH63lUtUyimKg5XKBsEhC3iOSChCcreGXQd6y83oS7RW/On7YXDzn7WLnRx0AmkdsIIBoxz5ndhRXepnXFJUMeDKaaHLiwFexg10LZLDJCswu1gAPli3+PKX24cMnW7+hGkElJUay0hBZC+gOl2VYT1RlXiH6lyUNCS3V49fkxqSQkU6pqK5GddvnZzeAKeu2WgHnfZlDS1T0G0n5WKiEaDGQ69k/6yKSkKfkGz/6078BKTen4a8cUdsigKd9OtDi/pmpnebQsBzAF7/EQa8+6Fb41HcX+U7e0kQSYoPqmpRGDzgwRuLaymCbf6+mlTLLqUtuSnc+EFcsT3ilQbO+rUIOqGQywchPs1PfZZLYQIFlyyWgNebBSLTUz1d6oqefqqqMq4mQbM6sJI3oQ8XoEcThM3VTCCvJs4vVRnn7tfZ5c5H4hmARH/5vX4GJ33F+dlAj3XJeZ21oLqcXEdxkMmAn6sxutWQYO1DK4r0l41iPjaDjFqI/ZY7LDAG9RHu7o+xN84lY/CpLD6TJ0qGhwWKEUjCrl9iWPCOU1O1C4paB0c84kDvIwQ2/Fo2ML2yZz+OqFPHb2XvcO+DkOCpd5OH+2bFRK/7+B2btvXUtTsFB57s/kG3hmuI6MnpXnAKQDt3VXCbzIEYlHFHwD8iSi+0I5bf8m5sEy24LYjpO1V3QK7BJ5RvGTXf5MS0qAwxhiLAJqeSqoRFJH1KkgFdUBu41Gf9RKbpnYmgc42faz9VNivX3X8zog/qx5EdJY+T9V77qRxOFlLEG92byrqb6MSfFrTGOGpAJw8RxJqxnqBFhuvi6zdaPwFXkkrC7UCm+wYYv+VNNrE04h0PlVBgwussxOPzsvsa/QLMD6VvryJ5LFT44+KR/zMtXGKJryjsO47ZXlsR2agNB79duy0Tz1EifEgQuhfZdPUjKgolJxW83Ev7D5txmL8Z5YJT/0TwAhdVcOkKu+fAsYOm1h7UYQbtLkKWff7BGQFzsG65h3O0Mot0z9J3tOUbC8Yj32Dt1PDQ1sxzuL/H56kVN3rtjKN0WjYOe8qXAEZXwXBXi0kHAtnpbUUR6bbQTGPmqrmgyVfYt+TdlMRI2ViCj3RPYCn3qlXiUL/DrE+8keO1M6dLCjNh63uy+NDTwj4ltO0oklW35/eNEQCL1L8zq1C7pr+bYbDtl57dIKBjt80VwtGPoOnL7cqFiDmJzCy8hHMOV4P+kpPNBtcZH5AAYLdnV0Vg35map+2lDS3cUK3bVWBwIi2wHgKBi12Tresu4kzfTmvXvmiM2TDDWNf5UUhAfZ6+Rsi/A55xjTtbAvQcdnZVGIYsjiwOwaj3D4fO/TlgAX5a6JzEenbus0DFBlaah3EJorItM+HF8NPkcI2gtZf8MAk9HzXE+9LiTgNANeQHnwr++txKDMuUkFat0/OzdOSIiENu7JavYx9GR6QPidAj0irk0iLsHtNTa55uYS50Ju1fTf79Uut/6hHhqAmRWLUfYwdtkHgSfboJvPqpS5EMBm8gvHyAKP+IUsHelxuJynVBELnlWUqTu1UEFEnIcgM++CrZ23WJuIlwNf4qIoq49J2w/qMBG72S9bz1/Lw3RXy9H0Zg3sBkv9sZOKR0g+L1tUyQspsOuZu8NGOkCbjKwz9w2JKELCAHOKsZ3plUrtx51F24VfiFes4hTITUC55r7EPzaFu/Wg6rMzyqpxfAYwQ/JERw8gi/MC6Y2XSeV5WVOGK9MxfTjaZCIWI9PaWliSdMsZ4mgPCjp4WoONVuK0itVZ21GdG1U/11uxY8UfVKo4megfr25JHurbCZHPkZILI4iOX/odC5t6kOs9aAOskKjrWwN8EVVA91tFn+d/h1AQReBWwMDEyrUug2Cg61pe6LzJyVuZa1fWAqKWU6d5fTQ5TPFzjQdYHqr3wONQH38vKalTjmVG5CXDNvKQBe9BVSKuv+859xrdjJWika7BlAklUQT+0ohkMKmKdlOTT7Ppq3oXDjA/dEMf2939gmt373qRZ+GwjfxAeIQQkMAATP3y/kwkpa92mVNvHELq+l7jOR48P8iBFlTf/g/KSDg4Td7G55XHOpSIIKLMwcHw4HgeoLaMFa7I4ELC05XhTx5q6+OlS3CXRtOU6xXd5vB1YVVLAgBxZAbJkSJMg3ddmC3norpbrFHC0FxbFI8sZ6Q0lvvni6RltmyhY8nFvTnqmTfkYt77jJvpbIlC7AoB+PfWk5Yykzt1gMVY1VA/pFfVP4SnQYAB0YY6ZUUP9dcYnaAFytEPqWxHnxI/GfIUQwKwFLzOQO8EBxdglbVrtwkeYj7dqCaiHdT2VTIknaixkdW0VTD12Ncsc6T9whnWST2AAhzrr8ViXzQKkjibDPEsfkr2k/B6ayyceLIklBq2eDyoFeFf5sBcfKNxUEIGdE2qzMffiQ7pjfDWrvxGsCdnE33B2ncnGIRSZpjqfB6cZHH+304vU0qJFtzM9KlzXUYuvghl2LUNWDXXmbiaxveM8EQe/727qO9eCF0+ExigFpWrmfiY7DICEoeqVkgpu6CD1vkD81i9m6gHV+iuB8EEfvfFOu57LQYylq5FPUIzzxWGAQBMITPXTl5tbKs4hOzjhaJyRY0uyfQ+Vj6gYtmGCeU26gnFZBIvjJDNVqq7yqB8aLzMMLQk30Zy4hjO2O4gg5bF5zSkGeghusb4G6sEF5+pY/Fqf0iqjZm7e+muuLULXR756qRD1h4vwqBEQIYx32SO0zIjwr7hsxpst+0MrFdaaefQ6AxeO+LNIstvT/sjcfoLMcmZTPjioT/zmxWGiIBP2OP32l1+82IBv2MLTkOgQcsk0DddSGo7MlTgo3i8e+nst5omWdY6EaF90boWgsItV9k8dNa44mW1EdRXJgQNUopQJqhGGlOjHBoNTzkJ72QW36wmr46T82uUWnzMazOL5P0ewUc6kU95KcQeB6cvA55vqEsfca/M4iPEuiASo5Fj8/d+mrx1xpTvP2xln0JVUto3vIeD9zbaj++WeBA0JE+6FD2jJO2t581Y/UeEoW7TxsjVul5EZboxow5xfIdRKW6/9xayq69XG6LzF1zO9Q6h5uGaVonwz9+pm2c40HF3KD6HckepQQm2mSk+kQWGtOXcYu99W7/G//RKHB7A3QtRs7jLidV5NHHhLHlgQXwSSHOKyUCH2492zLdBms07ZyDPO1coO5OnERs8j2Rqe+KfP2QOzK/rvDb3conPY55hf416k2MqxvTcoIzEQq2N2p/2zspUCQjiJhJy0HG4fvMA5GiBM7ZId/ZmBdLJ5cxsNYgyKCuQBgNpgtxf95V6iSVNwiXmTxhgHWhcQ3duIaVgpxQfLLr7tGOPhhqh/8cSwoxmBdsgQGX3+HAYgMzybBXKfEaCbfPT5Y+5SNz+C8ZLdiTltjcb0q5wmCjwSzabGydeZgq9DMxHSUc4mmFyVZ4yuL3VRYgsi7+5IcOQbohNj8+cPqH1mwtJh1MCA=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wxULrVkzG4rF9RbKKzbKxLdYiEz2sSd58PlzKQt2+53n4sMR8nuYGHfP5r+QVWGeh7TkH1wtHZ5zxvCCVCEjSMs0qeV6zIdYWsCCB4wiHHWCAOmBUGCTAUd7bZHV/Tw/iiaghxzso5Yi2872Nhfct63xOI9lukhby6qIbiHTS/GbnN2Aph2QhKCeleA0xl5ulukzPCZP3B9xe8muhWS4YjLbwQwfC2WlrThceyp9owsSVI4e/CGGoNlOrgU3sYDEXs0Dk49jxnr6cFSdKmXrXjTuYyJYPnuxxKsL2gk+ay3PaXUnrvBNWKnuvuX+72OmxavdGJHl6eskCDkM60aYnDRkeA2R+lr1Nds1CsxrbRvF+eVyA2c4tKX2fbzqu5AlAmM4/4EbtnyYzyTfLNkWiSrdA2Hhf4Z6ipmqfGH+tXcHgDk+F5YJmgLgh2D+tvWq/Nh+mqRpiZBMukwhhRLwhTMljawXIoYx9Qqql6nb8sHU/GH/eLdnTNYxwlho3X4SEIz8F5xwhQZZsT2TVQkeJ1OiKHmqbp2BU+Wv1YfPKsLsKKKy9tJA4ruddKEpQe/t6IfyaaV60Puc4pLc6f5maDh+fbJ5jaAskg1DoSh7xdduw2kaRQZBQZ39/AZR7X8uqdbNuywFB9UxhXiYQQcPPDu78ctADeRuvZ8sM4YpfmrrJENd76hGNxLrKey0ynCIEn0yUM/ksQqzUtmDCGWx9uZIbjiuD1h3GQW4kUyLnsXcSr8+XtM0R4IVnFwAD8eWoKDxjkfCaGnEf4VH73DYq96Xm75eN5hvM/cYVEittfzvYjoAbOpk0W0XpN0lLfzMIYpT3DjUkIvZ0fN8xzUXqG6GXbHUbz5EdHt9xlhDZu8QDGI/HzqBgEvJD4w0VgUGjD9/iSaa10g99bJjGB1HDkWARHhU5+F0ucHbsvYtIYo1bcKfBXiTMu41UmCgY+lJ3QWudzumCQ3iCKwQJclSKEIExm3DQZvIp9Of3Qadm0T6cSJFJbbxR5TsiGwc9pr7BBQtxWzc3GSkqiGr2B5GGAT9sMqWOdKBG8Gn9kSO9DkgdH9pGnihmK5SPv2lQDwGV5QeNGDgLB7ityPa0sylQn73N7Dej0pgxwh4aKLZCyS9XNBIqNOwDgVthPlj46+pou2mElueIoj40LUjeP5cv6UTYXRSQdj/NYUcdch1xVfFleeiJV6RIl/qFuMapV+mvQ+50rxuQqxAqfF9J/9tlVAPCY2/SDmFhwoVi6uqvO/zCBiJo8Wxp9SGSo9cPISLgZfhpMz6D+75NzGEgASxTg3gdiMs20py+rp9aPBFElulzdmXSh/Ey0QAqP6Wzzlzlf4bP3wbX5pE6e5Yrh2O5NcduyB4Iw316pzOZ4kyOpMoA59Kn5c9o10sQyTa6NAk0fs90bJK9uInmYlHw9Ia/J7jbRo+Q1xjNCVfFlKIRVOIDt2KxpkxuPaf7EqKG2q4eJAxddK8hQFAASw4EpsKCDbF1RM2rEeAr1ReFtOHHoxZ3zSrwRKyMZ7CEoMqMkiYtP5NlDjVlzMNsv/BC1NEUaJqhCeKE17ISSvo2HLKhNhC0O0XN84X44y+k8If8E4xJrltn9eOM1sfQpkppd9fn7uonOsT/VoXmXaPYGtK7VgEucXL/L0R9yHlbOAc3qmsjE/yJz9lI2sr+ZTqK8QFGqIwcHw8WC2I0shZltV/AQ0KT9vS00w1eHQ2/SLd5rgVjAPPmtUB0YgbUogcDir4vme3gD0a5Jhk9d2bMJiUwKof+V6t59baDQk8N3vQLgfhM55d8mMTn26frh0O0cXTM0z0a14wtj1wAlUr3ZCegnUPDTPrCI3bXhgqcNvCd4AziP550QzEGdvnMuHjBf7038CIXomXf/kQ3fD+7NFAToWd0Qhw1HzWxgxgeqCoo4DWzAgeRGvTRN7VZ//OCHVZt2Lcct4FoKaWsyGfhN02GsdxfOa2Se9IBJehlfe+l5eYOLZSTSue6td81CZtNggKsEnPuQVV9++pEcROzOhzrwAoaLINigb1Z6H0fM1EZEe6c3f6yVWl2UFdp7pmmb8csyLEW0jU8Ird/i0DaPi5ZVxiXDJ2qsMXYsHjac+DTWx3vaPahkmxLH6PnCjJwVqSnbmLWua+1OeYfi36O3OAcit9LQ8tcb8f7QvzifYG4isyMZ/5aXVHLoVpX1o6RIXon9n2zi9vuG7hcSSZPr//aEa5ot0A3YmkkZn1uWY1QRILTxJbSLDBeTyHW+fB2d94WQO+4545xftaQsHUv/aV4otUleUs/0/XhDdtRKrg0ysrob+MeT20EQqVsfB98btduKGYYkRC6KSiXA+ayQBIQNw7vrG3554SLhY3jJhxsgEeJiXAGgZoBchqV5Q+saWBiLcfQgx7ZxT7K0lBsGOVPJePMglK9b93l2f4mTDMN1Duecb3x4At/2v8kDQjicJvb5xmsj6YAtb+lgn1RjWtGIY1Evgc3LlUwteUHA7fG5BgyK5y0R21bHq3Otd/rZjPH51Fga86DzgokGIuhv+pUfApXwmLt9DM26SDfzJHxSHdEzqBu/rJjHjnUDmddYsWv05JnOxEex502kiij/AI4lyaitnrvN/9xt85gvr1GHxVnGazURQE4q8rjM2ef5e6B6rHcRPVCIX0sNa3gNOV8jW5y896IHuPKLMmHmOtUqbSzSd+rgnmBi+QynhsUUMZQ4jSotPFjf7VFyTwAHerYZKgogpC05HagVFZb1l2OuYBMpSW9ssUrBcw+QrEPKeoYGvqPhyb78x59UIvNOLEVc4TxsSNxCqhtRBd7RIZ2CQ6SNqZRKPOfKsoYQYlXiZGE58dhAP8Jkxg8dowzjqZgFojclmj8yxmvPzPWV/CAaF6SsT37x1HxC20BDHXem7TP2InKmmeCWovd7am7Dt15J9osAInvH7qT1HSvuOnQVMt1ygdGQHJuYlESiytP4HfuPkiaO2ddKF9IPS4IxgEzLu4uz4b8Q7GZwDegrUa47kiONiMksaLyDrWe1iXBGdbV7Dyknk8qW5s77YOPoikdcYLXDiS5uG2YFPZvpF9j14rIaXEw+qXNQhXI6XxrgllkDY0Le9vW09NyaNluPBlCL0m6n9ryvzAmOeENwCho1I5Lhb7+ae4UyKT2W67p/LcXgTQIFh2FclpgJKFfzLiIcP0vZcKCCFASDHwRLQ420BvNkGmWLB4seBLRCJtTPjWuRGVVIpEPHDcZ7jgTRvUOQCedC9HNMZFRF0a+lHtfJB+HPglTopEB5wNuQRh7czmZ8ka6LdFqbSzDTFu5rcvlE7ajQvSDgx24FJAHLXM84KkcQfQrahEmcoBz32WUpsM4yuQRwzecgcdxVzDBFsmu913XAwPBGjkqIzU0qqs7IgUacGaLCbx7DSoawKhtHIyKDgjLn/ZKPwWsbswpiDd4bCa5Yp01lQFerpAyoi4Pcnd5ud4kbs8hiAJ6np9M2Phrp8yzXhSOW19THi5+4UcHHjPJPNsozwWzUVSvsEIx7snwegQimJ8U8u3uNqRL4tzrztg0syj0lY0JsmO4ECyuIqKOjQAhNayfuqbt9INnDvuspB1fRXmTR+k67dLpZuz3UkmHf/rP1NzdHew/5xf8s1K9HityVA2AumbvG9iEx2GLzTx6xO1SvL9XcB9F0+RzUtsp0+aH1TmbcOgYgfY1UbeMCJeL/DHZAGVhnImtCGIshVa/659gCPK1K51s3Ev2W5cIkXaPUnKMSyMnT0TZOmLQre+end7hToYkwxlbMNZZnb1Gr0ejSUhS/VvnCRR6oy4An4OAgy/e9GOAnnagUwfWM6AS8W0Xyh0U4fBSEVfcWUaLZ8i7l+WnMXaK+9Aug8VMJsyOwsmDWpDnb0XZB0NeRqIbGmn8LisvGUnhybWIEs89lx6+jhcqY52DSFX2tzvx4JWVHMEZ2Rn5DUYR+oxN6+dcpRiPmeYabpz6eCKPyWxbScRNI+1LFRhaLib9JZANTJgI8A4F+BktzoB4W4Di/qVwPX3y0PQGgpWrJgN0/Cwy0jXjN4jmPia9dq0G8SzD7KLsFetaCCeT34keHHrpZDSWjivaRwI49nmJfhitoeWUr+heOjKoRZ272Hsqk4o31t6fdIiNbhBuQpgZcO3VzSW2594C5/ztUhJzh8Gve5E8CYYYnOhIpXVVQEAS1hR3SqujKsNS0fLND6Dgj7Ymjg4+Ril72LJd3ulKNxQkS1waB7G7af4k/fWh3gUZcC0EybyBvzSB2eBCqJH581nJpChCGpbJqtU+fQuCUx/IznA/tdcl48q8aZDzdtN/Aq5ZWyT969kBjUNJwnHWdO89vy7FLtN6bLBxLWaIuKgAh8F+fzp5GnM5nctoqULhyivpl54VJ6FG8K8006594WReF/lBMo8R6EqwMb5R2/eMmdJpjL4l1RqW+hgKpfPb/pjwMCkzvodPWtwUrWgvhoylo8behlsTKMtuY1pmyLbM8VP42VWNAOHsn8SmquA7s3eB/JaqIJQnQddJPPJa7aG7bpr1h6qZ0EEhHJfzMlK9BXELMMaa6rm4wg9iHlqtvZ1+MSX0FIETMbsUc3GbqyC3trde/hX+OLkIKz1mUMuI4+C9kK0Dnko5IJt+9vfaaA1IZam4dNAvewVjt6ZMHNcBa3TAJUe+aice+mHD9l0B4ct2bPdFV3uy86lOwGsNRuKpKhLcpcIBjY6HCSpZU2sstZbJDUxs4R+8lk10is5vMQJiIYDmpjAdbVxQLenida1VPsd7OK/oXsMZ8flx+xZtd/qp+X8a7alUgoewFDv1fhmHEst5WwOihCBjfJNGjFw0J2fNipsOXVgUOkhDCuS11L4Hxyy3cEtagnLC7IAbpuke2d1OGK+VbtoseQegkdOaNrEDublG0UeBVIqlKYmYXEX0JgrJVrkZTGpi3x2e7SP5Dmw+/vZSSslghu+i/GVckxnuiukZhEJ0PgpVQNsOeVD/UpoMgpNARUyr7+Ng/7WOn2FbP9N2+3bOOIWBg9bjE0+hqNQq+Ar4g/+ER/zz3aq/McarBFEYqtGgf7SbItzgCwTLUI1/x/wnPOvZ7CtMgrfy0GkdDZexBtyDJQI8epIPUKB9xg2PZExGr/U/Lm82l9SQxQdvC071ZJbjRgMeHdYrE/ZM7MWy1DQwm4+6Q/6y7Zx7wvkCHs5FXmTXyJuS0pzYNTLl5Wqokzvcsrqjo0TICYC+gJTIzJuC0Us8PRsnVlSNZId/IVfLQdgLdS8VVcEqSxbtyc2+6RcOx7zM5BADkIuiF3t3swC1xptrBcI2Q1GszyTFinXSce83SbypQ3dFjNYJS14KAWn/wHWsgwdGRN+RJeJFVuh3Leq+bZUZu96xDQi+sb24q0hz9dJKV2tEc+e933lI+sHZDf7C4o+j2k/uPiLhZs6CeG//S7ur4WmnocmgyrwmvB6WxCovfvyRbWgK3rcsFffCL739CIx7tF3ym7RY4U+o9VNXUK+sC+c5THIQ3Ho25G5BhpZNcoEXk9x385jxayUTUqVxuoUnYJDouiCg4ln0UU596atl/Y9DLJVKjFM4kAffB6pULg3UqQ98cpY6aoEfVRjCGQowUr5hQK1WXzPAuKYBhaza1irX+XRmN++nljBRZxb+Lpl1bq8NvwOcca0bvb6t5ibu6cANusIRQtbdJbwYvG2/ksj8YKLEAndug1YEWRVl/HyzRyRoGEOOJUkMP41BWnThrDRaDK9Jm/u53mZpMxfrvkjrLN+gpuiXqEhpD8FmQ+/gK4Ae8mMaXIIEbssHMKWgChCUuADRA4FdR4FqmlhtSUx/yOOF1HA+/fyDLBOok/2BIBC+17jW2gw38lYoBqweVlCSlc8COkjm3BsovjRV+roFPlJLew5N8L8YJJ+60VyTJgI6LCg9ciVZDID1aWugVte4Sshp7k1eDTaTfEXVF8XOv7LtMxt/6KgpPMkuSsUVNVGCXoL8LGgHrk9BIVzyL++OY4eByy6/RNrOasADvTUr2zmxIlME5Fvx4dMq539CjfrZl3zpqQhPB++53wEO/uYPMtRrUcmpD2KQYkoIKX8uSEE4IFSfz1teO18CcvXquNbmugcXXvy6boYc5feluhHUAa3K6kmrWLh+cJ6283G0KrbWELJnHc7qzHJ9yNtabJf9nl6GooCdlToNPeTFMnD52nJbvPhAzj0ChC+S0Syk+y7+lWmGrtfRruvGpReJUN7u/Fvh7uditTJvdVXUCMq9mPtPWIOJjZ6zqR2mhgc9cuc69LTjvUabLeY6toNBHsyU4zMog9qh+Kv8iyl1xFz1tlCYQhw1EULAsDuQM34+/7hozrFjg7eUF3ia1sagw/rR/Wrrlx9vFNQcFXOg+zj8pmGTBKuTUlW3MbxoLQOvS3qMIjNeJ1xerbpnKfvvLSesWpxQMp4zC2vlIROCPZo8saeSMOFTGURXaQnkRNBNBHy7k9szlzNKzzRMmZnkP5u5OoGaGeAEoO5PyhxLDodPwVkgddg7fROc7fK5Yn4g3riP8kpl+icoLHle3KDBOG9YRTaOqyH/I+2+f06WJQuhzBf9w8ATIU54TrNKncz2z879tvp/ZoZsq4U7UppdJ0xEJDvjcicXYUoaSxK9hGxHEyyJPskKjjDvBkCMmoJejqQDsHxoptfWSkPxPEDPWPDBky7Mk2iM56NXcPstX8Yt0sDS3uC5bxMfOQ0ZQofTpucT2jXhBRNZeTh1nJ2T9eKOC936agjtYwuXkb82Re1QTtFadRfc6TmzBQ3IeUmk8Bw8yqH4gyvXFYO0Mxjaau+4blvxILdv1DWtnU4RnE54HUN8y/Hh74VPFcJfNyOw7qJo34AhC4HKtkmceo0myS/IJek2amWISI5MdERWmA6YQwtJN0Cq0h/0e6X38jmfiKkm1j5PhccSW4PAIQwW+5RVFnadGlV6jpSvTvIyvCgdBMFxHL45OdZGVeafmG/rPMhzbfdHoGUcYteieh3GS5ppqi29lOK29Cy/IzAz1yk8TY9AKPol9zGJDEb/RkIakpf+jFcx3JIh+JcievP6khx3S/Tp7WoIFpXaxYtJJrLnWPCYHPUvsUW4OkuSroUwbZ5AbWF8kPP0KLaQnycs7M5OQzGxpUgr8D5XYtq7sfBlyE3d9E/y3IDJkwGTjXSkeKCAK8eTAbYFD4R/+pKw15rDdKfsKdl6U1MH1yEyMPTcDrLfJvhh0ficO+hRTVZD5U26a7BMO+7jwe2czw75simNxVaSjy6yJ8pPmjF0gL/UGlpshE+9MzKKwKRqy7QIXYjjuVcEuYKqsUV1dGYi24Od07ZaPzkvbWLTzooVxdioSLPPyns7bnSWQuEcHEWWxigLsfE3rRMuFnfghIhOIehk88rNoHH3HcYYK8z5CxjajIyXYg7RAqoV2E2PvjViOyppu68P+nFlG/u2nqFAAOY32IGrhCOD+YJvi8DbV0H+1iTWPoouSMmL/f9+WNNh8sopOu7+ri+k3Xk+ytDmifWlfcABAlCoTUJct1pLi1HWsZM5wv0AcIo1Fi0d57uYTJMY6P9x1DILvUIH0yNGZJWiqrWVt2+MI10xybGeS75PUYRHpWNeew6FeRPGtG9P8zDb1fF31YpAz7zgdJjnRHyI2iPSWrF9pJwlBmqJ7gB4R7y2MHeVfJEQI0ti2r/pMSS9ISWoy0kzZygKQKp21xB0ZBsxBe+8I93QEanYwJSi9MABsxUmAuh98d8wTo3l0vDlzs/sWtuBq2PQvR6/yqmFytkj3zGwGbLn8+ub7eHgScVrCHOUbbepIknmY7TbXlaZMa03x+rvRLNO5C1S3AdaRpSNoGC+BDD6yODhJrMcxTMs/P7URFa8pjqWkU2Y38lHNjXVMg91JeWunN+B4Kenihhl16UP9+4/wnz7EcVaxQANI0P+NLrY3bZ78a4ss76BAVBSrWLE8tvdAwjDmYwPa0xOsh47M01CDhB/+mcFHR0PHI1svCfQbdt+YxYxD7EwyKKFBjx4MxQceFpP973KDJ09SJBi3t5sf1Pc5mC6blpFkTu3L8EQHfljsq2QWVFxgRst52rRs+wLLepVra4dBYjBprORKpoYu+iJFL4G8piqpO8f8Z/s7c0BmEQmTxoRnCH6uxGEMXACvaZKKrKE2wbs8vrQd/IqJwujYxx97+ZnVmlC0LjJfUzSSFIhL5mjIM3eDk0CuOqoAjVYd2EeEPi83r3J4KxRlegIUIKN9hWF7ZytizyoyTo4PdHoQh7KJliLTkIZ4Nwr745g+sjIyvPfNbhfxYNCcQKIGKTBctAz27qN8JGFnNyMpEjL+7GRe1x9tdTAr8pLKj0pSKwNmtFL/vPU/r/2rr4XUteeScOGEyDk/7XUEACzfPjjfvu33M0LHt+JCfr3xqUmt8VnLMzANsliJnAl7X/A14YExRAM8Amf/qYO76qno52M/EDcgFlDntx+4iv0Np+imAfgTpUJBfx5fGrPjqdh3GT+Mmq3LNp9vJAj524rxf1qVUt/TsyQAIisqSzrJlVmlgbLprv8f9zLhb3vqTvDImsm9dEqhQCQQKOicOV48O5g6PywLHwb2oVqiy1R2kfkz9aArWAsmcIqwBoJR6QLel7dwSC1uv1vNUg0Mw9DtWW3Zvpg3yvnZGNUP2rbF8OeUjXdSLDcah4p9YPDMJauq/x9CGHPlBuNdcAXvf51bgJX46vtYe/8hCbh5T00sC4xRAw9x/OE9mXPeIvcWGEvxmwGwlC774G568f7N56nINdGA2Bm6h3zO7+k3rZSgNT486TtvjB/A5kH73FsoHJkcO+ynpiblAJcScMWofOryO5BrxofcHq4cdSpUqhgVUQLpcAdWQXJ4il+sw/8QhMf0G3jgaxgn73nfa54/uRSnXiOxwHqCQRsW11TKFbmqaJWzAroPk0WlStvdBGQ69cBguW9OTV+v3LeNuG3BW+MUpEn+9gFHM9wezSjrrrjCYOxpTWsggVQA28eFWATpYxZQ3+9uHvQ/hTMCGEJruYPH03qrWDWV9p/Vaz+fe8chbXCy8I8MPcdUsJgRPY+5Rt1zuRssMgOsuKPCcyb5MLDYkpJwpJjKpGMeH/qRfBw4aOQI3N3jMEgrbk8mBsNPJrJrLmPeMIhlIK8TRs6oY3Z++XexwlqO6Z46dS87LQhelZ1zwRnJ+sGSIE07RhJktUNYeQjTVaQflqvyiujGMLDfZ4ZH9nOs1/ku/3pWsfUsOKJziuzxEed4HyOCX0GWhYYb8nahufbq+C4JLRmwmNS3HBkLtQcpBrkdjVg29PeDv6JheecWldjLPxzKEjU35anX4Oj8A73X93ahvVwdZWY2uPg6gCJL5VM5AInT+MzYXOa9kWpYnCwCx5KBUhCH+RN1O4aeHOTt+WXMLYELBXLzkDmDtV/reTV4jShHInsPjI5SGSUhrOHm5ZomgJ4xAW9CHc5SnhH5C7jwBAP4fygGNq2qgt246Wyj5Df/QNieVGm+QPc5Hw3uLodSADL48eHiD0FVr+Z4SAQfSjWuJWOtRJAXr66Pd2P02ZCxfIMW/i/anjSkGrbOYFPDyXptUNqIGXeofge9PCmxztfPx6IHHp19QAT0LZOH9FqlslXzkIxyWCmSD9NTCHbU01jY4cySopDQKBxZCP83qoOS0+ZqDT/DArojiFO+1OYYApllAonNcHMdZ1xHRwtq2NfDsGCigw59Zplvxvko+AJI70RG1Yu3/xlF/bRiajhbIx5oS9BKewF0CTqR6FznGtXpmQ5ofD43bm2KerqLm68LlyjQ1qbyIS9yIpOcLCoKzFhttRCs/lhxIZxnVWYP3t+i9aDmKaUkA34K7D3BSyveu1b11xTIDHqgOLOmG0kPSr4JQnJPsBGoTcGmTgdMxyH6BkXKGZpNwW/H7JsnfOA9k5DbsiBF5TT8MVb/uC3OiTKWRng+uGTA5g4Z5iIIV1V1oZIDNVDmOYwd1abhs9FEuWiPmN1eUWpcHbtfstsSqqkA6YXZF4wzLvHEeAUp+l1QlBKUUZ4zKRIegaOjPattWanc4jKJMyMkvcHLKnHDnN8ZFeU3UAAOREHiRZzBpvgMN1ABADpsJ88mPdqTycxQDBtFMlkGtv4Zkp75DmYuiOOOb8p52oZmwajlyDK0rUVqLKHIVNHNC/NFvc1lBWGQRnYe3e+zFCw2nFrX6G50wspKuG87H4PD9dGO0/8JTswRFV1qawJ1NMhZj7ywsM1KMdTzYK4zwqXNIfC9aXSiynncMZgnF6ds/paqg66OOE+Xq+AAOqvyP3jhnFD9yKgM1zoPzi2U1+9tRLJs7auR5BMUWGmSIUVNvFSjPS19rXODJp6s7rBLKbqK1Qnh0HYD6BFrORw7OahgVQd4sQ66EZWvhxxebQ4yMCLWUphaIT/C6BrM4D+Oe0JvWuVWmnW3r/EN3mK3SsIKFRS9U8aAOggcP6XQDemy6UK40m59ZkyCWRFXzFlhNSwjy8plibMkmWorlGG1vapcaQSN1rz9Lsp+uplaPyArTI30FleKYu0j8mSGkYY/7xYhZoep78hba2R0Hyu5U/eD2v4KtWe4UDXCn6DdegyXG/M/hrePBHSTv6IIoZQJiFdLEk99FICeMZwda5DmQhWZJO3DSbs+YdWwaGPM5lVnHBZ8K84kMQIURiNbY91K3R3aWLXjxR3IFdqKX1Ro198RHcyo/KsbUam56tMYm6r8ph/b/XRYwJ52HnOKVd2m48o3MUKmEQF4f8gjZeJwGEoKhAe18YrOV65GzWJnjSpc4QsMpb/o47rpfApfObtrXyMglrgaZnI3qOaB6qSdriek1Q8o9biMiek3r0ftUhURXwZWPynLjwfGSWXAuSTHpmIwsS+jY032JVkRnusyRIfHNF5/lgUpQ7pJifb/WGu9avWp4Ug/3gkmdlWviKegmYu7m4i6BgFsjqesvEo6WmTR6nY5xdTvYXLQ5pRv6NjpAvhzLowiBIUx4U52KNGIsSCRs5QX/hnjo+0Ltl7IfyfTSKiam4hk8cdA1WZaLzp20TjMwU+IwTmxxfsVt4HcvP2e1q6ADtweT1eOIJQhGptd34CTbUOUK/037j04P14CQI6lcJ7ss05PLPc09Ntf2EKI4nCMCqMiZDGSiO60qoeQZTGw1/3JGkfjzoCPAMNLlLUbuTIa9LD7vg0YaL7m7aFYr8E/TxH2GAH8r2YIjNvCn5Y4LggTJjctKcdnbjIuwoTqWGyo4oYLFIbq2y/9t0ULgqnfGFbYtLbd+MGCoeYOxus+4MkOoFbkNC4WodQ7rOX3MrBCheUzbURGlwSY8DHqadqkoiN1AEnFUtfSKXpKdZxvt8W2CIIH36FocvO3RUIZoFXxv0Gz9G96q21eeA/lyaXp5/wF/JVFbA3VhWAhr1t5sNOwbDZCZc5gdnPvvR/1t0cIVoPMAmENXIiRKpOt/5cxqt94oqAxLKppfiHaFAUGLywDb80/12X1gFUUzruU/97AXpNl60h9bzQVw3HEV5Eg/6ghuxmyWbgKZjEImWpmY6qGtdxGElwuJDwr+btNuTnZb+zLnI/j4heB8MYY/02xeFdQ0Rxhof1fdt7JrpPXFLWDKjScXULZ+jPveEa8JdZm9vi3Uv/GC2lMh3lFiZ9IWtiCpxtXRrAAqBUR3HIZA1A1kBqX9qjW0T1tsyB29PwSlLLqrATtksHI7GNTT+1lruQobY5FsByWzMzjI+EVlinI7d2DcEtPeDxGIemzjGf9FWlxlYwKg9+70yeQiM/+hr8f1SL0RZd/xOCZtb5UGMiEYN+8II9CptPD2KRuqZX3trTf4dZiaqy63Zie2AJ2yaol/JU/9pdD648pF2hfNVPvuzJBqOiIUSzL2xe2E//LP7LcXqd9ufF4CH8ARzlzR6jywSamMVx3D5Jr3ZZpndsnDknhHhwh62iBRhmH8Ur0BaEawldOzF+Al6dCrBtLb7zZwfwQuAcH7nh87jGWMoaWW1iAy94dRnim6vTpPSfJ08NtblsAAEpvB71Qbmbv/TJBP6dbkiFNeVKJ01O0zvr8CwSUb33HB3YibQ7v1J/ugeFVmcgnT5xAUWRy68xK2r3jibxWCR7EtXDYvkw49U2lgzkfgroqpaVQUuMmFdtGlBiVZ+18jOTGJqB8Hnx23zCP/DwCsx0Cc3BHQMY8azYFB7nl9YpwyRbhU/D23rPm7ys7E/57rnLRCV1JCjUFS7B7CLjwgD/Ev57UXCB9+DjM7iEWXQXG4slvXcATUWFpReE8oJrQJf4r5iLVN5rQk3KN8NgH5/J8zbOWLIAuHTL4k24pi7cOHXRkd+UeO8wQ4but9dn/VQMgTTeG03znTPCAkmQC1VCvqHIQ9wRxA9B7mgpXMebM0dXLW/MMIUseiq1vuMXgEm+WKlATZbr16k8dcrDLfVFO4+3g+lHDWwhDYvP7nNKBeF6a47KmPtNNiJfmGLCA8QqAQlkUeoI9iVZHg6WICvX9+6Zkb31Hc99g5POooVKIpyhlPxGXZOaivXtAUnPYUMXE7x5cQdr/R/tzgQja6cGG58UmeLCSsZpEkL08FOu3+ykO1l/oTw1D89sOgsz9DkemTJh1GKrNmqhMQAatZ0sT4rl67Qdc8uP89YV22UhpBmlnypxE624xm6bYU+Pw2Nr0bzPaup1cXKD10dy63I6ptzb/VcFuVKclHEihqDHfFcQjfrPqhX/OXncyl1bQ/QMxsTJx4uzUpoVm8152To5/48/sgqbRKRinaaRHhoqsaXKQdyPb4lH/aAHqdO26ZuaBqxWWVrbfkXEcD98YKqc/JHBIKHFmRIRwLpGlpsavcncaQAL1b7PcjH73IVt47lDl/9QXtHUUAzbo9PeWYrPi+O6cior1eK9NivhZmH1nhfXTRkDe7qgZwC9yRa2HGU3LZYVYCrlg5RvTrkOMjKkPreyajLnwdpI7wLOMZ7oB1FA17jMpKkY6qgsZ5gYX/mpGh25Y9i0JF3ELmgDC02PGsqvp5vmtXp+7Oap1GleDhfqMc23yHhzog0Fr5wtM/kMUCrt4J64xCWOi9a5MWrln0FSlV247dXJtmg7boPqXDtM3Wk1PgasbXWNVs2QnaXYgkq+PWVDwHVOqPXD0UDqAlfmG1+PIeYLZRHdRBSiGLKHpRSQHiUXQCYUoXHm5r7xI+eR406C7Sjw0W8ZOA2gZtIBt61Jsc+vCFUwiYQ8KM9k9g6EUtU0Mn8jhLreOwHmY3P764/c6u349z0jlBIC5vDca1ts9dmVSiYEcb4ABTm7695VxhBNyXJyGKwNeTY0Ficl+4QkVDCDzwpXd7MCV4iOAwDOICwhVVq9wUpV5cIUT9Fy4hDlMwqth/yyvs81Kq0+MrJjrx7C+nZXIHtPairLBgsMS55fYkvfhjB2D9trr2cDMTOVkYTPBL2q+XPrNCa1OlellUxKv4xRZyfQ/R1pKWO1coLD9ML+Lq54ul6BN25k1YActzZr6cOCsbBxMr3Qr9UBszGCMJG1HTkKMHApDWP5jsw4DHd6y0hneeH5peikQ3DatsOGlyPQ/c6zm3w527wE2XLaOVlJWLDin6NgJDfCQAqyqYUTb4kf6a6Bsk51+QQ1tQtjD3NBR+CV2ZqmRVX32WJkeeiQlvcw97YW4RMOMLFsXe1a+vNNaDOgPq48jaJ2hfNEyOEOXnLodZMTUMwqrciAtlwY+hKDw58mHg8I7HTfGT/6mVwsBax14rViMtd0dY4y3p/ZW/GvceuPEU9lt8veN4JiigRmtCd3bxVpO9P6vMECsnH94etrca+7Hm3rGPqqKWq42HbkFv/48SfS6nW1sXKabULfokpVrlRzaeVCbz0JSf78ujhC1hjNGzIabLXO0YK23RMc84cymTMoAGTJVhCQ9EAYMd8/Zfk7/GD2Hidg6t1h3EvLg6f8Ck8UVY+V2VCjIkeHImydT3K/2bI0wicT4bbakpYDYAVfx+wVLPFsn/VlTRsllrKTYZg249v1ClxOY1hmbcbMamJ/0DzqWo1wjyZ0WEiCy1F+98aiNLicVrkU+Z29+On8D/KmrY+sTq6jTZeX0/UX6xslizsUHqYGM8u0pmlVsoM4C4ylG/eAsCYi+e1DexWj1SNJ55cWD0abe2kFYM4NhAxUOlBNnHrn73FEUOrI1q5SzukLcu7/FH8olK4dWJ+oTcUcTyJ9cDygeuFrionErA/mHrf0HZG+mnOpM7+XVgscps1E8vqT9BkBXU8yrU0+HQ3NaYsWxSaQJ3YcFZf/VcGQykjsJcqfy6+nAfajP+aN3ci9CBosK/0YHTuvGvdq9KeV2d24mr1hhIAxBGiQnkjfbSW3HwM2b3XfsmP2f40xgjhJzgjEoIQZLDz3VF1KeO5GdEZ5PayUO4gTVVI6xAEKQZY+DZrTdmQ1kuxVY7/ek6YxOTSj/EDMVwsOhJMT6CoKlfaZZ6JbB+ny/3bcOXUNo4oALrR9PAhY8CC1WPptoZgg1HAiqXKIbJvagoPtIpjVthJ+8S/ksiQc7JjHqm5OHxH9ZcC7MqbdwwI6u+862R+Ul2AmgpWX7hOjMYL/ZpWorxJ1ojIEcFRZ61/hjSKEtp5aqVloqrGY4nWK1e5DodeTXtTBavkd8MzE7Sg0jfnkKzYpUOFNzspD0kNMvfoFieM/NkD2KQpemLqhzHhGX3rzBs0uwqdRFWRzlrk4ZMWHK30oirozcx0jbpt9HjWKA2saEJR2CttFAQcsYW0GZRii8r9XlQgYK2+Xhrddo6e6Ky3S96TKmj+PfNYA+Jarc8YAbsWvrMi3pUyQI90Houvs7ksg04DlgRPIO1uqXhQVG4kkseJFBpHcZK3617yyvj3BJXnVmJonQfategPUASJsdMsgYnoWACtH8zvmZSyQZkW0rfJquwnbgk9MmjuTLyxtc+PSXnbEBptQtqAFvN8Y80X9tY9CB4Aa19qAddTCHm+BrW0482nhUjSFTVB/3qYKJ+r4s1vBkgm5MOgnlHRfzFwhldZnj8bj3esGl4gC8SR+plAhFQhwW8qhDd9eX1SUieCQuwJat2/0m12Qv/4DKaIUzz/V6choIo20+NEdRP9/sXqjvAwEyXirqXUeXxs80Aob5VmVXrS0anf2d3UJdAEw8RlhyvAAJ3qFrh0UTuBfRoo51+L8RuUBHGthr+hF4pQDO+3BwoiATMnV+IHY8kK1vaYPw22mu9SfJLdtGoPz6ldp0epbhb5YX6/vM8hQFsPwtzEzl0pNOVkA61kFv8lbtXB/LrIXtkWxD9etpR+DZmsvn38nl3wewEYigy2H9pw7ECG9S2rdBVWE1Qhipxe3ys9IXPuOG3Gz4UpKDq7LmWG0q9t1pks1DIOoidE6Ot2IVDlHpZRNmlx/Faucx+KrqPFSnCaf5Klt2+cLlFk8wXrZsJOp+EgqkG59h8wqA5SSOkWIjLM5x8ajBkOspKlRaRHi3g4UICkoh6RgJFu8NKfp5U6nLV7l4PZL7hAcmqtnGZwUxA76sLsKCGWHBlrz6L6YbCYOtA5gFBG86wgvQnvPjd86lJZO9Lrd/VKHk9A3lY+lkMOo58goQ8hnDcC2eayGTMfseGWZzvpaQ3Hc6CJ2LbwRf/G818T7Hebs/fFJHHyHaYvQo0D8sXHZ8W7HGifsXQHEtW64PiIMdmYW29VQLkNQO5LwIoouhMAlHAKcbx0F7yMV3C+vTHRKJljxtCveVmeyue+9RgDX6nmCzxVWEsMOS5FFIVW3467x4ANCtlt0mMXoG/Pn/eJeWbzeuB2dRMsIfldGKHCF/PpYCPa4R+ACF9ut6bqpdjSpQmoVwhitJ3drIB2p15BqFWTjiR7pJ+d/Rl/WukqeTxc7un9EjPEO4havSwVTGGJPseYkZBnwedB8wZbWZBpYdAM0OSP20ROJ7Seaq/1nhl8Wih9bqxakjqVuCL+2BeJj91jm2Aeh3DHCQZTXhEZUOimMCuWCBGvQ+3j1WMvBSnsvgMg+NPWb1jgfZaP/vqUTswPVzwWovmQzu3zwDfARgWxW6ogHO6zh3TkoR+72T32ZXC7qa1BGdCaV4UCSbLFFgOVdBActBv1sv50GQ1Gpl1lk73ml+fEMf/dqcb6cZYClI8M243EmASuTwm+G3VMqWyElPf6PBW4WAcrJK0Fl0X/G3v5IH3E1n5Il+gAKJvANiwTWGbGltBx24rZFrwrLtOaG+32xkLsRS0X8Rdem5pZipORks+wJJZQeb8gRZ4xNaQWXfctDPUg9s0XOjlViudLbOIi2PwebGLb2TaAK1g/V6TQ1CZHd/uQVfzZD6xlOeN+wbz3YJzTeqKXssVZMI+vuv4MMelibp1bd++i7tmIbwYCw4D4iP86yOi1INuAvQYTlnNfUD/bygWD8p57wgtPaOT2L+sCrhWh9nnrtyefvnI7Im4AEHSRFVZPr25PM3wXMm8xlf4VzH8RAsPoqNwP6Vogh18nV4eU1d3Pzd8Spw9Jz+gKztarA1ZzfUVFxO3F5zhCPxwbTBGZwpI45zGMCpoIk2de1qZqnX8qGtriLRXJzMSPpasMaK9RiLkqh24UzIU2u0at09EjI7bpd/m6ZOA3QutlMWkd8j1MIFJ4wY0+bNDaW45TFPKkKoVC60JKMFlYThnDY9n/TmAb7DIQrs3E3QoL3JIqer0A8XkMcVhezcY4C27MgoASGXYRjj5yyxOjz5A/+sYZVgP34a3aNQHHmV1oXVgDIifcqOy3BzJAkQ+aB93TKihtqBfvJbBoSD6XljCPGaD+XjhzIeK1IcuRXfjE1OBOQ+B9jjiHOOpINAJFrKQ56pWPXh0GNt8YUSlY1DpO8ICT4fgcKlWyk6DwGCUx9SdSkYuBy5TGXf0LSl/QWnlREcs6WdtwzHFn4XbbvKg4z+SD2Hr2hYHxDJvI8P7orjHUPcP/aqlzBgLR5nBqgyyLee/1cCZ8s85BAxBCdXarVNe2YbWjUZcoGwaIofHuUuOcFvKopVGXOK+tCBfGArZn3vpJ2cbRbikk2Cp/qnLno3KnDD8+W9/lg3wwDQY/kiP4kaT6jklWAnrxSfn/T4LZt1hPg4hTyX7YsQFgIUprwdXUK8czFg+QyEitzv4ee1MHtf9PVYTFnE6d8FrpaQoJ8oVABTEFQkd0ZYRyPdHLwPkOHtdYGlzuTF+edhBnY+rF+iLTzTjSm3rNQeYCplPzc1WBZqiUoX7MSZfgdSMH9e6yv1hX0ojDVV/h0eTiUogl2ea94y5uFW6B/zbN8uMF4nB+HsdZbsjR2x8qnJsLDm9TvVy+DR2/GkkgK/NTwEFa50Slvyrq/jjWxj1lZJLDNKZd9BZpApX2BD5FCJBi4N5gWrKjJYuBK1c8OTsDTvKX4s2rXm8qrfKct2AUtPolPvTVY9rimrwKOiuSYUkA6ZYrzpOMarrVYUqmeh7J/VmcdM78l0VvXvAytTs/TlYum9e1iK01OkTiU1Ze6Ego7gwM7yg8O0kHUWXPNb3fL3EG5ykXXxFoqXsZhYTKwCaJAPskxIcWBa4kIxKr5iT8BmmrSWbl+GCHX7hzyWb84fOFZc9bMXTRQ68+jdtJrBW6RHWfjkNF0j6OZqNedMjIWzCPomHY3T7wcAHhMp7jaGO/fx6RzF+t65lrlSz2SoZzo1cyTPgs6jbEJ2bgN3I222j0MYSqhsMaIYDRS7Ivt95ovDa6bCJgcNPCL65dFpgjQmHOzDi88Cm1cKEZrezfzOLkHVTDDKDbeNDN7bb/UoJmEyjtU0VxFJ7wTwXIcd0fdgg/yiw9yuFCpSGNIOOHYnEKAbEIB1QDrsUDF/rKJCRDI1WPQL6I1LW2RgGOFN3vpCx1xJwobrKbSA/ks96tRNJX+mD9kUHHLZW0d+SRnR+b6qHmrijmuKJKnMi+l8n5H+u426hN9pczxSYr4jmFQTXiC9lchv+Qd3lcgNusDSSw04f9hX36S40DPx52ATqa4PAS5hC9mcduN480ft88iHiBJ4ru8ZMCytxvyAsfmZkHzY4ISzHr2FjTG/hAKYpCGzES/GjLYmEn+F4mhTy3wx32QOKMzPgSyP0l85XFwEIYESWpDqNeapbru/x1lGsm4b3uQzSET9p08wwtdyjsE7xSMJUS8k4ywTwRGyDymFuaDkQUIaU9CoGZj4Rq1JDY8nCFS621/OT0WMdihJHZrqXQhStwoodfkAxjkVYb1bfXZ91RmG6tbn7CWGIn2TtxTUc1kKuzf1GZn3qe3eYG4Czw0OfYb78CmglKHSAE0L7Ad0N7riJnF2CPvNkIUWRogzEG+Kg/XcqcKtTFzoD3RGjUa/nIzI/ZXW3yHF99v2Wxmm74ldy+lbWOMDpTQ4xo2uNB76apCu3i9rIMZ5zQRSMGlr9/kYeFm04oTjIT78cTxQr6Yey5g64UvTkjx/k0NMjfNWg5gWlR1/6OpvbNsO363qIpAZzS9oT+DpVLgcAYVPa1WzP+NgZH0D7qII7UtpcNr43jLaaoeu1Yg0OLfIDBp1JHCMxQecOGyYU67wMCqCWn28O5u0hUWPjj9263funjXIJr1wxXLSBvY2qX2DrK2+thJPCUGTuK3SSs0Ww/BCd+sNbnCOUbXrkdTtXWoMEIYmR+OtrxyiACKPjBDJ7W5CZV590LcnyoSWthyJ3Wiq1hg/XOB9CsgSRI9c6dzS9zCEEOlAKJwd4pU8IGna3sectTEsZ5WDMMiSBh/h4pab+jevnLOxVhvD7xkISVHY263KN+ziSYONSHdDNujEZ1QdOXvgu9bSuvsCAPm4lRZ+KAwfKm/3YmrTjlT9hZjiBZlKwQ3iIOit1yh43JvmRZQAi0y/Rm1ywx6EMqV8yfACUDotdk3dhF85biaVZHvJXKJ5RKkn0W+d7J/hv8p7bA9/G+x4TMGUKYrhffUAnYlTYjKr4Q9v1sPoJpj7f8ueCup5CxqPswDxZV3qonKYU2u5mVfB9lqnaxGCsAKMIgAgC6jjLFH2e/msTfJ0CJ2aqeUTWynScz+pXq74xITvJEnB0bqxlu9/MpTNWG9GGoLWgPremJJcar+7e+Y0B8TdztdHFbva1UhkyfYafZP4bpuy9b+YaoftgymwQSaesc525Lk1MFGhd64MrbytzfL29ywcjZC+fT7XWOWyQPvwhAb9PatxhD/fW0574MmivjSkoprNRzbWgfR3vYq6Isa2zb0NevejKelnaq2ufyslcYawhbtGM0c4SNtDM9+93p6fV24oh5jJLjlK1syTvVkiJaKDoX1KZCcQEZXRWFq+dA8rQ4g59ECdHHF/QuQ8pRT/QCdy9S44+uM1amiJjgTPQ+jN82C92KLTaWfhFvYiDj9OqiU3wjOHxzj0JHzUQYt6FC8LGZGwDM4YyAUR4A3/JtgvEzqRePNi+ylbmysm4AkCi8WE14uMT+amTAL5YPq8iIzmG34xjq+nLifCFyS+26ew+Lu5hDCXR61KIIHUhmmze5FndV9lLlyMq4BMKqxI9YBxVdTB/QmnEjaMqi/Rr+Jo0RENsn5aLc0Rs0Gb/kGyY+6RGQyfmVt8ZUXntl9hZ+f2B0mIFY3juJc+7kcInzkzUfa9eMmXm7o9mKe2k4Efd6ybcw7LfOjPX9yWf/3//hMh5RYMYXcL801tNKHfvr2ex2oSEi4I1z2Kpxs2qWShHg0Sz96HsmT613JQzGTbD3GJqixIzElYpQPW6WAK5Tev70D5Qzuz6Q3NkohzWsSikH7jRzX6v7qUdmFIUiaS1e89yiZ8NLL8eizUi6JNGcHwkNnDl+FJQ5hmZ0hg6u/A2rtInTicAz+N7eOTsIMWeiZQdOfkBRKw8FUSTl88c9DHmom75IhqvVz+DuCRlVyI+xwCZOeztFx/gVnXzWFQd6di85GylPCsCMMF8zkPYo8FcUVCh77YVuI30FEz7w/I3tina3iQaIaV5vr02xloOxkhtt10bpHYNSrju9NgY34ruoz7mxzSkHogG1IuE1dH8rMwNJhWR9ETvVVfakFiwO7tUxCk4BSa5j8OF+XrOyY+fVuZlHyVdL/QM3ZPbf+Ci9zTLmDu62q1UZy0PhilrRees38xXrJYyWci8bM/96Ll2hU+N8BXcj4N/LtXdUXG04Y+Ef7QUCvkpl8gpVC/haQmbzi3IN+gHdumXzuGrWfd0sB3JeQj+akP5xK4Gx1jDrg+SJEsVlUWLr4iAIQ/lSgrpgzaUCPdJTd5b7KucNvufRjMz7RSWhKuJyo5Gw3oXQ8/pnzRSmXGQwU7YHFMjtIBnIQJY/S7jpfdZScKU+IybCnz6tvBWp3KIoocjdR/x/wdl0VWyXveOKrh3Z6ImzUl3E1AhlvQNDFph2uWvkgTrn+dSjB1RlwapRb7eKSh+C1JupEat6kystUNSXluD80q3yhifc8pyPIX6NNEtyqj/mWyAv5TTKDWyTrr8X8NQE9cCOIGG4oSGJYgdwZE0CuVraYZqRyVsIEIDO4opyZpoK4TIJYtDHcj3Z6RsnupGcGsro5giChsDAJrhZyHVCcPJuw3NQgb6l8p3pa2rnfXkDazY5yfiaxKGtW7aMaH8EH0xV6/ZEC9Jy1pcCB1tBwKyNJp2nC7uts6MWCGYN6n5nJMnrcLwaFOo/LbPp0YGpZcOhhSp6/SNWTtPgRr29Trw9NfnvyVtRJlR8EgGvT2rotD6Vgvs3g6gyR3Lrz1GMlbVfo3rO6fsE4hDhWVtXK38D6JtQ1vGKcHTneHFCDRVMcFHajFLi5fDewSsqNRUaGxtglQxgsGFn9Mzg9TO74/m+tBHmB/nB16F5GvjMxFkN9WVtrIEEDFY3euRMLosNkS2Jovk6Q5xk8vY7LCLgJqOCd9h8qKdTZ54KssbvqElOlZR9Jy6j+kvlR24/NSnrD7ZudqHa7mZ18Z7CxfwkoMn8uo4hT01TXaJ3JbQpoM6H3e6bCk1cfCNhsbIw5Xi7TiCiPL3xesT3nlXcIEU+mIhybhWGsbpI83P3gqz+eMDuOFD4q6SfvVnRgDieMn9vETmzU0l2Oqte1gg51ssJMSuFcvb2io++1JuY4EPbSRl5CN12fbezqDwPmh6JsfOtKh80uEyQpPUZgeN984M8o4MebQDdpBm9mwzj+gOvgK7euPJN6c2vkbzQh01+/M5a559V+J3IVFHznAGsh0WHeLnMJuwoQI481KkmiMWOcEIPuyXY+41a300h9YHDeNPJTpYHE5V4jdEOQpGpju9B4cnF7KiLc1Qdf5ZYAmBkYUha2cMnkD24P7UMZK25sPFtpjS0gUDt60NjdjHIeCv4EwOx2aF/RSVGjfhzcqjqjPNKIvaSGIh1g0z9eCmVOmVXFbFATm7PGFEOWEaRTalXf/o4ROcvlCMzQZuWoRjIkoSkw51WS5I+FCs8x2g9RFHSCLd/jbh8fkQBaYQPRBerhlrHM9JddMyzGCqIUQVl0Okx+tySvCOTTSqAHNcLubKbSqh0inf2J52Umh35sA+3rY5qeZeHudhDBpP+Dgae4KYGqe+iCJ+6bP5/kiZ0ShqqvArpxtFTAJoniks3ibxIp6O1W+sYN01Tu28hZlUhVrnFvVd1EpCqLLPdVOov5y3gAhGM2CR/HqZo16rLzfwkYSLTKmZU6BxIFaMyFd3L+60jDXBFLAMhG/Yo/5bS/MXtZ5JCg/ImlmMkeM4NZuqB9dLd0TVQ1GmyK82WELDnAYz6Pdd/N5VRvXiIBYOeYWHnuHLrd4t5W7hTQtEn7oiRvrzNYhtd2jEXzO2UQZprscWjFjZWTwxopaodeVVFPLuUjJGrdTWak50N7d8UV7cdvMA1Q6HkskjW72VFByRFP8eacvIvxFI50pRMhPufZH1RDHxil7aGi1xBNxl7naklMYL7bkVXCuaJidqNLnaeSsOeI7V+pe6xYAk3lPtl1cImUW9zpMmWAE7mw2/2RL5nq+vop6ywGRPUppaLXEO4HugHFt0TjxCRn6G5U+KmMlwfzgaGVyPw89Byu3GqUQX+RkrkfajtaZUfTynxfokdq8fm1vLapybOa6XPHbVSzoTXQlBeQ06wLNJQvqLENaHlefrHncGs7NtqhN6ofg7CA3pmSsMs3aGWigIUEEFf3lK8cY/TTe3Uft4s/WaUnjweHUEpNFc4Uv0QHc5Ey2qA2CAZOg0rSyRW31zjCoR6qvd3iUFsLxpKISOT0gMoBd0sEKDUAb/o7MAWR0ZHRN4tLu5/iHyLqp+Y20yuh2O+u8UZqUQhp2Xi7zXJoIXsmxhGmFLDIM6u1GdFmbJ1UFEmr/zfDC1AaDrjroUjaxCTGsw921otBbUGh1VIZgkzukiaoGKJu8kk+0STLdiyMa4LD82/ijPXWZhafrS08jyY0chG0ckR5TBys3oTuIbnuTRHySDhm3FPERJfe2K2/5+eizqT2dRo4Xd2CAg8jlTitQ7QkjbHz7kfQ/WirD42/VTStGmtUMhF41EU241D5JZ8XiGSK1lbx2UCBpptR1yf7WJ2HZlDd+EV6XmON9GT7W82BtuEFdc7rCbLLIM7DPteJBoSQA9BqhzyVDxJcTvztcs0p8KOvw7pmCfN8M8iqf0j4ryDoBT36nFEjJSYvXRl0NYj5Kvtitip8wD4lo//DM2W1pvDUYTwZ8Bp2OupHt9/rJHtvdtyJmBaWavmVgJNOm8VBdonxRoArxtrXGSXVZg2WN8RD8nPZMzroLR7WrmSoLEcLSXVv5C2LkVWEI9/Dmr4mVvogv7daO8Cp8B0+up/aqD+IAqyrn7M0fAfcoqKOxPA9lawn2XBbK2oGa1AvtN7LLdBE4/3ZR4sNut4QrST+OlKzWpqC39vE9U2qOm5iMLsXYgeAHk1X1/i9D4hohTDqzXz0JDbmz9YI2F4n4//H7mDWGpLedqEMqGC3Vf2HvwlV8073Bit4WIRU+qbKdZ4GL7CvYs+5jv7OZ1qsDdEOOg36ZjAHOAsmgh7gCUpDTiY/7H71ma4fOgDan2NQjkdQCgCegkxCQKBqsU691SMGZpxJH5LL7mF9/pFRMD4kXIPrGnxJhTnD6ZyWWQkaDVUmTJQPYmEh3efdji18HaZR5AcjP6UWEW1jSVQVZdaRspnFhsPevhrA5Q7JvRFEsfyP0Y9d9Bufg5RjicY6dx28xITgs16lPSLuS9FPhOE6Z2nib77rVTdj7W9XzIXEKIodxVQ1ju53tvKhguNXbxKC+3KndWqe6lVgAOVIac4yKkt79TLkiG2TqFhMJ1j5vZU0Y6hf2fKLeGsOXIwv32pLyj+eMEAXm/KHrvWozMJLXr/smF7vIl/Ai7RYloIx0dKcj+19gUDFsRtG0ECORnGStm21lxqpgBD4DMCeaI3UQQiI1gJaR1sHDKsK6sJNTgfTtnFu9ZxJHGkHaLid9+xHuqTJcEehZTGpwM9HC3aCSfCyF7ZO5nx5inowZfMmN5W76qe2toYCqpeN5vjUNwvh+whDaAmOSh1VarVlUQCvrD15kJsA3lE1r1xQqV5lCPpXBd/fFyl30OC5UET1f36RlDBmUtm1gUjtgGcKyJLhnHvFwxuTgRFPTjoKSiAqQoyg4n3bTmP++Y1mZOftOHNtZrg334Xgj0VrJzVNKfAOzbqKqhgtze23ndqvaFVYwdOXf5Knezg046w2OuTfmqAIThP09Xp16OkrqR42+lgYWdoETy5yYM4xvIVEaXYqXH3wyZaX5mLeNsO3+odiRHOA1wzZ9BinqQ8EEw8Qow+GQdPMOf4iVmNeytk8prH0znO1TURHKct1CFZDetQbafVgYuppQZNGXbDxKw/6asmLC3BLZG5PWORYTzdYeRaPcxfgLKtJyscAHuRyrsfXap4by+rxuKCKomPBiZQkS3dhrqdteF75qxAUXL6kTMSRk+obktANiE7yEShPstCBAYqBVfx1La0qwykAyL+VyYL6YDvJDmenY3qWA7o0yhlL6BYV2oD2N9vmyf0IRjdxq+u2rB4zHz62GsI3nF5cmRHPvd3xdWIhUYtwobO8n9rczrnDS/QMCaPESwTOQ4+LYvIhfeJNjfa0cyPqM8A6vrrSjleQPMSjvkj1EJYiuuWLNM0Zvs0DN3QYEiFCFGJ+1FxfXJL5MRLginnatBtuyyg35p8RHnCl6jLoKDvmBDP1GMiOf7a4OiKLzQOEH5Ob2Lk1E0tHbCpht6oN3le4m3RVKCEjWyMnbJnIZrWPLLpOkIVuQYknpWPEXUbam61DVGNivJBG9Fw6KeRBjSvz91/dp84I+8PrYc+lJpImdM5vRwocnMf5UL1syoVK7I3pwqoOciIeMfcn0TptVT7OJAsb6xv1X7FfDVlzoMz4UFO7mjwAsyp7Y6CignxT0oRkJM6cDridYXEjDIdC03D2ZAl1/MollF9q1ZR0eWQQMp/VQL+6hMwRVrojxoghkXPUe7YQk9HgZLCyxtnNbfxFkZPeyQd78fe4IBIhtBbJMbNPbpVVEh8rWA8kGfa2WCTh54ROsaJf5vY5T69j2GgXWjyhMRbozfi+yDU5AqP2StWzONrJsI5JxvIJ/RICozh66V4YQ9lSvocDIQhvnooPAIvr/MiVi1NOOxVFVJqDaqeuQD+XezirVlSKAWhAl3wsTcK1gDcK/c3mZG6ZnpthORoyfUv/0JXozDjn+NNUz4R4/j/J40APQGINHJcY7+FITKvt8993fmSSZvfFMHS2oCs3bMytUYTEn4tbvuxEdiCCxl9LalnepIdh4e5yUzNTWQ5WQGPT9k/ZvCSPg31uG7TiXw+/OYQOgm65xCJcYf29fNny6HMs0aCe2GCtNxJUfUkgEguOBf2QNg5rLI/yc1rkaKydpFvdNAfl4x91ZYo8D5xO0aCVxge9nYCOX0DtHf72XUOXAtnqyUHm6exZeOZw3xRR8ix6i+u5zs/BMkDMUF/T47cCGdKtlYPgZGhQ1nxG7RiNMlR18heMn3Gsah5496eowTBfF0NtGw9VuPJocdxj9emWwVtYiz9HdAGkA3vaDhFoeA0X0gbDo1I3CwXsMBDkEROTQZ45s015DlBA2JaCAvcSKjTRhibnbZuQrkDCZ+ZS8mQO4ePdBgJhzFgGvKa0j9xgzg1JBhv8q5ezRw3JJz8norPN9MbVrUKrjNAYRve8znWp9jy5c7eM+Jq+7ufLWPQzqdq5128Ss/pIbwwZ/eho0r2JKLf1bHw9hfcgc0KpD86EX0Cf52wkmZmFMIAoIYsIbMiVKl+jEc2t+L9WoF2qPlX30oPhCzIhpC/R/gnPuPgrknOuVdfBO2MTiq4xLcHqs+N9II3lrcW3eB2GOq8W65U2N4FqZXtSaHLheDTza3AT+l17WRBPoi88dCvbgjPdzu53CMrUx2epNCTu/vLLPYYvbdlP0P/Dkm+fHzojJvuukJoky3/9H4DESkRGiy4OD6kWKwiuksw4EZ1fTqz8uQKrp1TrdOTqpAd8ZF9WHcgjWCg9wrYMSuWvRSwo555K+ezhiGdRbR7ACClAMvV5KHMTubqit/CLeTRYiHNvPZgPbSfTKERcPcUkeKLo75wIOIrhVGOtx/NMjsuD16luCUu31KgCcTxS40Zh62ozJxvWhaJUHTBktNyG7XOExS7UKcf2A8K+kVStYPYJpvntiCdI63XYeP67ILyxZKGYzjNYknmDoKzBiLffYA3T7KqbO69UUxpiLUg4lIYEEohgfIU7lGCdJQnfeAOMf9chdgBQcCCga6e7L+a6Ue4/kcpZaCHZ+vw//4rd1YavzJnuXPEH5e9rlRQdR/qv3bq3JjURMY3x1vvaztBU/N1GzyY+8auJvhIkAxqxyPuWbJYINKLc7u4atiXeEvDW7YMeGJPa0/BZCrgTiBghqm6cPTknishkS/0hVzcTlN1kMtcRIfYmrC6b0fMoCPdkMwFCw7CajXK+zbAOiqowIoPjPkt2F1FQerv65zjsK9j72KgScCv5btspBdY0nSDVg7wRucenhjVWGUIrhjb7zDz+7jgVFrSoUUf1P/kycaw78tn8/7hyURcMef8I5DS1ebcSxTLKOLLSa6Ioln32VXWZhXZcKiyM7pJ+2qpwC49sQBoiIOp9H/ZD1c4qGGWNLNvuBnZEH36foqBQuCIxlh/GTO5julmUofBB/Wg8ifv4b4OeC3n4F46rAP29/gB8Z6A4szYwtCfmRDWg49QbKB4GSE1xRnsK5LO0p7FXe8JBNyT22C2k4ukyw3vARSXKI+WFX0ZZKpqsos3tAbNUXz4X8nHCw+FQA3Bw9DASAn3jlhVtUiPykwFirXy3qD/0ofGIc5llSz0z3ZExYK9QuW3sXQXYm2mU/Em/bIvGq0AZ6t2A/bGHP6Hrfrn9FqysvWCSRlbm7Si1b0qPDDsTVvJDEhPuIi+DiQWlx9Fx3hXsCjKI64RThNOzEyBBnp1+foDEoFLnaV2btUtu3v8EOmIHDcYhUUwkzCkQi2D1MjdhGsYa5sHt0FqCtcv/ftjV7PI1GdqPnF/MMw6Zae7fZHJBgYSZ1javRqCVCw9wravXpg7k5+Dp6zeQNwAEV56MMlt6JFhhVl3SG1hyIMvxJ+DGIwszPiWIWfZlwShM6vnAXQ1RlKoRbd9H9/rm5cAxXC/KfZ9W1quCMYA0w8lEx7z7hxEWhFrfXIQPyZgbbQEmn9r0Kvs0L20nD25+oDYMwakbPUop2RCG3Es0S7hUPOcELAp29kdgkz4HkNA1DJuwLMN66N15ZWo7nZNEPAsImYq2RknpvDFwj5631VtBbiK51j8sVHQpbvi30KzMYQ5BT79UmLDFl6HB5UZ+0PRO6sJ0gZ6HlxQJMdr58m4hs5dWDvXYmUpAZCEgFbkt5bKViVZROWjFcAFiQo9Bi5A1G6uaJfvTHhbx3JzbUb0rMEnHvc81hsGvWUTISlTJufOaf9sAYuidyeA4C9Kf/EKCeaLLQhqfRyI9UaDG8RQDNi20re/oTHbcRdpjLHMYYmdxBsk8vOhbKDegleKYwRjPo0zj8nweZ5flbJbZshYY95nJIfcLsGP0bcPEOQuHsTbtjXcp1tZl92pUdn2wVRsHrTDJ2e5meWdLiCa22k/Ooi1DEHX0haS0HujOhLyFS894OodlcUjfQkYe+lZqsOIrIV2sHFlX00CcAgbfgt3tu5dV0RkGraYMeXrn0AKqAkVxezV1pxIJsaFWooAcko8bhfcXtD4+MPKPhVKBLPWxzogIg3cEdePHDahKcGTm5UmuBLMwsTawrI+s/StNUWLNpCr5+y9rQILDTOfZxqs7kLkklXNDLLk9DuVJEXO3IegTwrmqp2wd6veEaGRGAzxdhZ/QTlNMiuDToluvqKiAgf2NAjqqdik50Zo20XvDYzTeOsF0yK53ZWMl39jvnPMDuFjFiJ0MwgBBJ+SjoY/lsEFvEagWAHWgrEst7FEXOIxNGnP+72wk1Nq9Iq2yamQ3SmJlP7LIWAIN6m6acGwJ300+YdDVBP2JW4GnpQYNeGdhCe2KBYE/cIXBgivLUlfPVT/BY6xfAA412SKBXOZPIjGuCJzlmJT6W2GDRKOuW7TVJHuOEdEdyZU/lWuA8qZMXea0bFBLwIzwOCtPwLvjyqrgfTCrJgG7Em0hEHE47FM8yu7OdVwQshG1SVoU6nZbr+EBxfyEGOFdmrW7/LWphlC4GjywKub8dmLSwZ8G3crcLOpAA/vSWrONw1sdbV22WHhhfM1NWtJHin8Z2NAMAoo+igmqD3oX6CoeGyvWYai3vXykHSLAspbYulfOuS7TrBwcE9ZTDZpGwr6swYmQ1YDCMITeH1bgjTF5uly9zWYkFdHqyBY4EEFvsJ5B1iBh51XOXbRVENbVefnbR3bIpE1n2htCDVWM/BE5tSOR5xWaN60TnRrwqIKY1al76TnZWIvtYcr85Vt59t0W/7fDEbCTP9O0aH7sskT8ZP5VcvevU6fxO5CJ4dV2IArxbeORQdWc6Madc7ldYuuhYUCddU+5LpZngKpSusE+j/gkO5ok4FmochzvOsZymyxlvDWIUGrCdoMS0RMFq2O70mMf9XOq6N7a1dD5sOGV0X1s/JErAJmZMfzMwmxMtzPfcfgES+Ny4WNguvizEtmOGJ10L/0fk0xChaXht3N82jZhbrLygvMnXPJQpsI+0Ns5OE3UiA7XJTGxmfjP3EFjHS6YriuNKFmbI0hxDZ9Yf1prlLqO+dIqeIznsPZ2wlTyzG+ePTn8jNyZF6I61fzTowvQp8zLvkMbiDFx3a6jhj+uRM4fsVgOBYXQq4M7ewNZgFOVoeNYS7LGliE2Cpt6BN+b8y2982m0T5fcmMRKzP82KSqDb9uJWsFzus+sHfNZGgE43itCi7Rm6kjSE6QIjlVnnPNFZBlrJNk0Ia9tq4QTRo0A3Gc5P4PSuzwplkMDCwqctsvIRLpKcjTpocTqghulvb4XXOVPXl1Cv55t3HkXhAHvlqDrHIOvQiRVIv1Ozgr079SyIkDUs+7rnuhTdG3QX66z/Opx21czzsn/jkssXfzOPkNBTRgiSXgasxweF+vAl4QnZqj0eUcCH6Ocgw1v3l0PT0Cef0JaivnI82FZZ2txkzeCsHm8XM6NysaprJGfp6a/C53tYf9ZzzA8FBEayTe4HloqGJqkq24I8YjlLziJi6qj3eGnBliBYTw77uq6GPtCWBpl67e/XuqEacgbNH98wT3+fPr73OahK4Z0Hr7tJAPnuEsQWPgBYdMdRNg9iGf6suW6VJHpnSCzoYUkE+tG7fXOtlK55I9n7hA5E+spwjjToGzYR563JTu6rcEn5CBtX6ZN1knWUfPECySDP6HLpXCR9Cehl7EHCvk/1O1MptaTRKy5UhAbgobEHaiPedxVJuvnCbzZ1oDZ7TPpl+IRrYqDlMlmxRFyues83cx4WiBBRjqpNZ8lXbqJn1pNlNhUlhSBONNC3KN1ZhYDVvYwmR22mQ5ZSxs197MF2rEZW8jJanat/1SmmoLY3UxIBbI0SUmWgWy07kDMPdAG9XGrTw7CAJfDtxlYL1dFIrckj3qm1ck8VV6NuuBIRlUUdrdphM1PL44uXFdmn75ZTcrIPaBrkb152aKfPq6G0Wo/rGCdlEBN7swwDJ8AGIfIlujzuh0CZJl9kKP8LrEVKoNf16HfcWoWYdIPuTQ86lEsU2JFwnqvP+4Mpku3nilLnMElVQV2XBWwiFbNbKbnqdE5RAAtk99VKP3Eh4Yb1XV0TRK3OdifuZmid0xZNz1ykmyWj9w51Vi2afVaYs8SLNyA7E6E1PcGj7On/j14U+vnKLouufTxeyUfbfvmPYrIUbGQrInF7Nrrl5doThiSnp1xhEMnYG/gPEtpf1QMY+g4+VSRZyJ31x+q1U9X8dgTWTvsqYBvhTYE/8ILZJBbswotAgyTvLC+Ppk8G8ctQRoDLTWSmXGy9wTLYolhyZ6sDpFn2EFIqcxC9lBEz2bPdkeAijK/KPzWg1hY6orWNzEPPaCPAofTZmKpVedPtpl+KQOBWL7F2jQPg6iAkIukllqR5iThMRHHBw+nRSancURr6FHdCi+qRmjqlIYyVCyFXU6ISE+jiN6a6lvzFeaR32xB83SFIT3nSswqoIzZ5nHdCmEUCkIsgI3346Os+s7nbqDdxAcL7EfKUQ+M5raTCPj6BIYw2p6exGtYsNAH6d3HoEiz77FqMpF72uBvHU8D8lRkF4NLs8a6KqhadfqO5snP4KmrmBbwgIwhpJGEFYIM6nxO1vhG/3luBG1HFosyfSz2sFyDynxyc+Xdlzx3c6Y9WKdDMpA/JbUCngNPsFMUXbbtN29ehYVRNLFXGhisyno2qW9a0bWOrtjvXEr4SZXOrkibDA8JYmHUOPbS7LIKxFTMu+QkwyoM4VcUV7sAxCf3Mig/QFy/BHyaf5ohO1ZHLTDsFgGfwRdxjDBCVA1W2c0LdUXLkfZ5HIzHon4GsBNXtDGplD/SebjeQAJ2eiNG+kETwywiK4WlyRSBfVeGuFs360hQIFrisG92x0BFA16u3M/U3Sau8fYLI7tRlP4/G5fuooLoAwaJHmiex7K+Rp5v+jrZEAEFBB8qoTLM0UvFipg5fi3OEf203lKWjVUT9IA2fYV7YqPU1JWE1GH5PikBUihFCY5CZrUAmVHq7t72qBQHAmXTf0rbJf875+hI3MzJyAYCzsJjtQv8tsk2gmjF2URfFpfS5eq9lNaigy5Fxr+HLwwdAA0yT7HhLQyqE4+TcaLHrXR78GxmAqPklnrtIGsU825foA3ohQF8eD8gq4Gih7brBnpZLQHAQd6N0R9tdhx2UB/EI+lkZQjTykmOToUrwCV4gZ+Ws6c3eb/tzNfWiXzTYKtxjF4vYjKwizP8kRi/+z7KgXHUN3bwcxt3u5ctGbN+vH6JR2swrKrPT7fy0bJLA+Sga+cANbPQ9BY/hGkZO+cgr6xb1ksS1Ow9q2v6jZS95mZrjY9tF+pUmpccfjjSzr6iV6eCopL4Jw7qJubHw/wAlAr7pBHUL/zQ/ck5QvrBdjFWZUcXyrfAPl+6Fid4YzA8jOx1zOH36C/2kvWPv0Zw9SOn0oAmPuhIf/3XJnsSTBk10fFdyU8U8rmxveBEcc6MOGkozhWOPcttuz6es3WyGc2+ZGE1U17Ef72Om4Y943LVPZk6mOR3gi0Lq0Xb4VxBpBODvOFh4Y6x7aTdvd0DtowQsYBfaqhJObEAi4/0CEyfsIJWdkFLK2P/RlCgzFSwle3W2rmB07NDP3Bzis18YUeILBLd80a2If5BXU4VV7fLoIQLaNkOmJLo0qeg7juI1xtr4gGE2HW+hYXqL8ileeaNQPn20LTPOX2W+xNgRPHXuU+FWVnJcXUjggWUYWy6NcFfQMR5A/dVlQM0+dQRNmyYKSgE3LK0aKlQkDcAf6lpIDt6U2yYLKVL6JpmhFojItb4GpMR7bFi503kDwzOILszrk+DNG5fZEh8OLodq6HBqJU0Cn81kh5wdCvuFJqk5PFNsj+Rhik9KPccZl8Ohc1YSvSHqwawAlos4DlD+f3Yi4qciqC9fovnF3r91NmXEnOb40eQCA1yRiuhzafvN33DxQChdtGYqmkbF/dVl2RfxdKRBOsioxGq3htvgPaxwMDSfahufYYZ329l9JVMWtJqVZK/R6nNv9zZKkx2wFbqobLaevQ7TUPC8+KIQbASh9cNsJyKPPUiTMXK5CVnjnZAa6uuZgngpALKf/MilGJBB/zG0GyZ0CqDFajFhEGlz0/4ouUrRtpFhvvtxYIH3lF+qcwtuXSRANoU+OAynFaVJTSjKyMUHy851S33P18H/D1CWYLSn/1zxIjTfZrTEMOoWMYOWXC0fjoKxu/jQ5UaTcdVl9thSllHZPG7Ox5+X4/8tVazM71YtP6eXdOtdtiSDzV5MKtUlFuSZ3ougXC/DA6VH2SyzeRiDMOk1xhGsoDleYopa6jeMHp0ePp5jcp7qGxDVq8MG+fJr3SWbGxCn9RDl+m59/eGRa86Gjey7CJ2znwed35/Xb7cYD0r+QlD6nKz48O8QpgHv9fUP9E8erB0qpqq65fQfcSRD5QKRssHhVoao7Qth+0WlZJa28Sv0Rkoem9AqQLxurr1afRacB8KeQ+y+UQ5wqJDoaB1s/7wqcr67VODhl+Xe6z5VdkLP7Q3zqBeQNtfLmHxRNP0uXc4G1TBp3rQQ3pAdGFyNTgit8bQdItMF4My4HcMU5FksFo98lpBz7imZXm0VQ7dLiWitkAAL/dwiMyDLTdX/PAqwOhmyEy7ny3qJu71vgvOPx6LTVHlphmdXm0DBkb7F1qxmItrvRy6wXxl8rjaCrriFKgd+mvmD8s31vYKUaw8lsusW3ks/O5ML00fAw9/eP/oKRz1P4aw8vjBoGsM2AcNxXjxrqf1usPeZh5qUTVc5M+U0ZT007UtqWJHNaoM8p1X9sZNncAmEebtJ2f/ttbvYs5dt9TlM9cwp6JUi7GI7Ru9YTF0XLYZobg8/kebSuXeJj7Q7uICRPsv/G2SU5EtAzX1Tc4A9Tez3NOODV5usBco9LKchouXgIIQijgDpUmXk3FYnktMkV4/Jas67dQY9oRYbVsMsMSklBl4xvcJVPqQOHNnN5ArKhLHgc2kAwQysCUzKXoHGQHmNvsMWkK8zD09h01MNpUuWmq6zDM57LwNKD5HqvFoo0AZng08UoHx+mAM90Dt1OQl795A1TYLrxlHMI/JcKeoe6NSAqTuGwkFMIrDzv4ylZyZA/qtAAkxRcBKhsOtXtsPRLwqhKeErqYU19DYDrc8X9k76rtZbwNnspnErhT6jWrzPovzPI+l+245ZwWTbm5ZAPnRX6eQtwA/8itabyTtZ+EaecLS45Cjte0FjIhMF6unz3q0SF7fmswyvTmg4qmb2hDsvybv/0KvcWimLCZ7QKHDlZuWwx7UDvkSLhJs5OLMYWoqlQgphm+/04+oN4oQMlEotwhWF7EeG6YMWFF7HkNgrvq8+I7DYBLnP4HECaOdrT5j3xby69REE7l+Yt0jJkrvvuQRwXB0RGlQosNwu+jzmHyjM7J9RQ0nAFnL7yaMnVnbh18Z03f6VWZfAoTDmpW1SsiQoRbBdgls315sv+MiQVnu6ZZINEH9MjjGQjEOk8T5Ru6w7Y6WyM5EHPF8xPounDOBdMqD7lr1YFLgGQ+3A1D4pMUsx1WeJlDDujoj02HwDBPmIro+cPAS37pSGVqtK3F+ibwCkSB929MZzVWkm8tllQY3kO/PLvSiuBwi1SxkIUxkS3osYz8QlRmIQEE+wA5RuDJxZrnF+QI2/kpL7fQ09yjnymMwgL45Lw5lrMTfnbIru9veQUviDUBFddkQka/nQ3Nz6qbH2nBdy9lwiEmItPDkiIn3zbUE/msQyq31pZ7ZBgF9N1eZEXlXwYrwQxD92bxWKg+uqSy54dVJgmYRO32c3AC7JeoZqRF7v7fd8Ho9DvnOW+l7qiiQzKCW7hUqE30A/n9v9I/x8G0pXvnxzijRqMbTKMBhqYuiGFPEsIJONucKT1zo1L/vxYYhDemk0XcAXczUI/BFDfYcYXUQv4lXdoX8wboTVyYDeSp5YFvfCnSiNgw65fWjilRoDM+wXcZIvZnfB25i/SnAfqt0Z/moCHk6mbD7Dv9An495xQlIDLCJ35ERnmey68HZyNQtXIWOYmzdj4N3/xOuRMmcH3XiIYOIChXeYv8ajp8cQrVZt/zyq2e69zZDUMSyyHE9q8q8Ohrmu8SKwwXOTAHXEgoBbuwV0mkn+X7KZYGbd+lDIY2/E4QH0VDIOhTayL34UXreOGhrLQx3OYR1XlZxBucM9dU/4bAay9PEXrNBbUZzvu9d9AZxLf60cIiTCfGBCFEuETqhfhUyoZB9wS+HthLFcD3Wa4r/BJpggbiX7kdV3TBVWpikxOVbbSaURe36foLd/h88ly87m5hD3Hh4PW0tGD8LXlAvT6iDPfAJBzyUvGS8bRKs68Hhu2hjQa2xI15nXL7vNwiSABV5JMe1Bjrn/HtmjX/UBh6DNVfkdqDc6tV93knJW19t/9WIHyWofx/CAg1obm6b6+FW5sxSus6aQe+28IsX9gMWy1ai2yiy7mN1pF+e5ojd6doVSnJqkLVHeOxxTG5YylA/fBfT1Gt9V9VPD/nr73O7FyT2D1T50cOvlBtqavU8w6SdjLogrY6A12DR+hUrEKtuS1P7kWr4/3bJOsvr16i5YJ6qDkK0cCuyEIMI7StrtyDHWeijNA/yopah1NlJYqc/f5ikUc16w0ep+jwazP5QomMGwXnCL9cHoKLnGW2v0xpGUauy0Y8wmRGUTDe7JLBqwhgSpbGjOSRCm1kTzih9ALoFOlPDYrvnjBIbLpwhacggwrh52W1Z0cDIuFC+cIdhECgK4qiigIPdHBiDDO3ZiMj7a44I1Xee9cFlg/eLDUmvh031iOUwt32uaQX814E1+sXj0OrCg08sEZW0f6P47x+BdvmsUn5h1q4VbnaPHgpjnXIQr8zwF0ajjkwjIoIfr9a3tbWgpjrFVRi3NDzzN9i31LqPZTeh2l1w0aX7klC7B8Zign+Sq3lel9nMB9y5oCSTmITJt9r4nbpSvcbF0B54otWPzCuRyoncsFZWuMeJfFJVYIwghD1rEK0m+dnwfBZaD4qW+S3NFazL1Zy/QiVZkd73fJx2yjcmxg0yAkmoxBZEZZUA1Dnb7gHS4rAseWQCkpWEBJ9pxC5R0TruR6nM2kjEgo4HNshc/GrH7CKu9c9h/5+weOaA0VDI0xGjI2o4sdX4iUo2+Y+JtthVHBW342hErFUQLNAQjVVL0jjGktOMwKhKFw3x+JamBLYZNIBXFE+geclgBXOfQcnSJqW+9piN9nOP+wQQYoJMPBKs10twzRlHAr0Ipa5zYt30KsY+dZQxZZRWHBSIFP9b75br8Ni3d1S2WqDz5A+yb5ZaN8uiGGYLV/8hZJ8nsXE1g7VS0qO1e9dQt6DjSUcXH4fhGrQC6DmqPDpRuc/OmUxte6Xt/pnTrH19FdOhAqRPS815VrSvmmtzfLHj/1LJdcvqAOil+yDU5YnRM9QxrjBtrBYwK9CPRHNTNFhqgZiIirkCEZPJ1CK6tjqIG6G12w+y6DJCClPzdxY9azZDaiw7lor5ZX1HAAwCjBFeEOpBDbHYf2dzU1QnWwENCqcopUa5Rdai5E86kcjNK+ODPXXqOtduWe6yPQmNaS2Do+e8vBWYTxMqL5Kb0xW5+CwmyTsuklljH7pgEcaJJPnlrvCOCkxtCgPET05gRwHbOJNOUfR1LuGiztqvvLc3MmuxQ6SyghVaIc/F4+VYw8ncIB/4sy7d88Zdyd59S+YQcGWRrqWhtJdIOJ2TtTbkre0N3Z1x6NkE0QCX+7X9txUJAS2FbtIlUtzPRGvGsr5k1wIUIuVFEAG8Fuq+/0MkB8mcqD0PozV/M0OSmkeVYn9jSK2wgq8vKydpEvbIYtsCV2Q/RwO7UFojuTDx2oEj1/2eOoda3ly5o4s8XMIj/sFnWW63dkFeR9HNic332JBl3eD8/RrewZ99q9zBE/Jm17jzLrZngVrnqB36d1+8CsSHBHyJ8jLfU0ziQ9IDDEELMNp8grcOPVlTwzj5lDiHiV3VRUAWVc1+ZtFkeQygvOk5x3t6tEK5fVq0d3C7+F/e8L6SIfAT/pwie4wD9+Qjh/pPe6RtvRPjzzsPfrmUHaG4xfQ5hhfKTgG3vK+NRkOq0HzpO93VqEPxOlSuWYqsKaaKTB3QGujXIw3pbNUFznI72H5+vCpADVvMdQqiHOIpndshJX8rjFIG163tvvnIG8qMjvZGdjfnphsobMNcbzZDgv+6ojqV9RMjx57prtd898D6x90RAlTo3Vq2RBhpoN/rCfEX97yg+Vks+wnq2SxPl6j41XmsUfmtIXBD5D/A+yyOw1TMRF7DANqnG2Zh+dnqMNTkjDzitpnsja0SqoV8aNn0DoTvcUcBIprbRD2GFJIrjLGhm6AjSZlsPObSA1ugvQYryj5zEVVpjlVBQ9gNUAR4Nl+Sitoacv5t95nJrjdEOvtopWjDkd7zpyC3KD2AN1ne7oQXwiqWZ3w40y9K28dFJONAyWnQIsYsR9ddMhZkRRzyQg+8LJPHyQ+trQ9NHtY9hUE1pfdYgg1hlUMFY8DGhtRwbMKUtWAXqUYxDwdHCQ/7f/nDfuT4ekVsQBlX+iQsOj9AJb0JmCb/4/x9oUlegAe2VH6O5sPOO3M92mldSHRVuatQXutbBJtpX8+jW+7Swa5aFrFYDMTusbxHjXWcZYosnEKXN+nUWReEglj1vF3/pORDpCwAkBQOkxvAYSVJri7OZQzKK0N5B/iU8I8CmCJNbGLIVxA1opXt26OmcVPfyF5KWU47mkxbaGdcNe0kl49k5zaP36K1/2hRk17nLeLl7n91aCFgS00GRZRiZtNEo9QzqiTmumwCSxkC4iJogInhr8vXLsyxKKbBFjlq7202RMJHZpT/J8VJqJxJ/odxIVpfJV9bldghSjc782t9C4mXCsEOAQXxGAVswgbisPdWS+D1a9ROyapAFJdpwyiW2AaOntXh3J7w4G0loVrDTpa28mnMt2ptG9QAqb9TtZrK2U857N4AQv9TmuOPojcHxpT0uOClHFRTAiS/rWWOWPFDgRiZhM0t1LxLJsu4hZ2YfD467EdSASiGMQOv8TDLdcEBm2l3WPVEKD3QOnpBo2oeYuY/kJRm4Ileq680EwjGquBdTQAcezdCeG44tbjdVZccUm0uYagmD89sPmF7brpvCx/hBEs8dRk/2Iz8/tbC+Q6XjsoYCG6LbiM8DY9MFRBnOZpTVCapkXV4OPOJgB1SrPLzoEAUVjYk9wAUJz+8oyQAoDlRpQheIih3as6MdkRZnyKauFMfTffr0P+z35B7+U0oztWL24LKERkzhIlbQJQpgd8Xo+3TN1AnzKzXSvY/rVdIYWLDXn+v1LrS/llmtTKeGOFqlNiobaZsy+Y24oHJ8IrHe44sdTJpBlGoUW+ol/8CPueJAdtEVBcjpAJtFIMCihv4+BxJ7reISymHaTKhZf8fvoizvfF9U+YiVumawwV7Uc7MKwTV+bkJCqin50FLSi7Pgjs73rWJqEX5jzo0/cfxyl/osIxY3oY5PcXfg0xK0uNsWee8Aht5uVY0ow/UkktoIcDVJIxu3vMtLDimT1Y06WXaiWFe9cM2LqEdAzTU96zVhEf0U+6HFEqGSouqFZQbpYgQBPEOSOENtEwtMnemfL5AWudfgpdryqu7KrTzwSQTC33hDb3n5vfRuY8cczpzMnakjb7YncOxLJR22KFzdyLtEMUIXBaNR9MCeskZ0IM0YqQE8zmd9wK55AYXfNB+HVYOODorfsb9iRtSuU92pZxzyNzZLlRQYIyAhvr6ooD7wB2aa3RrBhX5eu8tS8lXXu/lJxLTWdvbExAyD7/VzL+i4IAYJBdjKBhNspblDPO+Dvpr0Szm6LAUT9MG8bhkm+tyuq5rhhnUME30neltTbdg9QcQhGdiMOievvfXlbVW0s0N+m092zVuIpbI6/mMjcdjiV183+ld662GwQ0ts9+N8SpHtSh399a6+2nLYDLLJhSc5Me3ZJg5YhwaPeDtY3cVa+Pqb6PhkYbk/mZfgLEg9i+1aYepmOFRkpJstSeA+H1ok8apZwHqGovN8+AFga5+2tu7O+Lp5dp5w6nMh1H0zXJPGSUlTEo/110K5GhTX5Sp3A6PmMSJkiY8jT7T4rVwUsqCmyLykcLXD7T1XGCfJwaiDmbQPGyVvDO+rAh8apQAkgEmh0SxrU7z2dQmFA2I28Uw8qum08/A3B3fcl3FukFPl1Mj49WBrSgyV17e1TpAMajG3HTZYn2Ssbe4KznN5pnXPloEMPgtVwDRaxMKtZfUJ1yoyFhVNDFQ/Q9Znvqsbg+y7qUGyra9RUF6wPXeIASZO6mdVmxpaMa6hfSSU5RrB8535Zre6tbU3qAoVu547pbXabHm7ILzqNIkwTMUb8OmE62WDk/sqR9rqC/15IKIdZiKxmwha/LtFqmnUFLkbRicLN3ACbPQbJ5N17oHKukw4VslBTbOQPh9fbIomyRpAhfPllk6J46tJDZlqCEGLv+NU7leAm6zCX4jZ8ahE4XoALQoR+nOcVTo7cEL3zvSF9EVj/Qg5Z6OSD15yhxxeFEauLFtFRYitGtIGwX0J5skyoeRAGtudD5RNOfGXQOfesBh4z8+dYarF+yZVgIAU5b/gQN3vDBO5z2gCY3A3C08Vf4c6W4g/l/QEDy4TKsJywrxPDsWa9oW5JGYee6rzI2EMbb3//FynyUYvUfpn6zZXyd9iKWfLOyzgP5vrpOcNtij4VCPyFzovH+zdiKnfIxvKy/jcHvGK6pWmpjWQdb9sXpTNYl0JAMS6GbL3VeEITL73J8vV6sRGHYX9aRuNS0rcsnkJyLzO/5mYs64viZG6SiV3MMeXuQCVWG1sUGnulPdPNdcxzybQ2OdxOEEH8DgLFaYqoEutyXq/3gUnuv+yLJl19bzA4u2JsjLm8HwyBKtGetDtlAdd44beldRjbplmAji48GMhrQhqrDHUwGwP9b2mNiqaXn3tYErYqZGX+pCtpgDH0hnOyIo+7WtEScnjfXCt9S4nNmF2/ngdn+RS0Uz5J5rdAoQRj9CQArbAH1VGhoZ+hMC1mgFmzWBouufgk9YQ9KDcHFyd5ji8kjXsQ23LHeYc9//tSaJ57HqemqY8JqTohgX7wpjPdlnAlog3Wlvra1uEt54XwNa95qTc2MEmK32JL7sRR61nR2jk5JuXBqdqg5aZoW2J0RWBl0w+47e3njitOg1bcDMH73ZdlBPUSFZGR6mFOzLr5ETrjklpSffuQ+YEAo1kPBIUhyAixRW47Rv9d6mzNfzFKkjALcadDaMTa74dlZ14T3v8AE5/a2t88FvuDk3S8VpS66DEPhhOSK0JWRqPcakwsQE0n83XwQ/+Cz/hM+/5S6vcFkgQ3cSm3rUQXoOA7y3G/dP8X/xSe8fsb/yKjw79wAJ9ZpbQLj4LSjh3e6K4/Uy8nnKnLBUy12+UrykT4YxxyQdPHaHfizXJUisGKqZ/eQyLNC2t1bqDypQijWaKyFIrILUmIsjT+A7V1dDHDD6XP+BD0i3c49c8IBhFGIbHB9dH4MNmezj16ehCxUlY0eZz98Sb/T6ROH1Cs816R2GQLxkUjFZzVS1PnnuD/LGgs/kNOdwTdN6rt4xO3NiMfm7PRrbmqBxUyjMMOB3qSbvCH45eAZyzAVLq2hr4qRiGSVy8PJrXm2UMvVKRCDm26UBzTCk8IEGXRT7UtxJd6XmYBAg5y7LS6nHEZExZ095Cl6tEYy2mTqJFgXQKzgH3/qDohOfvDOKV/wgtPh5/hA6inA7ZQg5yHrLaNspCp9mL+D+gpkooqCDBR3XDPQmkvB4adnW+l5kSfL4P6GraokWJyFC3tXeMRrtUU7WSrNFl6GKzbjrJYL2rYrD4fgCfC5vlQnKOswa6jXMsSZZzeB1p4BUvk8uSfD0yZWOUzxBHgKAMCzyvatoq3voZOFCGbDqMm142ZvvvVamI6qnp67FV6TsRKtoqmFdZLLJ3/g6hAsJiG0sa86r0J0nDH2WftjCGwe/iiNf0jfjXZ3yeex8nRECcfWp53XZdGXjLaHGnE9uAcKrTHud+2NsnwfS7MV9J0DCuZiis1Rdit5w+yEiizaxMwO8O+kNkCKK1TrWYE56085XHcu8FhVh73i9Fo/oB00Fm08aop5x/vBoJwkTQdIeie9WV3HqKxny1vkM+BYR2sXtpYw5nnJs+SqypEqZsH1YfEcTqGniaTy0gbgCtWCsnjV6m7Cjj3hIYZOrlppKZ31h4ml0RRMax8O07yFMHziKOT3OiYifwPTCnCNeTKsKXebjdJsdHjvswt/BnEKc20Q6EDn/RGTDpXs7e27S1J4nh5EHe7XtgGvL/nofVnjTwGOmDU2mN5LbHk2Hx1XkAAHpoc/LkauPiv3Hl9AtIo5Dae/MD7uzXFIPLmSOZUwQHoiRn8c7eIQqE5MrTLoXqcffj2Rqmp+yi8fTuYW0e2hDHDk6ujPb7INkb0mLGsdBbWoHO9/5hJIUn9VtSAXG9ZczWVRU4YJncxprqVTl5M/ZDdBjaY8+FvwywwpGduWLONWft649ngLoVFHKZE9cGAJK4D1FWhBLsZ+dvY1TigzYNzvasSflVXSX1LTJtOWsZBPK2uGL9kLXQFZ7MpW6fOTuHogQKep/ZEIzwDRT42VxzgIlLvI6aJcjP4MDi1gW5O4672MuB369zvM8DRIqi4rwy6RSon6Rf8j9UUudBOVvLdsqii6Gpq74xp3KYzJWHhJE8T9gfxb0x8QlRusETCNvXk8Muk487DysRTMt7HBxgp117SRXgCXkv5NJIdz6Weu6Eih86Qok7x7dOhGQ4eNBFXo9TRLg6N8hVizaAg7ApDYT0b+SVSV2oe/rrd+9QhNBt96HDnrZdI7P7pnnQmVHIMFrhO02+RW06IYGCqa1mL8H47FYumJQhQG02L4L3R4Mp1m3dhG3k/eYMtHq91DKEZpPB2FaHwR6j+7GSOw3curCS7rb/1YgP/FMfL/KwfWjY7a7RG2QI9gdy40ZrkV92/nlxyzTa+MRY3zGzCvjk9P2GPlx9+L0bs5E+j5XExUF/MTzJk7XpZ0G0KZ19spTzwgeFXsPzf/4T35Ht0lviEBuwCiW9Z28I/nSieyd1Wa4YlP97IrfUaC++jHD9SPxyMNK53oyW1V5xZoF772Wr8ryc+M1gPHxI0anssvapT+syD7omIqNUiFMw49CjIl7+xBL8QsH11Tr80nGyPJ4tB5QnTO9K6QBKFWhIBknbLU5TIP0+/lcWxBP/Nd1cncifJSP6G9yoosa9QL4GYe/qolaxQPUqXXAh9AabCRocEVgyx8/nsvdU5ryGi6hE9ruoWLeFqdGsv5nzvfx9hK5WDFVJCvAeWSpD+9XLubMYFVEH+cXrBkSHTfo6Uei9pI8x6DMdOrhn/QhH7SQnkHuB5UqcfF0uEO7GfDOhQy6Ag9/0vDBePtd7FIJ/cbmVe+JfJuhXybtp2ehoZCrsP7Gzlbsm7oX5pB32mLKQx0ZL2KwTYaKC1HcgY9cRcoz9M0msPH/Ec3jT/kqwnE+3jcBTQHuGN6FPJFHsQTXCzafFZojHG2hcBbuU8Krok7/Ep/tAHoBVEziRE5l9idi+ndyhQAW1HPdoDZQilieMuN0ArU3SnLr/Vc+t71ERHRtuUvf6MCb6XF9QV8eq1BuafFxNqEx4Y1VsEOZP3dlmbqIv0Syb+PRBoHsEKwPBHqM7Tx3tSmbyiFUw1WN0DdkOXZ8BxyLNhAXv38uBYl3Qceg+IkVpC2C67rAlj6jiP2Xt4CgqDsjYdQ1dArGjqnn+jqv39y2Wq6JDxqRb7vybFLBHwKxIVlsjP/8zEaysGJVAGXaRIfX/wtaMkyvgJ2w5zE1dp3eZHnY4GHgj30OVvVoHgamKe5OdLWLaSJTD9Hb01uZ2K6/PcjmvCx9uKapWQbiOhPoqWrUPKgZeqysEi9+jbB6mmSrUzjioonGZpB71m81ZilbH0SWKkRM+VpGhU3Z5zIA0BE05ZbqNyxCPjlSMDQHqjlUADil3AtOu0Ru7fLV2zsC/AqADUanDMhDLTd6rlOI9x/nJFuRkCRHK8eZzKJjC4bVcnLI9kvb6Rbme0UYVz+/LEu1L4Oda3wP08SmmBT7PWgIirHU+okTBfFhBagLtE1WM5x/6lZPU7wJj5wopAh8agSbMHt63YMsSpeqBP2PcOocWmABsN8gfUMIKetKCilrQxL7tnfJ5oXASX7Vk74Zen9mIzOB1rIMTdCedJq34Dliw/VQlXcibtZ/lkcTWN5Mkonvi/GhhHx6thew9zKFpumgzKlT7F/H2idBVGiakMZprkcDXo6lYZp+ftHljkErM+MEVy33EP9pFq3t/ud/PAe1i/U5R05WZPanpSLP0CzGJfWS5fU9r59Xm/JcNaFRxQSKuV24Z/JXMe+6mKaFhVzPYfAkZrR3TOskQm1j71zQx2r+wF28tODZ6keeJWqyEDUc3VZvKWh43Z7uTcL8/Amf5hi2vRUHZmJq6AEUg8BFhV06y70FACSWaqPSrOK404t5gHGtfbsyLFSYsBNH6ovJ0h7cZR+BDc5YgipMsrae8Tnct1FW6FXfKalMMWgkVb1Jzyy109Cj0nNPMfMeJtSTCswFK9sJ2RwnI0U1ySPAh3cD8l3DpycCWb1P8st79M17cIJeQaNMJrMZN+KHKTtfFttVcraUbVT63XEoJauRqB75B3TI4XV2rjWo+TsNYZeXVKkGG2/yLV4R+QvHtCRvrG/KEi6FU3WfcR8SFXqUU1XOaueUWpjbgCpDL2rdReUBaTApANQn29Xw84G9GlgifktGeb5igeEApVA11maCPv4HOxbjmCsr52nad0A/X2HADlZ3BC+1OY5VcW8yJRQENCrM4rtEozkYlg9VFI3/dojq+ocojoSG9L/d8lsAhCar7GqBSJ+3YiP/2VXCkaLATPmnCDn+7WwflYamPP4Vj9MatxgofDYgeWMUTdDz6VRH3AS9EqFr6/KHFdYynRkNpbtbTkng7RdbckyyCWIodxnZGEGh5ZUAvcC3ngGCt/lTS16ZXNjO/vmZVeaQhfx6v7rvmFpRjFxUatVsCV87TxwLqP0qBFNriCKboiVkWsyrjpN42NM4+vvrRRgO7ir+O3tFk6LZSGIVTMVvD3Fp+ONGV3o9PlNuwdO5gq22LPlIsqIFGW4yFCw9hTO9JCbaFKoCzl0aRBg0iUanFArfUERHSYXSqy/MOh0z5ylapKbc0JKNDLCJPx+dZZWYK7INcrNIybwri4t38B6fGWGuIzF4ZbgKqt0x2LpOKbnyDlN1t/fOzR1zFUPlPaj7bBXuXqHUmdBbBJKJvZGupaB5y0AWDcKEi7ehEWipu9e4Oj02C3DbIpzQUkOmn1+JQIqq+myp1yhhGfVZrHv1XMFsWFuEcvdWI/62i6EROvKfkWZxobl0shhosvpGX6zntEHJfDj0oOmRjWvB/GhCLE2py14ZUkAD4/b4MwRS9vyydFCk4Taz8YbF/r8oMol3Gzo4TPALIQZ9C+tnTMlOlLXYYHmHn/uLA7l8oVu39u23P6O4aYAdKPG8lofD8chrPDrF+H+TnOTrTADsaDib+iesUOn6BQbf5LuYworBgc9ygHtP7K5CYg8vnq9niERGlfCT6FyUl9m1ZKhv8qgZbt+yGm1a5EilOYv3nDoP8LBqKlvsvw1sRRR4bCzJ+n6dxwBHk3u4LjnlK5XdOUapK71a1VuG7KixHku9anECxBED72vzc8Y++tdtY5thiz+DtkdTe+b5zGA7/mP9bkfATbxTRDHQ+D2AlOXYh8hAp032U9CXYoCX/ubmXAq5gfJIFJrupCIqE5WwBvaI6+6bakkXEG1nE+jzknAGtPBYDwkaPLhPIbzQvaMsGcN2HaZIixfEJPMP/L6L+Ai+kauBXJ6XmiI3D8EwlrzxUF9MEDXFfRP2DUIXp9oP3DSDErwDpfgm5jSfFBc/ml/Me4kxf8PRYKheWTMur1WZajC54eEO5cl3qtlLkVI4akm0TcDdxWEzk4k7mtgFZyPX3mYL9+5dZcQ6xJ9okaUmBkwF2eL3LIiVxVY0gx2h4eojS2Fg5ec0SlXSzOh7i96ImV6Ngnv72i/feCpZZ/gvNi8bTd4kQZGKI42PERT/H/bzy2ClBxzEGyhKUa66C7aiXtjCoM3knoggqPtdvexb4bnusDLV0HtPz0kbsBLpJY8P1EUW9oX4hvi95WNYcLK9AAumfvvypqpSm5kg4q2DViwI3u3gMC9m8kdWN6uKi3FWtWCE5Elv5M/e5g/gPylhuT1eiulLZ9Hqc4g+5ewnjNGmtYW4YhG6uTx83oNUAFyfLEnORM+6F3tXYKb67IXbYuoTwmPEdbgJtWRYtQSyaxMkMyJ6jDEn1d6f5wzKKt9nsi5fCdTuWR1Q0ONdSgb9qbDh01uezepvMEYWpbO2FrT7xTsq9lzIcZ3nRmyMO6FvuE6zZgN7fOF0lbAmcbnW5axv+kB7pIFjSvT4Uug/zklDPmAFZW3KcDwgzNWfK6grPEf8vSPCdynKXEebz7lUdbKT1EjfkVAMl31BCtAhMKuFTFaRw362d0w3Cctw8YJK8XjC1KCr6PDEl7bttYlL6l6xTgxUo1k4S6dITdvW9xJLKC+Gr2Q7lkk8Is7EfG6FuuYxHQ/ysFJngJmK7la9bGVnDoaCvjDArwdtG5EN/3D2GduAJexEZhb2liIUT7XehWcauCENdSVo8badGHAlu2KcyIPiuSJwITJM+Ndwyc0NPS0HkgbjMj2k1zN7w3Kvz3cr89gmIDXg53sg3tN5YYGBQkZQceLROLFzrRuKwtEU7kSyDuxf93eBYtLVqWaiYK6xm3onaL+uKsqa2PHte6xOHuel5NrCxehNLYcwxvkyiAS8EgjFT9jCLyxKeO54Vy3TJFsQLYJReM33OqFXH7rdxb5RfvEzKN3XMna+H2dkTH8jx+7p76NVKY2V52QrikLHX82rI4mwLe/noK3CLSrvI3f3y8VuOxyzXLljy0f29U2rPPlwQ/KPs7sEURMrPFbT1lMqs8d6Fudn+Kb7x0chJ9XCivmR/TTxMz8kFvHzzCyVlgm0TWKDZENmCuoeXBbLmZtKzvTX/Rt8Hm04OmD/5NzrPWoI3KhAaw+tuOdkB1igx24mvLwa38x5atXQUbDKiqd73jfokKPuPQ7JLOgGz1K88hf4X9ra6L7w/6PEBM+mpaJvJOCO3HmKmKF4/9L4avgdPdjtZ4nLBf32uwdczNEsU0GoG4F+T/4msqEevQEqRkdjDia1pjwsZy2DuAVKHGpI8JDCNtIbSCvf+aiaIvRe0pAp1PSNLIDoAoXY2UwLz0hjD72QaUi/kdqg4TzBN+HbgUfHYD/nlaD2WZuWJJcVWS2MlezVcpaCK5QzUhMhl095052+rpOw6JZA/fVhTGMNtlYP+bTkqzF450jGC3u+qSOUVeJPAxwFZPmQrSjsy446Nafs8u4XeVox1XAXBYzvHBO3luH6jGZlJog4cZn6rxurlHCJkUkV+ZhgNBx+im6aLUGQ/iTWD2EM4Kp7yulrGdMgF8pNtdkYJgtXIpTOwsvGfwQ0GEMr+1D92bgTHRgGbiAN6SGPARlmMkDCaXICFRVx1yfzGmf9P7Cgo1d3yRjG5IDA0p2abR8c6d5RDyFhsVHMcA8xN/yAS+4QPL2hxvubw6Q7/s1yJ+DKC4/pg4hJE8kMyjWpe2Exg5AY7oaoUuHTsamkdDTqlIcOjkcjMjyTpmoQw+A/q/5uw3iDiC1t3sTyB+iQ/PNWokJ7JWiHmrOkuIZcFMBVUKeD7HfttD8304bpByRY7kFVmGJDCaFb438eFFo5g6lks/ogyKpLBFgemlBe2kLPJUAtE/Tmg0bl4MTwXkgaVXKWHcLrRZSdm/ATZ18wivuQWMKoPfeUS9ACOc/HW0BY9Zm2wmHHQVJhRPmbXiFZaZ6nqwS6w/ZsE/BDHJYJBuz70BuJTWkxGf1ZNyyeOG82rJQ6GcSRkpTK9bwES53MyDe0+lA/EQbQwLtE63bJ9VMdx/VuL7VUcS6MHrZNxRXMm6CrauswvITZ8Nwld49eyskDpTqthG22SzStXal1xFQMKX7rL0pKqXyasxXfAV5zcyNZD384ufPKszG0aWNsQH62evoZXkku6xQe6ra0IMfnoUqazFCx1WBqaWYGKLE/uzV/DZWDVZcl5m4qmh46qQ36wHbAbZf3dqUgoZc+T6q5S57UVCcJG3ZKCpT1aED5KoyROn5PbPAirxsh5QVxMpfvLdcamUwTBIShlXuIf13y78uwfBknXSey3iH/XAR2yQCPZ/jqrtgMSbyx04/f9GinSnBZgCGQAeEnNChT/hHJasWjlAcHk4pMHqtS9rlGAjbDwV/1la3xEogpyRw3PxzWZXUfFVvoZJO89q7kdASZgkEojKVZGuirwuYan7PffCk5OczK8ZR55sMFtuFMM/9z7/CNujVQnzj6edBVOjtXg2y/75wi38IALW8aLzj4yn5pD8i6aEOUVr6Z8Rd27h6Sf42N5iysut+cqkTlF55l1+7ee7JCmdlvocCAA/wS/+5ajWcRvTxOaN6yIopg2uKsU7b7D6EYVZhLAKuQdhK61na+Pn+PGcBFnVqT/Lt3AAowxfySFhgcM9WDOcdCqaZr6pdpa6PpRruhwumVCHzNACkhBNUsfB60aBlmWhbFloGC/FJrDAERLejY+iet22CzN6X+HiOig0UqfpxusLO9R3th+JZyNnrZFhoS9UpibSVqtqg4nNKcPMRUSQ8lWGjpayRr6tRX/LMZN5dXW6OfxcPV370mlP2JbV4OKB2E6bqh41+3dIZXs+XMl875a/IAfj8GTudRxJZxRGVKi+K1OF+TdXYJZgCVGt/D9TzkorY8/YPVdD2JKWQtDM0U9FPzEqJ3/h4UewEpQCiispVH/1af7oAm51x3oEGfLBAHh4t0UMR/JRd0MVJ0Oto/J8zYsp1NfNZ/tlzEZdL86legJ728zi6YnW4TGAjJ6Tk1Ay8oVOdkTwPBQlqDb4zmYAkOHqk3JqvTQqBXZdUK9AUqb8kBwMp64IBqK3Jr103gAyL4UBXzcG+8dE37ynAXjFjR0ouNNfQGZfhq8jKptLmyGB481ZvoyukYuZRzmiYPEl8Gibfh8SC8j9grYxDZ0578abVMzQO/EYeBKPOdeXOLMWHS8SPBoUXKKqkZOf3gHlpS3E/KrvYK1Ls4I/0vYQ1aYpTLAKDjXDmkYac1h+j2uhOjEsK530g4o1V+gGyqMr4r9zeWQArC2t7936OxqEq2iT+GvFls4gMQ7eilC6kXp9/0Hc4Dj3Ys77OI97W5BcTdjoO6dSM4x3Q2xdB80Pk0xIKSTsSzNGl1jFh6nnTWletbsfU1g8PRoOxueGsRj2dRTMQzTyJEPjhSSCpYa9vpJlKA50NPAG30Hjd9bbUabaWC5SVDsd6L2nmQGuffbZWKXv98D5CJHIiH287Ack4aod2D8ehS03lV1ZcqS3ntk0YEso04XWry6uiHxB1NRDIFmuxkFZcsukcrOz/Uiu9z25HUCG+gdCGL4JHhp9xx8b0bdA/QNz5qdbPfG3tUHdHW1XbddcS7IgiwsoaLlUj+eHW3/r/Xn4CIqy40rSb22U5PuGVQ/+sGZkgPw6eMBLqJ4TUfeSNj/RSeIcGVdpBuhb+LiO61dGGf6eCQOeToEA/P8mIPjyAYC3hROdGPnsI5Kv7mJZfvwkLfkW90OhLFBtNYWAbpf3a5K+mOpgwinrBNGAeaUufvkjS4mLIp/oJhLIJS9FjCQ85gmgBbcx9qAHuEHQD65q99My7nVRU+zzIoQaZyTZkhNKg9gvrOnm2yJQbuCTXuUtcrUAqta4fAUhhVjAtCjxhdx6wxoxBOMEtq0CX4E9Ys4gJigZStMoCL46r/wpc6nQEEGGaWrrtbO0cCWlJcPIkNNkCxRws0P1m/aXX3fBtqloYQ5VaNpPkeEJt3DNtlehVD3HGDHOEWcAPF9jgTaWpU0ENxPio7N+1EnINMWw0b5jqKUFm9Q/U0AS6VnlHQmLYk68z2Mox+Hzyq0gcGu9cJrA4o9883Xr20R40/MYxQp/66tK4m8tzH7LoB7MRXDW21PlLiqMzPmEBdeCG7ijFqj89snoKDfMQmeAm/zr3Dj0yDu3hES7+spCQejL8DX4F8aV2gNK3fHgRDobReH1oakRL6LyYe/21LNTGvZGF8yXZ9gMA3QANjYdM8uZ7OnHzyfzNE1h+bnuI9agTEaPTjtd0SbxR/qD/xUMzg6C/R9wGjRoX87cUBG4uLvaJCle8Wr83GJubyE22Rfa/Q1cjFZC7y4swjsz2ETx4ubVeWxhjcBBG/4AoWHt7r2zAyzn2Owlhuo7C2DJVJWVNoZQwnE4B9QPdoBFbLAkwTiS7ZV1sPqsBTfQ+ns3Nchy81uTfZYYQyTdfGNMq74GFmRMPFCbAgm0m5r1vwn1XMlWFhY/x8OAJSZl7fK9IEq9lQ1m8HdCce+ihVlHqGja5m4Z/HXbPZfaUYKfMyDnmT6cM8QOvnHsy6xJxPPWPZ0u3y70WZJoV11Q4r5UCevbytrJ6NF7dCyLc2MLWAFNMVQ/+4rzmCB1+83IN5G8D05CoDoDi5iArDDvBOPe5LXjVJ6KpkaqEz/6WUhSZFCIrs38Rbv5QVPe1mgG9uwBf5SZzs8cu2UhOuFiQoM8G2csoQs60EPahxExloA60Dvvi73KFY+cJPjdeFGimBACRI1wh6fR7S3Jpxt7M5m/p9r+Rho2ObF7ClH3BWR7WoFXOGURkOTZOT9HCc6nIVPLDYj6G1E8YW478z2zmbYRLbWZxVB15HZ7+x+XehV3VcmQkAr0dUmurnHmFysj2yT47Xw5dKQ9c8UuX9CetARy7rMUWPzCvqKWTntN653kH/D1kEEkqVkZFo6SQHVzhDyubq9GsZ82cIALuf/EfNKRVIx4f06Cgc8HlSzWxMrQ/hWkmtc9Ht8hEfQ4zlW/pP7XT+gXrrAWP09ws0InLptUcQ/O/TIEhYcZZhHNH/AiTs5BAXCNF/p5x9VLAoOdy5IaT0emDUJ/7zMpF6T9t9s09slQIliPvHF7QW0/8l/69+MxeH55ZHRWFTtUpJWus8R2J8bGocEqY2cajn4x9ozGEIl/1XGNh3LEVQv/9DtthLP6oboykgxrnHzy1dAEk15/j8A5hRcYYKOBA/SZvFdC1pvbgHfCmAn/Z9ZKrnFzSDIbQR8z/Q/KEcYU8qNS1c0myGiGohzQhEaWf7IpD8OnTL3SDuORhUSHf2v7PFFldgPeV4xKP0Tr6xmKutUQSVISRtvhA5KFLbTc1nvcEjojPK3e72K0l0u3BIP+Zea1Au/HNfdvSG7H4Kl5lgfY1Eo7A0d4JyBT2M8Rg0y6zWYDQkCwhh0+NGkhXdOmQKiH3z5thod7VrHjv5UPhM1sAOfZgCSj46rDU9Rndz+3YVqT8VnwDUKdGnImMAoHTA3jhIPXM4hK8Mp1Mjln+GxTkpKPlQ4aw1xj+2xVUAVeaF0E3DnaRJSMeuzGV099RrCc4lnslNfOuegzIw+FkxYThftXxhpkvv0LnwxM4I+FXEUC/egZ5foBRLPzgqcla+qJcHJMp6V790NROb3gZRbC2mzcRIOyWPJRaiFLJlBtFH5PXSLTmR9E30LG16vP/vj/T/oJZTVyb2xTPfs+PbYFKwvFyVGl2FcCSbSsBYvNYLJV/ZU61v0pHdEiNFfCP8Q4T9MAe9GiBDjy39l0TY2xnF9mdCLwBmEqypkIGFUV/1pxw56B+TSm+4gC5P9BFmBnqsj2cbX3RXAqIZCnetpW7W4ybsag03xYGe45gk9aRrWLhMmGz+MXZ1ycfaUH5y7BVlK7wk9v4QR46ad9UDQOijvdr5n45wB8agV9X2RR2S4hAb4MV1jacLlUKEu33qsIb1scJdRZQjKN2mCcxEw9eJWXgyrsf5faU7PjS/PU7Dhi8tkHmV0++of8ob/MqmorC6OvcdgcmzEZzzcdA1BZYNGn9lIergYBQw7Gs/GIK+SgzeiivZWWsn2kAoQp3CcQaCM4FzL6CO8G5hKWZR/Tuqzkj9YSlKt1YaGAiPmjqbY0TkenIQZsCJc15hW4Pna1+UUaAA59yz+DTmqz+DZ+kNJ2cMU2aTwfMgMzXuksBvN3DiJG+jiln5wvWYAtSUd93VGMZ+FxtPunwWLPzShLmTYBeW92pzBkT/DrPshSPUH1kCbqIkphihof1XjopJk3btt0CqBIDsJnlJK8IODmKQrZahFNVdy6BSXJvbLmsHvr7RpuFZPWbOEa29nNQA5t/q4HrX+OjOvD6cnFU2q7I/DjX4JaLSpP2d76QAxoddk3X4CBPWkZPqUtTosXoaRDQ5vVegIHUeFPJ9URvIjaqhD7z5NpFcywSNdsAS/2Lpq2Qxtz0rsqf5DjuVac7hgT6eQycMfyvsy7oF+EBPXZgqAFOg/8+D+9+Efqm5LKPzQm49bqUQh+OX6m628DjXAn9vX/c9JwMD86V6mq/RjfTiwNnn8+gL3fTEyFz3drKmwGe06DxFwb6D4SW/FD+po88swd1h2nZeTkyruVIJLGSm4ahk4IZyfzz5aYHGPe1OrYvbs4Dkci9Ukpq7CPkiu2qPdNQGy3rwbpopQYpFkyu0E4r7+uuOHXpUvLCSHGc7FKqxP6XO27YwElMEdija3uLvDsewva1PQ6PX6CwUOwYCx+/nOeOg61lo4JCvzlPsaQlrvIB2Kk/0G/Md/25XNcTwiyx2jYD7mt3p1AQApXIeurEJJ5yrWcsn+M+5tEJJTTYm7yW4XW9coMbLr0mvaGfQ+9JUDSJV8DFDx+JhT06wEtvGBTajA+M8kCTrkWX9nSfUig60kEaXuE5q+TCySn7k/CehlLI1FRMOPRm82RdiDGOdICuhzm4QAhvpu7Gjtn5PNSOmlfFRiMgUbQTm/NXsPYLWcm1xuOX4sxzWmjLvOlib5+nX+RZlKlCBHrutbaHnX2yF8YoaZC6Hs6uEAFXVTK65C4ggvnGWBB+3gA1c9yEUhyM02phXAmcIjsjAHsKc8uCiJJksPgCsOvvn9qYUYL5c7hgDqY4Gq1661csXhXL4xgPBWNwYhX8X4uEcVwHQLx32Llwb6xMvI+jAQuLQvzTiCVOI7cRMLMqiYktmmL+hBBBRlxATd3Jwai1WebODifhFbCuQkl67keMDUi22a9ANEUU3njRfxe3NKqkcyRFy34hyeAYQi4fNtzspI9mEfLKETe9NyjliWhEY0TnsnoLrqVkHWxS+ywePLNj7BjaCNS7oP1UuEl+UU2wuHlubJzsGuv2oLKAD8/E31VWeKFt/ch2iEBIxtnbojIitIMdEYXOaJY1Jd5tDZSYS0raKAFChrjaOJhi0yBeW7U5ajLmpbqYUy4mc9OzuCgo+e/e5EVyC9pj0T5dwd3OPAwysMMlGpjD5Zyv1CBxpAKXFYpX9i3vB+EAQAZVwl7xAwZBlx9RZ1QIhw833pBtVUdmNKssNKltqNzr1WuylwJJeZWs3dhN5XQY2ilxTs4q7d6HUQtFj9MtmSwFdA+FyM0Lrsvc3G3DyxHR7UVn4aLYaIEWg9kbzhggg+77kQ6tcbZ/JACp0T1sPGWXRKJXvkHA8VClDdVQj7Jgvk8eFMvBIwKHa2zYV5qzwXgSyeBnPVJjJHGwDrj2mIUY2Mnmu+ETyx+vned/4y+SHI/UgBABX6sxO72Mgh5e3SQWR7IFd5xIE/O+cAPgmfRMq7m02P6eED4F5IWoCx59mXEZFp21VQBU2S0pKqQGWW1Kv6dwmIViC+6oAnzfTX90zGPxusVRoNXssEMuLWP32//sERvzLy3V9G98qVhckf0uuMOA4p2JJQn0cNGKPCw0VyZIFu4hsxd2Q1YiWyVZK1aKbF0cP3qZad2hbw5xrN/xjFlsgxxFqftt1NVivh5B8UZ+LjEH4Z/Z1fc50XBzt7Vtnl/8OX/aRx9eV0Ix9wxftAKd5GFyTSYw6kKHsDYjwgg/Jr7H2hUI9m4f/6ZzLv5T6AF6SV5teXq/ja0udoZAmlcDZvDRk7ie6w5SFPiPaQEJYtzTd6SJsbV8Dd7fMnVVxu36xhTMfw5h2+wSShr4tjN/UGkHB6MtiqnP44WvssFI/cV7eVh3wyYpRLE/0PnY4TPouy/yQuOP+/QeiHRIMYZ5n+XTtHaXui6v0EpoRofTXKHGAc0sGSUD87/uDSUjad/LukGK2AK9OgWpkXgIDpX/HxCoyh0y7HtoynRwY0Us7PCHKHYhFH0k+oJaC5T4FBQrQQjvQHM+QB5ofP8MEqXXJ0ZBRqjd7Gzfj6Zen81IfU9c7QyPHweZN2zfC9B+WjNmh4tcM76FLa9xQq/89vQA3uKO3UX3A0JR/39tMcGAHcalalAyS7JTTiV/5C4mYG4cK77Re5ZvE1EisrUovSw+tknYxT9peCYhS/zGPxiUhTgZNwJtGmU/is4ITUkXcTAQkm/3zz5/oUeJ2wfuxq9Nh7yuQHTliKB0+/9gOs5+EX7Tsghub3UCzmYfNlw+c1acFWR/QfoA7Fbls3mVhlOZf6+QZw84LNo9YE9Em0EbhM3a2wnvhO82JIlR0BK3PhLaDJf/qMq005TNtQemkOh9kAw4m7zNB+ZeqQ4SkjuV7Qhkldh1geopfWU+TrALXgUnyrg2JqqYy5pKUdQJ13GTUHuu/3ONCdeHr0jgUlzo1wVSZd1N3C6MsOzGTkiwUBPpx6dS6Q74aiqR3p0za96C/fdcUuh8MDPivggDNfsa7IvQOKZ8XMnRnHwezy00HKl7rdHVTTEl7sjSdKPLQvwXyVnAAntkRcWCYDp8KtcRwYPuCv7z3GYdE2921gb+vf2poOeiKg2QgrHJKcXpzzHvpFnIUV4thGA3yXdf5keRWxALzjQ6LUuKTPlBsVRwkn5kMQKYvwRnRq315+BgKA+m2f3tHGrimlQxUpBP4o2OjKVgbnJy7hptW6npvzli2r79eWStMNuxnEF8Z2Wf551hxNhQe39cZHZxcnhK/WTV7TubNbil3zbM3h/pyY15IIQWHJRh4noB4xsfvRnTqJBfGJbo7fBMCJKa5YkqM/56mw9sUAqkiDEYsQL9uyXanD2mqqkPNSc3cd9NV0B90cnUn8l5spijUvLeloQNfE6bQR5CeRYJhS5WITShTMBlpMXjy+9ReAbAQ2Pf3OlB+H8LYUebcPbmjCgw3vZswAWKFDuQAiTSk9gXo2DOI/pacuJSYenJHoGWzyo/9X6o+DgF0IVlu8mYjzCxVxJn58/AX4X8NyNWez8QNIVIoyk6je+aJBDIBJ4HkNUIdg0emM0en8Vtf7SDze0e1W+KRCQBaGUY0ZTwTOadcrrUMinXorhp2SwjfQqZ7LNgToyhcD1++MhsSmyxYxzuW2CqSSN7zr+JZMkiyiNjiPwQgYlp1E+QvwZ8OiKkqxXRaDUu2UH10SHy+RuOqDsqq1M/iST4p0SdTzrCOkIl1D+BRlaBClsmnOB+Ch/pt0bDyWsL8JNAMGtlV5rrXSdtiBsyuZiHInwhm+6GdmP/91SxufN0GptSpBtW8fjsFV8xthVu9JmzT6GAVWAbeRp1fddR6uzlPS9PLiBv60nUFSK5cJtNvok/XhF9tPDNHVkMZN8gX3NElNP5ykc0V2tKxaOODKGS16MsJvZLXd1c5WjtSrmI3GwPFZnbjW380ZnDe6/t/sUYnYQNuwLrskRQblHBqtL5lCtA+4/JstvL8TSEOWEeRysYo/lfrYjr9t7M4VW8NSdXsn8vTRdVhSpeGayl6uvOcfpM7tjVP7ZXHZgJlWSIHgz9VYr7CBxAEvV5eRhNDRmsN8TMjVoUs+4Uk52CG12z5h2+O2cC2vcPZHSR8sUoHltY6ERABIYHxjGH62gaosEZjdE5esE3z1lTgXEi7NsjTmit8qRfgiiktkpkNNBIHZ2NWIQTLw0js1Uic3DBK4jBSkpsHp52Qx7exHr033YNsuou8r8SFCog2XFb7GK72KEKwxyR+Uoe2PA8RkysFyHPCBQSkyYi8QTi+fchDYcKCGwCAWNZAXqzx0ZpYZLHWm+5ni10qgpqQ76yxbC2eEZaWLcCGzulEISXAsqwhNyqjzEbKiU1EM5ZhWMqGhD4o2xZx/JjRUx3iPs+1j9hJNXll6BKr/Cn11evuEctAJ1J5QM7mAy2TuZDblYAUhNU2/QjLtndwQs17OWqlr08iH77N07op0EfQ83WQsQUL9GvZPvaMQdeIY/lSaH1TJA3N65lCptL85XgtjWGyhvzYaIZcbRZ/mqB7EPXr+pvATQEtTV75rRsVSm4hJDMDuwDOU0InnTE1nS0dwLbj8PGxxxp2aoVVE/UicUHQeSUg3CeYKF8YMsiLpWsScXD4C4RwPcC3Cff3vzV6YbhOY7v3lKZ93UXHXmy7FSzfyOLptkLl5pu5WnLiQFeOfaVsrJi3FNuDIddgLCWXguhCqPRLv+YrOGTFo0pylCfYSt06WJEDBgQUbomqYNzmfb1Gy6YrmnUm28NrxB5lcdWyL66oaSle3MDQpY/CUDc1/a6a1qZyOa8TsUJI/rJkxmwoC1gDIQEHpsTmOulzXvb582VADcEhiF9giwXXUq84FOaYIY56r9c099lIdPzxFm6u8tZ/PGhSGcKT9m3bxRkTwT3j1GulLl92w7a34n1sC7LaoLi0MiK1WaTSGK6V4pnVjk+5ZUnbwO44r8eJxmmbt3jAcXHIgj5B4dhrZNf1KwtG+YpVDqOXbd5rAv7Kzp0ij3NUZQ9pD+SJ2oHvdZ0ohDLuDcf4K1hmCpTlWdg6VGQFQBt/cemq+PlKY+CNsmxC4tp7U4kySxogsD6gsdKJAc067qSHxLRoK+UzIkNiCAQf1DKjeNu9qq+MMILTJo0kK26ImGLLMHG25am5oUf/zYPk3/+Pxosb3oCVDbXg+oyvr2gPRfULQAQarm4njz2IXzvRWoiKO9MXdSj3BjiwhRnN7AMfiDkZaWTHIkSF1t5B/LEWTySORv/MMh36tFeXsDfXLlqAEHyPfKIyENjILIwMLtBqvFUQK8Y/JR0iuI1WmM1xad3JFAOUWGhETTphNfg6YMtRIzftBy5bXnVeLsajBlJTVR7D8GEsk4S39sUtHzd/6MqFqbhLPrUTRwjCoLd7L+VqpIbdPujmV6wuePG88zvYIKXHYBza9EvBUQjH8lq4W5ZTpg/f47WppDn48f8YIq+7lr+6jDCCLtO33p+HYL4CBdHf9+CHxpnVPo0Rz+wvVdAhaD8lDzODAdEXtxiSD8wZkJLvwuOLs9f0R6keD4fxHdNvd8ZXFCTPLwvVSGtQF2hS5r3yzxLdWxTk3URmYjkjqLwwAfr+Ca+xyxI93RQ7fG/YkyfzLXJPuLnyLkWT5ASJquzp3rl2dO+XAeWCZSqGNmGwoBL8AMF5CaRo700KDlnL53m1mGerJSFziBKJDfueosLMdDuJgu1KD0Sk+sd3GhHYfMHDbsKhpzB0MbMCSgB1JZO/HWsOb15mFjE9Br2kUQuQ69zQJzTvIL6lEkqnvS3y4IG6b0nNS5FEY3mXX/TeShCaDcOi1fuQsi0EZIy7/C2hEroufDXb7X42pR0PTDwWgMigJ4sWEJ7kU5GFpgCLBYcPzNNHuIC9VbSZxNEraShLDEX9OxMW1L2/c6cEcY8HvYCRS8gEjOqhEPvwA2ry7tOzYBTTGEXYsVqjQQb8ZfBpsyEBRLa9Ed7fBgO86h2t3AmrRZiG7pAh275eVa1R/t+HFcIxovsdZM22gaDfJY3XDo9BbHzbOf7QBZYXgqujrAPIGbPwaxVAngkkAVWdwm9KVL4k+WrGmQcE8ysP9Cn825Wtl9351uNtKR04MyEzg6Jyb3vw/72nL3a004h/QKmPKCs52PT2ItJIvbKem1E0x80LgKtut1/kvlNaWLgciAmoigCVf15klxd7/pkJufeh1frb8zFVSCCLLzRvVgOpzAzAzukOJ/85n9WJ65cLSErBoiWx7edbDnMOJcV8sKSbHJxAjMNEse7d68QI9pXV/QwiM0hHcmOcGRvL1eJfJQhKAg6FAQDnhEXJ97zQ9cg9ZpPeTWDE6VOHHE4t7bIJyzgwHxY9Di91zCA6zBa3j3mx/27+no6kN4NF/M67xpDHdKOOcxIfZdsusYL2Db9WSRkcxwFKbp8LbFoKTkBYaZiZydhwsKnXizEcmoYNwLPzAB+3kr6wPRXzAzSefaeaXH/WLj36FrhoBA/W8ulJLTBuaUzkxF1nPyGozcGkh5qnUicd3fxtMpzaaTHSmZ+LtrukpbNolRMOwZdDZNatULqiUarq99d4OnzeCPM/I+WWx0s3r11+hBA6JPnyQpeBKPq20+nsjTaiYX0rBImyCyCuGWIYzsPMnA6wQusPg5ZHx9wB2t8pCcvJlESbQFrrPQu0Z6aWmbu3A9LDjL9rF7awsmaksy4/w+muqR65XDIvBhNo46fhvkYMb25oB9fBQymWQl77Vjf3UbH4jTW3CavE+UviXyhZEmj7I+JWbGUeF2fnkgOi3lMFIz3GMSZHAQgD8OAj6iVacsq3Z1jcpYYYFWbcJ25Eds2cRdVO0iLnrvjDf9tuhHu0oLvzKLmCaDZqyavd0QsxdTZYWO8SCKlE7CGFvqX8VPsAXyWE8r2eXau6aTmAoTOH+SLrksv0mwBfi0JHm5PVRe5To/CscmqtE6Yw6yhowhLM+Btpa/6RzQDPH+cOMePDr/Cr4Im6/Tjic07PgSmFZzCvV3p0p7Fwan8yxmAmkaRydJ+eVVLE2n50S3ks7NWh2fi+dBPXnLVCQQQg/JRrouOa0HL2ntYmHUuDjOAJyjZ+Ud1t550ffalC5J6qhErck7Bsu7TtZbpN69E3I1/3uTqUbaYNCPWn+MQbjQK41BE/AKnEK7QTrdM40G2EwwV6ZnRUAoDREPXM2harc/NIv/wwhIyvUfhDlxygZXVBTCDlvDFv3pLSqr5EZ90BTLt8qUohqp5Zu3wYjONbQuGOecaNGIHROJ+Cxn4Qewre/bnn9sv+bei8kBWydQ1LShcxOiPCAuZwHbKmZ4sgsnVG0EqaWOj5x3lIuCReoUQ0KX0zd1knfpiZEf7NEUqufMo9bugr1ubJqvB7xr547VkxA0sfMaA0I61VPnLRJtrz7RbcfWxvTY592XXHreTF2wjBxGVqpeUGXcoBZ5F/EBuuBaZ2f8qiNSQY8ZLRlc7rZLtM7K2Nw1bKQuXrdWBcfzz1wNJvT1nM6ZV92hZF6V+y0LWaNrTdQBVBqjMn87G8CuOSLyPLy2t1UQioRG8XpHdpObQSm0Omu09SraSOlap7ODq/N8/pswBiV7jgc7ateoKWxy1PrwRcETcQFynRsA7JVEYqKgirf5dNpXMgRxMDko8vTPhmNbgzrdv27LLQNkPmdvdAHX7kpG7X9ooiTG3Gt+CSOD90dssOFyAyaboasFWlKB8yGWeZUG5cVMVUdLXIpzpm9rAZab0srYRgJAjodRzR3aQiUYQyKVEFjXQ4vNojAGkKewyD3vU0RSN5wGROjVl2EUG+CI2Fb6R00q+WkG/4ckMwJNNEOqOz4Ixl2WhanG9ETyz7VVvfwNPJOJ0ud3fg2054ZABrh83DOEusOxhwk8IiOlJ9bfkc7ZWl4x4d5XgSwIyaxLrvRXTTQIEiKJJN4QavxR3G8axaIiidHHoCUYl2z/e0gaHQYONw1+sJxLT7nzfbfnINwjxQlEzx2kflfwcCCQzhLpFbyEeZlxOI+WsCY+ypy9Ymu0JlbQAwfFQJy9Fsi9Jygp8pte7NL9StOIHUnBBwENlmIpvtaOxxKcb4Tz19NK4CjCpPswDGFTotuEXKZUhcZqLwF3R+5MbxnRaPzPQ0ehiSN688QHnQULJgCMHrlDMqlCAuxEjLUvCCKmLbVba9+D4Q7dkjuo0kj7y50FahHAxl5kZHRiusvxw/7MYsZhDbP9ra3ei5GwB7tMgr/m2pGNSFd8AD8JowDIA9aKp0OHLMP7domleUnht1suoSX7QKNKvK1dkpCUFHrErVEjpYaeAE3zkaobenQjWU9+wcKfzncM1h+uc9yv1XLR/omAxo0VEzZGDywTqyYH05NjraAo9CCF78Gp0hTGVbfb/NW9fWFCmegVJL60CHeK6HHDGryUHjb4HT8BQNbUcRZda1Fqc0twY41n/G6NiylSXn5OfFcjIoc20KJ/7n2z8Qmb5emZt9izvW1Brn88fe75Mqj4aBDFgLETEIaUFreUyrR44XVQUyqhL5RBTJsSCjnlY6QCkRB6XpgakGAF8b7UapyJ2/t4LYV35NJDLQqr5zYdsCjiD/VbeHXb+vdLhdC6OAY/E7MQdrE2y5+8lAtP8wDq7nyAIsD6Y8VFN76iDOfDI5q3a09a03D64DDyk1S0p/0M3Dabc38LiLrnbyn8P4YHMEEMUQHDKwCijERAWXa1+xkPWAHeG9CsNklNS3uyUkh7Ov7Ur2u7udK2K+IHVq0JjnFNkCmUSrb2TzzDt5jf0DBoLUhTHv+GVpOeU9VNCBZbC/f7VTmf7Q93FOVqbFzt0qdqcNsWPdfxmTg+LLtyCdN7nISUVfoGbkdBxnXh6BNgLTun5034hwxOT4ouNHQhNHM7SsvYjz9lI1UhGZeEjLVhm0O6toEdH58QV/YVQSe5Yc7JpKR32pQEY0klCUgWluL9sz+lsL1eavzpbsLukqautEZcarH0d6hrlBlQ92f3YSFglRut9eFJm/foKGadNJJth4Hf9mF34MqYg0JQcwiSfKyp6RtmZOj5ZsYYd6BfYo1ybdXgU++Ee2JgLC6eOPw5mCioukYftOyXDC3N4zNKdr/DGWEHQly5hZT3Kj8NMYnDmYNvaLWib0eQZHgKZS5tGIWsmibJJWI3+jHFZp/zYLA6d1bgupT+jFBKg+hQI0gH9r7OThnYn8C4Nwa3IXdP5vFYriCT8i8uEv8+WlW3U6anP0OiAcw4m8yT45L/FqSTSOZI388pqrLyD7TuNrNDZup0PpOKWPT6Si5RrDfsJaO+PPl7buoh4l1GstO9mbEeCXlVz6M9cMz2rQy/Y2HxFvW9GTsUSUXCXlFxO4JKiorsi3ytrJOf4qhOf2copiy218in+guHLnRvFZ++JVnF8QwDHKZ5aCfvgn7zFevxP3VaOHEVWUJlguzHdcOPrbJofcFtA+gt7RVoP2ODG+5KZx6R251SdFC3doLNX3QU0TSOjzvNgGtVsQsHqUT+IqoiOm5sLbqdxiDzLK9TeUHkkRN9GNV3TX8rqtMMI5HmHmgkuW8D5hJSfS3EP+5CNdrZFVdFbuf8UTrOA4UlMfpvP+PA5inW6lShJsOICDlxWNQiaJIslAtXMoGhyiQc13hyekHZYq2uEkJ4odOpHVAhm8fMRODKhJWaww2HV+YrBEg3lQNGJaztX5LxsoVP0Qkaxdv2yuqo8OHbVZXdzzeEn9vxqX6hQIWxIaHPxJhdh5LbsqXZejAXj7M+E0FHwYf2lIJRTy9XiKhVWTgoLhBA3aUdLlrzepuk9pbo8X1F29qiMnV0MaFQ5lw/lKa/7rBmXr0XzuMTfxA6fvVhsKZy8QoeaaoaMDkvwjA0QfXpLU283S45ea0V+ypktlugSWfJflRyLH1OkhS8QR1joYQks7MY/xoyIY7q1O1C22809cum10oHznMxvc9xIdzXhpXHXSswt/QJC9LBbIs8/5ZRozD4FTMF7o82demfEf4YnkNHMhwVMEyUg/Y6cIw7vHPvjDcemT2+vpdlFzmlWoWRxzx0ej7FsQNb77hID5jtGC2ok/ZOik55s7VT2X4pvqDPBeCHxiF5aZACT+Ipf9hEh4WkzZXRp9ZZDxsmcXQyHYuc2hugu2Rl1trFNRffL6EOiD8xQBYCvLK9vCRSENtt/31oR7Hy4fwHu/Uq0w6faCtlZcjfjNZKmLg8WKHPRUgdSES2CQmTHo301HFXR5/UuD3kUkzx3OqymND/kRKACDYOXdHFZgstMFdaEDb8UzPp6KF1F/m6PWLO3ZBvBqhSORdTetNkBHaGaok020kE7meDt1vfbXf1fTDWzdysQgXj08G8kWE3YeL0gQXchSW1G4IojiwoZfElIkjdG0WKZHHJzmbySSHBLvZpxcm36u+RBWS6Ys/576U9bj7Uq6dq0gZRldmiGON6UwpAHdS2Xr7BRgHS1i0L4bfVYEys8mdIQhNtycHiQLusFUBd2Pq7FwR+7J/mTBP87JOG149OndJhwDdH2dYWOjzJgMvvPYvA5HJoa92GX4tVAEKtQYQ8DQeTbaMx1HeuuZGcBxu/f5ghsRDAaPU+sgmEmXHAQolg0c66bNaIcVBe6RONF/fNpmnpDSaiELAqSSFxASpAGQJ8vC0dBD7CKTswj5pdyRDXMRqITTOkIbgLALD3JcLrVgtHLnN+KbMujILnSm8s/FOwHCwxVlZRXXDNzqhv5aWNAOZoatQLFScEp3HaAlaBuu+q/aFgRMOCUoGm8cb/EwWOr8S7nadLcKsGu0xSBhKC1f5UpFrlmUhJdreBs3Vzjitnx6BicQjlKxczmALJzsHGPdPUPpC+QjUK9wYZIku6i/5rySRDgi4zFwHhmIrmIFNyUuU/2enSe4TUTJLmynHDGuy/33gCqRQrEhUtpQ7FwScVOPwtWHYzgiEuGFgwvnqAPx7FFYrDvzvxCDbKld/Ed+doNMsx5JCsoR+Ngie0dSRxZTimXdAOlK1coCPsMQjjYkplnTZ8zcfDfjsPiEr+2xE459SvHzoKiY880tcGld0SRD13Pgrtf8x54sqqGwG2h+lQfgbeSI17taWwu93VLihkmXT9Ehf9JR8ekqWXfmITIQhCk+mTcayTymaPTifLPz2l+gKhcHIRl/vkvSdr1x+Kqj+fEzUSKlfjEtE9sNzs/s9oUfT5Caiv6JzIuCOyHSBI/Y0BjowlzYjelb9qgbzVJOLNTkf6ywhHKo/feI2jdqaA6N+SOJjpqbVp2WjVmmIhvKk5zrJhiDcmaqgk0Fd+iIczFfE1+P/XrlLBlTvoHCxlqh4kxcrEPebmQ61Edvqu6hVjAxjuzAXDFnsE1OjpNx3SGaUW6Jr+rHHMIUbuPTaAtYRQ4XmCorynak6EyKQ2uWnE5cx43YVLGHAvqmkh745AVulwZ8TqsnXWPAmKHx3Hm1jPJE6x7NR28HwJsMhU+rD9rC+6vTgYAHkuI/n7DFzJumFkRkn6aF4gVvYX4DtAyBQ2RfNG8ooybCqAZBWVTip1xPtvdc3f0B7OqmFhXIrmJ6voWJgoOHEAvdVFnJ1eiJC3JZzMI+5SufVbPmXa/Ubn1E3iG/KPKTwtoAp4o45V5QO4c5TGSy9rGS5LoGYkZpQ8J4rf7FsneQKeZFA7GdFJ37aoSYQNkdWUkCJvjXW7mACn2eIo6YnqUjJhzo64X73he+iFsiegt3B+mIm17Qa6WojPvgVyNmCq6NtvpMcSoMN+Wxquv5ay2sOpQ03ldUrl+tdR9R1iW0aqlwOC+CVQY2RtOycPuWosPB/44u9waU7NKgKmAvWlyU71rieLa3nzQHjqTEIuar+RodNktH5dF+CIco9sG2Xrv9WTDL/YjlYO3pFido3ekAQGTTn4g4Ci/dUIWyFQ50C9MnUJ88au0a7ruhlmWQBsTUX8TUQ4iZj7WD1mCflMLHBIqtLq7wUoUDZR3AzD94h7vDipV/hKZRbU5wgqipFOmPlP7Nd6WgJ+qpWglqui67UlVgdkAQE9dp+qM9Nf+1fVkAkUSoxZitQf+jQCApLpFL4hDHF7CHiqERazYXskqBkuPfm0HkKYDhBaf4EgA6mZzLNdxO4cUsOu73Kr+biu5q9IV+mZO2xQTo+ueKOuseW1pnp+JsvNWDSW2ajnMIMB2mLpfg175/3Neb6XoThn6AKj0KeWsIVPW8ZWIQWxhqPyIz3ql+XpFFytXdQqb5y6VWU4uzeoVlTO/Y98pnWduzjEJgKNjYgQxW75Bfxl/HL7pS8orAUcx+BBHa5SCDdGU19TEOy19Y8932pHOr2MtJNyw+/d10t7M5p2axrYYA+fibiJh/D5R53bU2U/xdcvPUXqmXJki/LvLJDc1dJP1Q8nYWA/SQlITgetJamPZmlK1FT9ktRPAqojYEsJpm7urFsuU4ZuW9ENgJVhfVICYkoyao0lsXXbGrtnTQQnFloIU4R/hU9dpj0x8+wE4NU/5lDcKK0+fC9WOcXehAK1qKjrMsIZCU/2yhTzqn4V37ROR361QzcnaBANdx4dZT62QW/pv/Jk/m83Foir/FY8Df2Ytz49vM29c9BUKHxATM0739pCe8uj9sJxXAT+FpYdbHqZXv5CyxGOgcK9W3gm/jTM6NCElh3Ii2z5WzvPzci3qd2V4aO+f9YvLldWOgWLRAXVlI6yozbo46ifi0yBNdwrXcpSZm6w4nNVO0cKRxLOFDWTaU2E8dziRT4EbiQ1jQKPXsZARHYLzaTKEv4odegKECHGI3m4n3e1omkgw7lxM+QHyf0mIGoQvYi41wWtNBvEDdD6qUVDTIBjHDXjG/L2f4beg/NJ9Wfdg+dV5btWzIzGNC/OtdmZ3Jy+plQiRNoh2F0fBr0cMr5/n6WUOCEZexQ0dgJtI1bkbeMIIaq1qv9FQXcjVRvf8ltrdGOBwnOAlNFEoSgyzU9mE0qX0402pFbIONrY7VApaEZHcHgG91N8xRP4/WQV/kp/X2p/FcWsltQ8L2Wh7ILnbQNNU61d9ZaV3IWs0ockRA42AgW8tCC+QnTifQ+LbILkRiQCo2K9f8TIpqb+LpM0DsJCec9CryXR6ACRUE9ez2pfsHxc1sqrlhpEOl2mTkp1xJnKWeWf09XRXCbkpJUAO7IrAUpTzGUG76KAdqFErMsjUR5Jt4T0fSZDFDk/MtzM3rcBbaJ1wrf3c30xmC9jUdNkh+ugc0ivQHaUJHNu+sejhCiNhnjEeAsAqudvffpoT5/TWECWJ5E/l84e0fL8JQQq9SrXNqQ7ErwexAZSoFSrOOswIwjLRQgymlOWbyhu/rxPtPZ/7Kw5lfflNaNXbwKI1k8H6U+GkCOCh8PMVpXaPtpSiPcsn/jqltUzr9vP8OlSfHT20WDvLHC9LlMFtK+sVSDdXCiZGXtbtUoArc97/BXxvXnKG/3FsaRghdbML7+6N3wQtq9XTni3BfHDui6py2cmqszaQZSM+vRBGe0XvXkRyuoF6mK512/UTfEH2awwEIvSXpCZe+U6qgDWX3bg3+CtYJagbI6QC81QcOFzqS31sDlU32Cmxhv+q2CBZkoSLtxJWbAd+aLc3PItvbJXsdC150XnVKBTKpa05UxkZQ6A74LHvVMGlwRWD9lL+iGQGkLZ0pHxCTFzKSdvj94oZJD9YPNHm7/JiC+3BpVxl449ZWJiFWOQycRsslB1mSQTRZ6U8OSd4Go2gcddU0X9wWntiBJvOnlyZP7QYj1snmndahR0ukNMdnLyehluFa9E6RDtXb+bIPPenFXCYc+crt4t8kPs8hNs4G9PKmp7YWoEMGFn3mAtx3ng4BGior8YnJD5KC4p9RInlRRduLK9BCyFn9+rqrB0cf5M05tcMnao2CrEjzJZx6WduCD2+mdC0JHwExKqOcpTIxTtvlDfHK8h6umIiL2FvVXoT0y11vVsMLltyqjCMz89MC7iAXES+bGCe/d/tbOI0YMJZYBJWYyknf4W5hZiOg2lytFVgrZRFTgXYCoVKOsehPPZG393SyM6JonspUBuRalLh9v1gXzXhAaPEAkUt2kO4I4rYoqjRIf0JC1ZVoFPd9+coTEK7TCW628tZoP3G7btSfNx6BoEbILUGjhGSz8IVo94kvGFvjVk3DCtxY+/cMl2Cqfac/Lp8oUYJ5h5IPFazsj0hNfpfX123wxLY8xgI+mRyA2ezYo2KSlwmVU0HXlULG4z9luJ5+Hn2cRH/mnE+H4JfPznms2oZPDu7yMFqaZzzA0WYO05ZQZ0b0mU+mTU/ddLUBbWb5idVZ8LYZPdOesMP37OvLNBGRT9lEO56/7JRFn5qMg11GGOEKed/GwKVHuDOXQi/iwgskzjnmeSODbf8tBVRq5nYM0+MpbMdj/UI0oXO0kpHZoo4HlbCW5XwBu6iWXSo3IHy5vWREVVevZk4aB5AkBjUM4zb8TrpXAg8uOhMXu1Gkp+jo8Fek7o21lTFK3MgyTm2o+DzbuXLGxH9fLVi37MaY2DYnP+7cqN2lS5VzyaqL8S2IhUWrsDyrGmRqW6qvYkAVH0WJ0bER833FXFGnSJM/9xgy4fejJAEzTIZ2qg1azSoRmzamgvNHDRmidwywWdbRF7RBUyP3+IJLsEVfwNlaWZjBbUx1f6O9/3iqLgX9MbjKtOy0c01cDia2OWRlA0x3/rC2njR9w6+XYF5I87o4eX28a1eW9c/DbI93Kye/IMgEMI42u2IQZ9US6+xZiDwjDmlQ4Sr50sOH0T2+IeiHAmLIRThqTYMp13rzV7e9jdrcZzP7EdFzHYsweHz9SSnrtUcn/9mKHsu+1Bo7l5+7ltA83ml9NxN9/ZJPYx23DKgphDgcoFWFaP+qWbYsYCm0kg8nm3hcqoFstttdVceqHQDtPGPCMH/p2G5LzMD+u69boYiR4+QmHc8p6x85QxCCRyPj8HYjzg0HMxx6/AhcrnZWR17xD6NIQqLPMbKQbOxUTgae+V1emhaDuoxY/dEc19DlKttLtCtuOVM0zFYOF/esJG5BrabA3shT6rRRHGY7pCw8ZFV/MEhEIN0yNBSQK6yF46TGQtZU2Xx8DwV3oJwOvpkpT9H4xg5Nqi+91ZBb3tLLDjTomCzklTQFdm1f7a8+T71nZKH/ky5/TH4d2l35G3kbV3kPy5u372+KDAB8+V9QGrCqfawJa7C7I+KOU0KXG6+ShzNzekXdZEf232CL+GuD9+B07yMEJiU5xXaBvqUx9Tzn7OHhZKXdEsmV0wFxY5gkMwQAXGK4884D5MCOYFCzlwdAz8JWUoYCuvQYQvwg79nQ+sFeZiUd8kwkuapjDrW/GeX0R4dc6BBhyYVQh4NLtsIzE/ktcpDmvMpGp6JlxaPKEKGKaCcD3QNCJ/dXx+VVdDVKsjZDyRRO0slhZHXTLQrVotohWAGuNLz4W5uAff4nPy3S8PWROjLMSsVI87+cE+I1IoV8dz6gYMQXWhCQQ6IrjcNcAL6aowCp9CKtdq/5ZoyuJuPq855k9jI4KsjCnVKioH6lIO7qbaNV8GzouK4W2TnckuXmwX/7HrKGxZrc0Kljj/kMins6JftrgslNycZqSr0PpbZ+2E2iZI8NvXx1sfhUsXP9wXP2vo6sX7P7lTdeSy5wu6n/SGhLPD1MnaDb3/RS3evAPBWZ1s4sRfRA5c7hR2VUKB+b6I/EwyaqjWZB7pO55XOtP5RxgfYJ3xWIWf0P3qTw2EOr4ytCt/i1QOcremAlPlT+hHyo57K6w3h1oz4upQQB2zByjfDeU+sGnXo0odhli5dsGmTaL9Z7AXIkDeWeNhe6bugBzRSZWCZ0/LcTntUODtCNIYUcp/S0bLjFBbcuvdrtQUlEu5z1h6I3/hajldAio9rd2tAzQM2PeiqGpFj5B6HmyjuGnIWMV12cY2uQTJMv1o+yygpB0ViinLElUnoG3T2UOVjqu5gEirSTwbBAru1Rjug16dHkYCqGRPAbxyXn/yPnEDOVOrCHhOFeCa97+wP33l/ex9NW95GjrufZwcO7LSrsSFnDJzQJ8pJlx8f6rkXoeNxugniD+X3zUY4c1NFae8KEZZhAqfpzi4HgG5hQqPgZgfry3RXSPom41cTIw6NIwOw31DBtjKr1brnwoETrisC2MxFUpa9aS1ENcUkDICtoFr03j34xBFtZYYXCCVZwlqYESW/GWLtBnahgUuP5oGX5sp0nAjbvkMmfus6aEe/pZtuV5efkEVXxGjr34l3UPiDQS7khY49egI9F78yFX3Y5swpiWpmuN5MCi1XDVhhw6vQYxfjrxxOHzkee6x0rA3MdnKrFUkr2QsFLKjcY+IZ6QjN5Qxdv179EZHSZC6X9NTjO0hqYx1Fr11yWbfvot6EUpEQfi47uT72/FJnbiCeHY7eSO+wDz3dq3nYuHWVeyj/ZsWKdAVuEp6mvjZdSxeMhdjK/Tm1xbOnXQgSx0/yU+agmh8NSzsGTvVTD08fJ5o50ySYwo1i9YyiK4d8R0Hj6zfLWzI72Qr1+Z2DwWg1p/nuJ5fTnPhAc0orcQJLqY0vaS/uMVP9l6igMwknQSyPZ/qD8paav9DFBgxp/GUrGCnRFP63TKLJvlz+WIjZkGi+NOR3zRoCswAeDEIE6i7czokMt4+utQrUouiV8cGO9ItOvg+vniUtWXjHR4IOMeM/FDv28r96xiquy14JvBEWHIIan0eOgqobZoiy3z3/Ol+XnEoE7MRhlsyMzJkQx2r4aeb8y/k+hyO86Bs2VF3R+YunKM7zbKEaayB+lZBz3hbQBdUtRsRfhSNTi4ah92oQmYEZ4Nh67J1gZkJJehTe5j8KsX1U1YYIDfRwhNZHleSCwZtZmPEss5qoRW6fkNSoYkz6GLOLQJlheCsILZ0guy6dENLLzF8bmU8v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KcOCmEHkNLyCbb8yYGoDPrFcUvJX5M5RRBm0YaqoaD3OVh5vMTPo7ifhQvjWKygUCoMbXz1+6ZaBOMQ2qrz4oPWkoMDVuuVw8U09bYn6OInhNy2zc+YHzU1nkS7E2lgAYlenJPBiG20WsqG1ovBEuBOM2Q31eZqTkX3k13WNhy+nA7ZXUg9wZOXz+bF1i5l4up8YzU2PJ2YPFG33tvExtqCIkP1HVVX+ZU+n+c9l5pz5bBmQenRAKfYpZGJLE+9NurEV4SSJ/ZVdp0+qeU8XTSR1j/4s+1Zj8s0d74+GqRJp88C2rs34BdoA3FcWIH1ebppd2UzZkstchmWJ6mgEQwqkmgPfRt9tq78Ny1zFAPB/SFdoa5E9It3sTQHZDXN/GVn9UsKNglkLwCwoa2H2diGd3g2p3XXQezuZV0dMByBCW+z/t9DEr6ey6qKCEtitCx/7OEoszgHGU9VhYrCl2Vgtxr8Z4J5xphgTbCA8z9clleNcGAEGddLcw7SnsbqEfhezMe+D6FbOJdZRm7+5wdzuu/O4xVhVfk6QQH/GD4ggJcNd6xc/EblVrm6U07elMZzXkkSNdR4Tmes7KF+s18BLFGFMRKk10tMFoSjztRdUnIyUj28Q3DbKLSq62qNkFETqNrQuERORp5KqNBUlV+BcOl2irTSfT8Webty5u75Wp77e8kDDw4QnSZLamzepOHLV7K6IUZ77pT5bQSihsiSs8AfTiIyfWFtdxr1j/lLKbYat3NlHmKPDQQbTgoYLkkv5Fg8jhUtHiMkp5NfshzclXpU4rpmsoBE9hi2Rwh6+s584eTEM4Ndy22CQLir8fH3kTQFHthE4fRjgR7W19tibesbPDxvSzypf7DymTknFhak2KR+m2Hb13lTeTEbik1lD44fAE0FJMN2rRbWFM01a9p560mQjOt3Pld9bbJhHsPUgjF3Ky9PqB8HRDHta6XLFRgAHCPPuBdHi9/YAWvTraCfN8IKU55Lqj4izQKagv4owykmnFp+jyAL5ouK5eFByu/ru0a/xxFmiPWLiw8L5uQWjnJSEjPr6mPX8ir7W2/TPaxcbXVMh6LmXwj2E5T6+9ut5BNvSru9YJuC7dIwdg6py+PRa2ofQ4EdrLZG/IUx8RgZXBG4mRFg2ipKw9za0e/6uh92WjuRxCiAI6xdnjvtaAnoBkpHKOP5XjfZ6uXZCRqukut/uA8GPULvXqQ9pD6Dx9eycfkme85RaYBShEolGBtWSGeKBBXbEL5DQzI4qQKyq3KqkzmuY7pp3T+DWwWIp3UXVmxR0DqWz2qnV3vFhMh8UyAupDK+fhHq189MMst4aOwfwhiBQhvyk59H9B6ObmJ+tQdUl/Z1ELhKrryUaI6S3rHNoQHxxTwwkH4l3KTriZFPNiYTlJCDaCwcW4O+Aez5t5c0uxpcwpbRaPKKZxp2wTWOPXNu24LYd/xrpdg4W4wYM7u1rn39rne6C+tVCdmuezVnaU0cW6EVEGJoIPCc3a43Qi5aU/POVz4pJx4+3QCiF9/Qmyc0WvBV0mQsisJ9m7xqfebsDbcQBESR5SAf0ob4bKOJEG6Q/wtCW12RXMfSZmilibNlAMKC5zB2XePhk0Mgorfaf2xehkOFO3CFv13G5n0FMjby9ReEGwFo1S96sKchpvD77Fk7WVx34hqfCpRX7q6WE6IZ7UAPAj7UVjhA3pcGyrySJSBbPbRwqMZPgYIziii1i6jAlFcqZZHAlhIU46h+++RuboSVhKjSortxorVI20WrGrVnm/oJBKQtTo5/MAdn6cURsKzheez/shXtD1rOovXvTAQlgyyFQLzMtitFq1l0guYotyMacKHirU6I4/LIu/KftdMCd5taT/MN4DzxTVr4p6j6e9kXO7nZEV9BbXRcihQgw8uNFH8DeGtSUKrZ1bzD/fRH7IrmmyjiTxI3GunGl3hLIJPN+YMq5WrZPZPX+8eiprCI0a6DF8NdwBpwI/NQyVxS80puERgPpuFWL31bIb2oTTysD8Xt03X8IS4C3mnEMDpNhlEEs6cpjnUabvsJJYQJTZz7BUQ7caSTL+7v73jg1n4u8+K8oEca/6ixHdvMybCfjmoc7EnE46owS3LqKBjzsONNrubqdtBjbhstPpqsUxmtJObQhxMmKk6RE0S936P8rZukamOumKJfQTHzVXmMysZ3VErrWdoK5Qe+pHF51G0hwQJ2j5b6I+UszTgeclhDiEZXjNYcd+TI3BU0lfmFsO4Puu2LsO13jFWNOl7mamnGsc1EpPMFtc83C3FWo60MS9kqR7UnUWoURWFjhW/c4rKWc5HhuEccLyzY0o8yFV4crldtVSvBVvzZ6wI0x9HSvIh3EnpZWaq6At++v8FBj34BpQENT0mDakmpZ0Vo5LyrZJpAH8fGdr5NXC6v7UPfP2+jf94vsi2zqoAeDkjFbjBKa6rk3oR8QLCsDzoy445itCUD1plIY6ciFiJM0BzNwbvl7BDhXL3W8zpEsMuwDLzXxz2t4DQOEaGpSFQwnzsiqhsSwgsxol18kgfT1/xReLih+l3f/cpo/oc9sBnznxbh7NtsuuLwIwS2NbCoYrqietEa3M8ri9xUKRrmdcLnE7jVB3aokWf+pTBob4wiTZNOlFDfODJFnAYofN3RoxpP7WmXm/Me5JL+ekf8oEcoxOORqynbgkIfywceg3Ech/cYLJmr8UXsmvJsp8ZdtMf3JL33rKFd7DhfIAVS5PZpIQFNb6MBVcbC9NbrXGtqgdkwjB5VLSWfgMXghAGvYwN/XqQDQ2A5Qem8eNZZ9/0E/XqqnkfOmtJ1nNVVKb/o5c9Xtxjj4uW88sZsSLME4NviAJ1fWU55shkL0QX9wOSHpfpu+6etNumdbk8BtAubHJ57oxTjUzc+HpcRXdnM6+r3vHaQ6nJosBBQ3wZSIZf/JyiddZKSCFenu/fbe2FEI7Yy01EiTMYh+a3gs1Or9KTNoFPooMTzrLRSHJirc9P8jVs53fFt3BlLJd8CKi8HtX/W4GCGQCfshs8MXvXBLUdtHz9cXDP99sqsL2qfz3zTuPRQLw3inZ3fGLv3g8No81H298dNGx0Xmk+VTK/16E+rSmusXj5Wg2meEAJ8l10zIDDIkank/xxV4M2GSig9b/K+XedlOPxNtt4s3f1z42yfLl/jnxiLHLnVXw/xG30IgPFTSdN7ETXZFnnCpqsWIIxhAkwcgfnYz024/NKJcrBjIPouKaXHgotO3KTH1aYrirXXhMqoatV06HAzJQ6r8qfLYiqDCnbl9Qyvkw90OBsuigYqZ6visit06/zpnuuhw9gSgc5X0coKp5xhExOKsY/6Ogra3os9UVPFX/oujVWVJBykXsb9JOOy/CnlPbHak12k7lmmvpY2hQtKruUmSv3z26xx0ieej8V2YOmb01WuSQYuZlTitorLlGVbgCaFsj454P9u5mQYA6U6s4YnZXPDu1Cvm+fdUdOwBnCUU2aSpT2TUe2rHqUoKmr034K8LlQF9aBHwFRXQujSrljit2gWR8X99gjNlG1i3IZfmNVJXcRAGCLR9F4Qk/JJYiLAgq6Ct+k2+3ErLObdHk3UQjYixH7yC40+pj8t8Wz/kX32BzAxQx64f/lsuqekSMcCzjsMttGc2v15DInvldG1u6ioLOTkJeWMQV60zsEnGcOs06YPeqlXFGAiee8MySCfibpL2R5O9lM9D5PiZp2rLixkXVTOkKcnDWGcg8hkiChUUXSBOlc3P1tWAasFCQBP2are311JpTbJRciSyZokd4KgGxo2J8MeaUcQD5TFLnfOmBUKz83C1bmdfh4GaS/mhVxbRECLWHuTUkNjydd8AnCPHrJSJiNY2WcuT8a+geuO7Jl4zaW7jwkjZiz7r3shXH3TUlyvd2wLtv8WGJMvD225MpzOwh1z17zsG4i45OJMIpoIEs5YlvcZXlqw35uk6mdwrT41lW8zB8Z0MqiK4h+VcGkdT8yQ/MH/FgccKKv86IRIjUdMyqlJxphNzzVRXsOHPoIIUDTvCL2uSjRHMU70HfzS7qEaELhikWAmAY6yptTLfrCOIl7QjGBoKq7GVuxYFkMHwOJQkKJwVAs/vj5kLMICPIVZnwQQ2DJtgpScBGDEBoi4f4ttEzXa3ADXn31+vdJl2tiUdb7aQiDssRG2c/UjC8OrmrlNwgoE6YjPfDXGIHNA0cY/W+vLE/7nYrxw9ZJVtYgQh09Q7qf002YsXlx2gaPjk2E1RfutVD9+yY09+DoDV+FoWmNNb9nxvtMJgB7PzC9NMuxYmZ8qniTsTkYfR8dZjGh4kRCmxgmjdMU2RQtv+ZZOLOzxtI+OLtbhPDfptANkYno5fCC1vX1r90rQ7MgfX5Kqkuqnl/7p3g4D90l/xAVcagIOTp4q0WtDTaLQiQaC3UCt7iaoyQAg8UipAXst/ijVtwP2UqcInAK/v4H7GTavPLh+ztyJ5G01c0GUDgQm3KeYUQybG/2er1r29i1P/U1JjAKOA+JpzrkWYO5XFbELt5jQfMPNO4Sfhd11jGDfucZPErq7DG2ImxVUjDLty0Msrwfpxa4ugcKa3XW2Rk4pNxLdjpAOCqkyh9I4Bj3172RUvyeWQL+O5R7/oXiEHxghsHTcoQgi28F3bmCPtMRJhtU0BEwHR/kCt2LMsXIsdUxqP7LrXg449wXX59Z3smGxdzHZZW8/ePN7qih3g58/mKtkPs7QWjnhbf3N+sRY5MQFE1N1hzvTnmDvVDCpm6XP31ldAi7+JCD8hSvsb/roKdBRG8OM+0oMcgScBHW7YMbD7YFPsuyQAHt2FQTWFXAKup7Hj+vNjjGjMS4bZnBnBGhRMMlAjEaTMWEWHRDX+qcwdZf55OMFONqbQxiiO84moSA4lzz1taFNnGkdnqnonOvEfyEz5JnIEG+JxJMD8NIMzYy7ovP9b8tga6eKl9CXklYzRN0E5uJ4jMvzh7rpoXW7mdc4nRr1N2bywM4VGwf6jjCQEeNpuzsrHy/U/KLpI/WPt+vO9FQ0f2Dp1l/z03zH+SXEAHhzjvzHDjOrknvJ3P+ACC/lGD8ohHRb/fTMhjPedIvdWHu9d6URN/L1Tj9SH5gU8b+a0HceLhGEbMW11JmR8tuB4S5D4jsbinH0XBxCroJEWHeAL/KDOd9Y8fV1QAzfmJ4S1PBRP6FJaiz4i7HcUlY5D9PU0n/izVGlxdSzV8cF02IlIE6xlLHVdKO7pgZLHbE70QGfjGMSSHbaYYO+YNhMhvKK+6yjmSF9Xz5OE6FCTLkxA9miUJVjDmrbec9EunvpAfcrkGa34kylIQi93Y9Ad3lKaY6LR5BNjdMGbRyw1M7xC5MK0JbeohUnjcW6QuxsqmGtHZ+hAOAJqtCmi2gyTn9K6FVQFX4PQRL195MCKo4V/MNPD+CN2ni4ljXt+Wo62Qtmo+oCEJBb5HTuvX3fnvZ8Hb33PT6S76uuwxAAodnVZnjyGH78gM5EoC0ZUlGZF2lCS0XcHUeV5dgg1Kc/wBPHrJEILaQkXJdQ/fIvOxxPeoMxtjILX37YrZ4yH2L2jvzABc5qIIkhaMY3zulDqczNVaaXeLkj9R3VxlasMbKFTs5C0G0KcrrCNn/i3/n7/G4yls5gIhVelBAphtK71hyP82Wppuc/sHLKxpEz/AltJJy8/QhMgd+7sAzunE2lAM/1IO9SF8zVt1txYlMXUto+Rt0Si/wKOg+3XZTlGEp65CjhWfpO/0ccj+RcqcMOwi7b2V53+/d/+tYbCgLBqAehMvDDJgEyXv24iWbUIx4QG4SNpSBrI1kpO3GyihX40zhqqbIZMA6QDazSb13H67oHemPu+thOUjdwXrgYP5R2o9sMyuzqnIffg+1hq6wJo3yA3VXYprZKq8Mk/9Tgo5YreehJA5JG9UnBtrQYOFInuydfTea2qyWCQVd60IR8Suy3fUU2uuZfjqTckpAOFd+PzKOx5VFQs0WTA5CjNNRSqOYQc9EwJmadoaPacyw97vLfuKJ4exrr/iHnVI0aeFAJzpJJ4VytjF7QpC0zkYVE+lTe62ggMmDbc4lN7fLKZuAjJr7Hi2kdRnW2fwMyf/an9pUqStyZ70cNor9O/F5oNXraATtGlLtZ40VeFMx3l67vW5kWFxJzbagRplAPzWYsC+iY6dTaNKG3a69mrcKwnqoq9zd72EaMb32xxI2J4w4hLvx8bliwF01g1YUJ5i87WfRKicFxNoU8EFn1n4Ye+Rd+M3SJt0StQGMkKptXvWSETUBJai/fBmJRQipYSfvb1ONN/25ULgXzMN0dRqDpfZvoKzCpEvLi2WDAip0RQ9pcBDNbEjFUuElrAKPaZSJHCQw0QD76THdaqEPrGjC0blaJHRxMpnIKlx5xiyfG4BokL5x3/SiABlB47SVM/PbLJr/FLz2M49FlBNu1HMnwyQPNqUZrO5+d8flvY1M8u7zAWoD55zblQ1n1+iCWuPEPHy4JNuEF+WMHthm4WI7FCorKOyIE6FwyKCeTpyG3nPzx5MfeDbI2zrBib41Ou+wSfUa+kWCKxSHhDENHlLPMG/WY3dl9Mp72AXvwPX6V/2x1Pbew/44D+W4FoINLJsv/s3jF7uveU0HXnXsJNOe+t8+jiMQLsWaZveMlo2rFu5QHmFgfY17eGJAhPd39Dsa0mblCwvjexD1QWulOMn8tu0gWnYijDzon1hc3jFrnR74c5NMRioJ10skkOacXR9TUtqzd9e3DlSJc4gGi3tJAxWYBf8CNjdz4d0lXPRPzc3IbSH3wETBypRKvN/wcIlXo/I8dHFyR9xUY8gtldj5ZC0EM1RYT2II8wvLXaUJYQevFdpny0GO3pQYLcAcjFTdKzh8tjdLAfBpTF6nehzItMm5jbOVPjdogQfwE89yzlgew7hzBBB+Aog037mtuWJQ4LECuzGQZmzJbHHOR8OGmRNuqLqO3+7ZebOVUI/grzIrMs/X5r5Ta7WUxfv+0tSyreRbvOLrQ8kGMRSe1lWLIYP+nRJ5yU3rVPR61lqJZSYaRmZ1dJB05UbtGipI8ITx6aJsfAh7KkHN9fRs9hkXuT+JRphzYD22RTaMMB1LiIaPG5vyzRs5Rts9Hh77/HDwlj1bjRtIm1FRosDsZOgWODhqXtTGY5tqqbU5UeKtCj0Iyx56F1i1yS73G0rdQn/94ejhgH96UwrplOpeBxjvw4FXARu3ezaU2nx8G0aibDfs7JtOJA0GVrmNApL+UoM0hIq53LToGfXg6qusMV/r2VDgmHaPpoMyvr39FZCuBh5SaeTmIAeaZQW9GIoTPl2ttjLfjLZ81aKaywflnbNG3T9nMzI3TNxbz+dZmHcb3Yvid5VL+hAkIFw3xojaLa23KBiNzRYlOJxiKFNh8Clk7mViwuVRP1KAF49sm1sa43e6CRtl4f3QdejMiClZI7ofuuPVLRBDUiwYDqcVW1rDJ06aiTo3MBpOOOncs52sHI4R5rwTtPkF6ucPK+vY47+BQl1buXCuIRbMZ3p1E1LurWF6H3cmw2S9zI3HzRze+nXPRLNhddBhBnxQadZdDq8xzWuP2kvdadNR1zXKoQaQJTFC6a0XePLfJOVAXPxFklvBYr2la3JL5jy6s1Yqv8nqMgNbg6iW0Fm1PKewTDniCIDTZcoaAoxrrU+Vjg9lHI0nLTwVqBWvOx4iR0bTY5087lbYV8tiAcE1ljafbRq0yovSnpnl9lncpV8F1fSd0HQ4kTwYyAjY6hyGqp5crNIX1Z/wiqpdwKwTO4TYyqCMlKomzHJzHFKMtYqjnhv68iPgg6mkLiEuA/w4fmvRLDR2gJxuxSFMHmB3rXTwVO3OOGMK7mM2NFu2KlJ5/ejrv5x2aoKTpIsSnQtNtMWvkeo7J/c88Uj38/o8+x2+7DyBmSTEIHbGl9tGIOH0i+I+8WsyWpgU8QtNnGN1S9wB2YR+9niYeXnoWTvSFtMKBqE9I+FJQZU3jnz/IxIVOs1+6ZLXe0bIFcPqwLv4MpHjPlGTe1xmLkfaYZf7f9FHkhK8Ybv+SXFLMY0KonzYfPWVp4vvDBdUBATka4cmkGk6A+vtsVBqVNI9W3zTSueIytfeMq9FdvzhB0HBaJa88l0fD99QjMtaLuGcCyWd3uugZiBsdVxAknB85uF9y6R1MVPEJ2TQl0uaZ/GYACjRu1pVyYHS+jTiMLjl2TEkNOZpFJ1tLvRh488XIjgyuEEguVrVQvM6uIBacCOeZ0PYDb9/h0MA3zl3VNNfMoq+/fNVkftU5O0s8LYbRTlxfuo+qAQHSGt5Z/+KpyxxWCYcYIeVySZyOIyI2S33+EsfC1jxuzTozpdDGfTfOt66F2H87AonpNbN662SgzJ9Gon3cHy4yZUuVorPdc6fOSpg2oFFMfqgd3CZRxKSqpw3/XD8t72ZK2974aiUDpcqjQs1LR4mj5R1gJveuufmd/CEBjKodEetZ+PivYUKhl+qENHPKWyap/PoEajGDn1QsQBLZ5Qj1BbNcPM+aOEQv2uz5gd9BvWTuH6EvX7Nb9ykB1n+9zRzGykagZ84o7Y2DeFtKdRrmdMPCsrU2/KpJCewcE4BBqA8TiMPWIb5cpeRvk/aWEiYbYBRjThiJEHQ/knpaNQ5nt21wg5BPK0zXG1R8PuMm4myobkUOWJgwIepj65HU+7OgnXR1aBcgUwQtWZXoi7+NzVAFw6S0+SnkvvyzQZgU/PoiVg8df+rIVzgYZG23LG0tlbL9Rj2KZQO6WlPjTtRC4JC1FrS8iAOoux556VvarbRCViw7DmWUFXDLjS+E4R3SCuimD5OyWXxuES6c2q7nYwZMcuoKmNsWbDs6eOSRNzQW3O41EVQ6jMqSKNHSWZGGxaj73O7N4ocEVPwQ6FF7Vu8/6zlDMw2KBZdvyrtmqcrJ0Tf1/BHqt4o9Q/D+nldhEAO3Qbu2EJrmmIAFbBu5pQbD6zgrrQNjbdb49HkFRpgAeAHaMyQmC3NLNmc54N/GpyF2KBSddkbqonvb99JQB+grlPlScUzavx+ytDgei5CWbQS3pxckOeVLWJTV8MzU2sMQhg/YMm8SgjsAI5pXKzvd1ZOSMZXZeqKd7bSdD0BE41uneuF0HPG/ua0n+161XnRmSpVDVHSl3ZesNrsanjCbVUvO9Mmzu09tE1UtQc9hp2wk+1cYXto/Rb+TzX4XYKiAas8kJW7S6/jcVALMpxR+qC8HoZq8yKuJ3N8l+6ccwoVMjux+NAz0hGiOEBpJ/v8D3ecfc7hAYcFBipUIu84EXvfGzr1FbwimLSY60i1IlaASYc7SeTnoeU5TNSK7PoO71+pVbFw+jXTLbbILHuKAMNismeT7xXLIOnmO/89YWQF0n/qHGxRKwd7ZPHp8dCyyKbYj+/5/0+oQn4boPl3y9Ee6el7MQMQRCagTnCTBfp/J9+InVD/RqWpsV7XsBFpt9y+Q61ZD2Q9e8fZglQvnd3eA9vverLRkHrzKNp2QxSHwPyUOG/syct0Y5PPL4ACO95gmLB8gCXlGzP02t0AzjMAY8lA2qLMMQ0nYs5GoZHUJLWWdmiXmesiy969ngD3YBbAcxTLn9J6wzhETfnQBdybdBj0gKhcSzF4BpCirD+GjtaOcfEtQx7la+08IubsQ55u2WH3sjNsHHMkUt1CO+YFbW4iDK4EPjIukQ57Ovho0nRK6pTYSa9LSbCIKAFjOBa1uCht70hTBl96MJ0y1s+90FyRjHjk5B9enGSco4wN7ZFppPCvt182cqqHGpIhwZjKoAq936M4fOTv5yCt4BGa8dtP3Nvh8TqQcptVwiMac6WmdkcMsamU4WoUvSUUqe9CmU3ikzAPn8daQEMmv91w6Fw8K4yTerkzQF68x8vzo0+h3HrbwIItzashDwNb1fXE7Jw0XAWnXFQtD9+9U8fxmy/M86yneDaJmgxBCBdAnD9Yoqu+JN2cl7cqNeqlQRNSGRT8jOw24i9HxUppe0u42s86UwBs+tYmZvfHVQyciLOEt5Oi8n2GqLIugT3Jx5KCxe2eW4UK6gv8n7p0M1GcoNpQPX+n4U3XW/lERp+Go+2lX2FlCnKDU/6uNBT++h9QAZECE3UVEFUv+lCmjDfJ0llsjZqRmao4BhSvSviEfzE2BSfP9CJRZkGQfjmys3YGJOdLWPBXOM0zaLM4pKYrUoAKW3pw+LzBHV5zzO1TkAsZrvD9PJXu+/2/7ZJKkLYCJq8hYE7a14IF3oBnpSAWOMTzyHF0rfDKGTuCvy7uOSKHzaOz+qCb6m+w/AgprUA9n+hRXwM4HcLHn/0sBnRwWF+OzuF0UESiwqN1W657tLuzApZ13BJGfOxXcuROarOCyznHPcucUt3xF0HzFSxufbxAB6sh6stqshZ3Cat35XHMj2HOzcwzvoPZ9WnuvgKUPgzCUY17uIeNr5HNa07i26uUqfTA8IiGDTkRTCDUo1Dm4pfYp3p3bbB6wc3x+DIrc962b6d+9uJosCRox8kpU1oWZ4msLALOteY+u5h4oshpgzwg84ajss8xh0hi96dtx+OLL96UkttiEt3elXPJ6kzqeiKsx+UIbrnn4HS64b1xC9CTDreqJ2YgYkMY81rZ7CRDjz0ubOsKfNhzwOYmvCSfWiILxMBPRNGJ24qSrq1ojchbF8rvwTajwB+KWdHGBPM+S4ARAd5R26x90QQmfUcyOiPibk4SpNGCgdWSel8Ea93WWgfYZfKZEw0rZCA3aVAn8t8jpKCLFsVAPZ1snDQE0jP6EJ6cd+helUu1tmLm6C24kXWcJ5YvFGClEKuesRtEPeV7+yGRp0Z5kir6eR338T3rTGqgFI4/IqibG+S85x/BVJAAgPWcZIXX8e97qPTbl1GvW3ZXUfVSP+Q5VoaYZTHh8LtQ93sucNv4+zM7iiLdfhWjXEkIUiIY0LxXHRXqbWssuhV1tCTx5j/RBdDhAH8EQeTLtnBPy7lJhDW1q1jkMKwRhnGUj+89LOU7AbKzQiJdfzyOLCzmOtMLPt6PxkpWsttZQCZGXYzKKmjIYyuPpky9mIkwDcVp6hZXvQnzQ1Kowx+RZuLtdYQav6wp9qA6ePbdTinjJ2i+BxB7GIk8u+apUTmj2Mvz3FTXBj1QDRjOQpZaTcS9lbkCp491zyqS2Rchy+DR7AdSKm8Aw2Y8Tx+s7y1Moic3u3kx1OUESAb5DTCyip8c5uJMNCNW5rngNQOhY0FVwgvDJxV4LNBS2y03HDNo+xaSfUqrDtEeugN3krNom4FkCd4jpxYM9e0eMXDfsTdtH3UUvYbcYoNrhwVoRM2AmhIPqxaYOj7E3m6qkel50RoyShsiFqIqj4f4CGJ2Sjb2ws1jIvI2bW5+neJIeD4KzE7uziYCR7MkW921u7ldiV/QdhqJs5m8V5xvZ9LoqdWbbtc9bsnFDCySvHEx8n44LsQo88gurBkLmwmC9FITILpc/B/4a8UrYbl+eHM2IiPKbOemR/2ctW4u49SyaE//06jZTv39t9efYJ/nUNNIU5nK8PJDe1p1HXeCz1A6K7g+1mmtTdbzAlRr5V1yIT33A1C41dME6g6XRu+ovQqEQ17r8OF9PAkFGbvefbHY+sJOaQFrmWs9Bf6bjqRROcr3wdm3X/SOGZYSG509QiC9haCAVb+gnvq2wIasiS+i4+I3f4cL8YkfQRR3Qs2uEEQXyVz6hCQvwScoM5gbtsTg0WMz2gjD0uPiTjYw0I+KVlcPeRIS0lQpCNoidl/cNJ3po47mF2GTjdDtcF5D1k7JO7JgVtRD0sp9S2tm/oAaYOC9WqIQtCo2lfQJRUv/f4Kp1cOVp/9qFOd7kELkkIIXNrcuGp5pzdpgDEx+0AaaZghdFU+dq606OD6i0kEKlZlxMHOZNxJwZ7WJAQeHKw8xJZb36WVXl8n3J5DvrO3TYW8l4tvWSREpWUNM9cd4XPuNNBhA/QBAr4t6TBMlsBcm/vNcL9AI2qfTtN2fpGWbtCqeSiPfa68EBIR9AKBYT3NCYHk61VOmpy31wT5Wsg9eg5ndtBMOA2frZENWjE2I6fwalEro1anTKg6SEF71V48oaCoaIwfGRwOPgHZyfn17ad93GtMOD9OhIETeUB2LsGxvmsZTR5g2NsiYE3Gz5pZaqjMDI8tyKF7rBvtl6iPn/U3KcizXoS59eeGtjhqjDMO0ONsew7TFxp6Sdp8SEo5smYLX+lTCjbsUiMQnFcVw9kp0iIfOy3yYKKEP6fPc5Di5MahUoE657w28Pu8nzesYv0Mov3q/c0VVwG3dUH8AG9K/ycPNb1uPQSMfn0LBZuz61wUYMpXgbkOyUnLmXBYTtcQSwc2M8FwBbkeA1YLnW0rDhMI7xZaAHyQmV79AxA979aPUJpfTweEB6bfhjk/4O+wZncJVmz7f5OG4Pe2YMCAGrtZbvk8tuwfYO1jrmabFynIM2Gb/1Q39omuUnRp5Fr7Ry7X7G/0DCxSva43hwr8DFHY8wZ+HBmijQ0oCbhnRSTibbE7vZKU2ukToQobMIBBKUc58vp9MNfGyk6G7Urr7OwZURXusUAsQYhVFBL9pBHkEfLye1zJcRWJUbzuUhQpNYexmnos9H2mDsyNigcWK8hdN4ENeO4OwwSBM1tq66YXHhV2VnJqTYqbKrJxNag3Ms1aaGr33VLKX/npwFAATypQXXbP79+deY0VmfVhHA1QbQs+JH5bAmUQDnfNzRj4EX7XXvFhT3IWV4EkBRr5vph3JrlaeR8CNG8cUsqtBhA3tMjfrWt8xtlaObN64Qe1UFHAGAl4Q51ZPCpFUlAqmN/eBlZhuWPa0gsnZrUp+gwjykHyml5y6bM/auotJWp1hElPOa4Hvg1TI92uCd+mJQMpLovvv/EtekMVKw+HjZ3fkM5uh+g6kKCwOAtZYENO1q3Bqjube1DMcgkWX23niaAau0oGe0NRRZj63FCyyDY8KISdIbo8/zOxen2llLzH7rHFM4wi+GcjmQebIo0fOzmnB4UuveM2SX2F1HOoqRKV9qGzmpa0PgvHbTRiI4r33wfJKNUpMfMXb7gedzwP+/qDYDVpL47T9NeltvVco78ql26lfhY2bg1nRa0VBBRzvriuEW0LS/YuwHanTsbsWoCN8Vkrl5tXvaPBtJ/+X/ist0t47ZqQKqLmUE0dhNRnuABYSeLxsggVfOucWWJbg73fyzUteqoQqHqWrjvbslawnRniJtOKbJ8RauL4mk8X66UMUoWdUd+RR0FUrG/XlZLeZP2mlg51Vt4GlHnE7u06cojLagBmPwNDrIioBVUe8i+79egz//6R4pl8F+vGjoZRDLvi96Ccg9RPTqADgJDx4STqEuJxHu/FKRK8z3SWmJlQ0soTlzC7pn1P8A4x1tXVOM+uHpgWy3MJsf7YnzTFL30UXRpRFjRQ8HWAEu2YtIVOKAKW8ACkc8R6VTNTAftnzmdAKwyn94YaEGhvuweAMTD/1vbMn4b07MS/X8PVc144TSYynaK0MTbhWK/x9dNlFGPPMnXhxQKciliQW1qThSr1CcrjKLIATyqQyvYa2iS7hFg/npNo6+vIdtkePxxFACjM18XbL5h9DBV+gXXCiZS2JTyU9syF/CeUXtIs1pIWHEfB9X65184YJRKDxrEEhhON4WjoPaHcjtHwfh/ISRIsa+/BNugXCED05hAfoX8tlH5E/3gcL35dWOZGs3Q2hurrf6fG6fW5k1SKU/45KK22A6tOfuR10Ji2DEmyssy0OW7+1CUgPT0trw1FlmZIUMAy/1acsH3B6M3QZBjagWWknqk0U5Xs/xW8/Qo3pbtUV98Aev9pVt9Mu09c2QBkQaHwy7Y7JlX4EvKy5Uzv1OAbTB8V7mRY/CjB+Jr16yHQ8IFYwCugZQFzIFY9zC/KbsbnV9Yh0Sn1XMKYGJscddv2l0Emd5nl9s/3/F4M1+xw6c9K6NJoQcbdwXbgIXMtw1ymIaXgXkNDMsbZ3vEqTLDm41AgEPbyiEBEaAH6/dnqZu04GQvtleNDAAZgg0o+ICxcdTZg/f7j5QMPJTS0tPVEEz5we2KCjhpR8DXzNEd82Gns4sWHzHb0sUKyDJ+HRK2+3C70aBixyvylpB9qojZ6S82W7WrDPXMSgw6BDk37L9QV/OgRE25/4FAJ5eS1TZBwyLQ3ihhOq9p/pFdBG4r4BHbt51ByWoCzO1T2iwsWQcjbK1YEqDcAli0ZOuQ25hZfFtb5sQM+EaAAhmVeERImRbDteSteZUf6HB8Q3/xH9aEC9fEG0RrqUJ/LC45XGQCfqUtVtq+T/DblpyVgz9LGn+p5vrirx2dwKg93b0P05m9xlynZB8qSSsc2JLSD+vGRcTB1GT2h5jUyOVSe7UP0OunGPtgR9QqRk9L3gdbVakMdzkgxX5h2iSv+5gDblJDDUZ+sbuIGbk1g03gubXuStCRssvOxKsz0O7Z2JO99tNE8oTg9Hqc+Ff/dMGTSRTYeosVqvE/+TXT2i1IbCoWUzByx23mwFpCtQyexWl9jtU3VySB3BCdWZgWmV79nRKezTcaHnWzTv2QwwqE/IPopvNhu6SopPQqXehJDmoqwjW5KqsQ5z77UmyzQYSpPa6sQIheeXZLn/SG1Ije7Bnw8/0yUkFZyc+jdZ55u7/0qwn6t3zyTarASODTpwWXw0+uxcCF9LJ0gFixC6zUF23zk51ii4R0VOj6gUgcggMP9oS530aDycj6DNnTmwpRG4DJURnxxaSTWtMuL1DFHFN58owfFVrErmf/cNfH2q1zIW6BRk3yNX+2G4vjNXCYdGpd2F7bNjvnBY87eDD6DhTbqPPfpO8nqNrM4u08tqAw2G1T5+fZgNKVAu+sV+0Kb5GZG4TLvC9vnsKBcq7kmcWqK087zfsDdl0VsXyec7RmN7bmY+yhzqRh+2va3fkM8HVzItx14M9U6MZYGXiBbO3+3IzdU2yBy6JvQDNbAE4usS6DB4omJf2SPbtt5JOW1mQFCA9YQKmQ7KTBDUrd4XcsEoLY7w89Hkzcvd8zIsqqU132vdliYuuKE1IJsfVAMC5WqqZd6YXOX34F+AscfSvIiPxXLRFoZhTfE9N7WdvJqwFc14gB9XjpAVMaAHK59epC2zrbuOmEiRvoaSwMAhFPBNa/oGD/YehIN23Js1GPl6e5APE+FTPgiYaXKtFAIrZ1MBaZS/YOhwRF/EiRRSfoxo5g/cF6p5EL+HjnVogH0goGATrQzLpWiLgvDqoQWSuxKtrbPPS2IiV4BdwSegXOOyvcAvoK0Hh6TI7Zna/c+doWZL+3gfw/SJGsXeisnnWXSpSXhZ8rS7WVW6R2DWyyGVA5YoHVd9KTyL2YMYkPDG4NNtjVfbdnu63tj45SkOeDEiUu+B+aDXPp+JhpqxmCojaRB1ScEtZpn2oE2z4uw3aLA4zLIMoDto3OLL3SStiTBH7zj5rj9UAfFDzuaXAyn5wvGlAQyjRMzKxPPvhDFqUXhM/NqGN3vDyWBiFJ4pLNDDxQe7f4T35MjQO3Ksw9VPAuLy65wbmpiPCWvH05fQ4SH/YeoAnJx62lktqP1cLcjI917Qvo6d+2uf/HMHyhuEKtEMAy6lccZTFIr/BVe73kOynca4AldSDqlrvHSMIH68go8TileXWPq2r28G0MSG6tRIBh/fxJpsmVCPOtBIDjNy0xfe0QURyl4BsRwry3bzmlSJpG0hnDGmYXbiscbFLIspCGEGhdodOMhtwKufK+FT1K+UHfB2KT3Ti//dHYFKGNOtpJpCvrB5iaVju3cRTuNTeOm8yKjmJheCuCiWY4STcZlvvgD6BovNKzPsuHhKOJojQbKEWtVm1OrtCZLcXs6hswwf+KjlygFmW+QIKWlGmW8/qoAD7Fjrg81nY+VlGc6Gm0GuiMLGqmT/YZb10gbDn3HDTVfamkSdehp42jD/faSQqeZKOo7r43DRNDLMCJJEuDZvJVqxqYbrh4hVhWWFeb1hJIPsOdlf3mIGnbpRHYX7AObw6P8dFHmCuLvy/s4R1/szCjg2NGX2uA4tOBT96QZFKG6q0UM/npNzP7c42vvcrhtA4hhExfh5cFJBeF4Ad94ugKdBnRvpZXpR4a7C6flFqSMGixS+pyRqQKD/GkRQqKsPBZ3IV27FK2iUQ60c4L4XPlLetVJxJH9J4VTySnyarqRAYmxQhyZFvmHqN8B030MHw/+f02cA+iGkGOWdpHHwVPD0AUk0HJQthp21QCCjvnrloav/fjuUaLlbLtLnR5MSsvjf7oeQDBr6uKVDaBSW12R5R8wfAlVZNveBRVTx0ivO72EmPdfAwC3TupTbQ66PzwfUjlrsfNHzyakaphuZYFirDZamBcwXVP0wYn7Lpoie0NT18vSBBJkw4So7D9ECQV5A+Dcj6Cyf2U2e3XNNYFQFyqdnMO98fhN0uvhFma16EPjMfk9KeSoKVGg0wzBgbWFLFUHxJcoHKvnmZDC/m/MkIgsCQ9U50YeTxwA0f/9eVk2mlVmC2vWp1AY7ou8bcR15XSu7XPvNF+xF1OE2UzVNzUghjrycifiPp0yIJmo1NBD1DNrXYd93peM+mz9VZ8h8jTXZYCrVyWdzYBHCQeyX2WObBlEIZgNRWnwadCZAzW9QmlebCTd3fG6l6meWwdA9ekIW0+DWhTNg5OJ/y4jWO4ZzQd20JyKCekckBLUqbQ6Z7TJQJVZmloORybqzZc3tcd4x7Wte47VJXwEjjHlf4FGO1Pw2Auugp/6ek364ESBxUiPlDC9wUm1s885mTTIs8x4IjAjsM454Ed6Dyo5oVwAHGPlsaBRvBkfnPXeh+XhtZnASNkrVFLBa/fk8sE9VqzZPDqbEWir5h06lHH5dh95ZEx6JQZyDafHjwwIH+4MkJWNtqDFPXgHjJgmbmz6WrS/otB895weVl7WsaZk2SCESrbVhtWy+hbJ1YHbtxD2zKf+C0jUgI25Ypm0pxt3+C1XLQB+qx3FS8WS0T8iW4BpOBHbYC/5MNiXxPUQAT9mah85ShmBFId9TUx2sRzzG5Ch5VwcwVaGdz/yRAclNdxKpLiAoDbXxJH+Xfa6W0dwt6hT3iQBfChxD5A3T6xPfPRap0IryD537P/5/h0Md8Jd0071jlBw1jR8YfqFXVaV5eSAXajvhOydUTOrspiHBiIL66tVwL++rvirg6mUne4FZfCj8dMnhaK01NtNZkWxadi81nvlAq5AuThzBVgLyxmSeN4oHvdyFeIvWHvuUq2VoW0je/ezpMkSBm7PBfDd05PpzjBd8qji2xsR+RS1E4Eu89LR+Nhezppyaa7bmNN6dCdMTQ+uLlKwPqTR/ES2Agkvr7WWjspVP2Xpi4s2ZE5ZiEP1aNsiq5Cg6Zv9Wb7T9bRbDMoFw4gphs0tO4Ofh3S0lVvOrEiGggEMcmCFNA2xuZM0+AWEPXlxHzUisOCrJYJvaNSEy/JulxtvsQCv/axJvR7z/75BcQ6itQmpgy0AyA+nipTktUjEjz6YXYlhkrKfsfcX2UQk6xJ8OCTtbajb6ljmoJkEKq1esMP1kjliERWEsDq2HPIKrLSHT9LZfvmTb4v3Xf5zBK4j86h5IBEoSkyEURaZn0akczVmrgoOjNdn+ArvQfIvCmobCXj13L/qbk2HVRme6ARkZ8gE1mciy5k1yHF062UiPV5114O2eKtfRo8hNv1m0/4afeqh6p5OnCcRYF9hbGYDKSh39MlHPfVVHYmdn6frYYaLaUG81RCniK4eN9gep6IWZCg366vTA0GajKbSMZjQUEwfDKAuSmnKBOxxsaecuxcqrC6rCUFmT/61QXrktlQoqv2zn1Nx33JdACliHuYsk1YtW2B8wa3EyQZDJrJ9gGZC/4O8AE2/wAJ9DP7k9Ya/NexqHPgxBQs03PmKOUK8ND52Cny2F8sylYJ6eAcRxFvMDPnFzaEgW+1DxyhsG8iCVYjMhbv3k1jZQ4VON8Mmk5Wdr8oSgM5DGQQjorwiOjr59oRZESwwX5b5SMfcpk3Ph01qj+NP3EoWeMemqr4Ej3Wd+D2sOilqLhYcGqhKivKIYLgxQUzfsM7PT9MRrVqHSdn++5T5tYMXRp1G5BIl9jovJDTJwcjLW1JZa9rOJpD5SJwGvY6OeF2aJBKXhI3AG+tAiWU7v/jC2VcKPU9H47QXjkh1LRajxWJs3DSWGEgyvfVwPy0Ykt77lPklEj5xjmk+71CTMKaJX6JrImbzj5j81qBc2xKbRIpmyap1MsZ6J/IDWDXTdf+7l4iY5eiHMce87/TW5JBgv3d41PR9yisBv/M2SDg8buanYc1xFdqAHeZODDg0ClqUTXAI6yKHg4o4ATGtZ+S1G2YL8//KXJ9zxmRj0NwGkYyeAdnN5wrmLis3JTloTza2PjHJ7P8JowvjRHL6e+EtZ1MicDN2rmr+mO1bPGqGAPxjsZOvnXwsru0mMWKHqVjpmKNz1lrrT7SjSthPCEAoQuBpjJexNyifbT3QY9+RG4wE0BQrQ6lshq/KHnNiQrd2BxS76ujuEBnZIs54He3rYF71X/Ech9aQgrfOQQIAFnGEUcHNUTExZj9A4NJAYztqJy3HXy1XjyUCUAsdcItiLIYhoGLFQBAf7B2Xeq8mXMigcbR4+mXI8/eqxGjcw4ekMHuj6RbQt66NBl7GzfPX6OirFFJLCh79gMyx9iTlimnfa9bxTFq+UV1SmSzPLwSBQYU5ATdlaK190pWGrf13bZQXkZ5RRXUP8UmEIgGBYeMT6W186EAG8axuRQFF3T/YCU/W5nvv9Wb5Pympy7vqrJdBcmR9VOAhePjoOPnpjdNBuL4vGgcQT54ed/mo37YubhWLgZ3nmFgyH7VUlYLzuyZVG5tbBIwNGDEyint1dCXVEnLTB1MxX29iaE3avbD8PCprku6n0cVUDXWOXLLTQHxVFTKW7NvPC7PB/hBQfLQKIOn1o5ew2CHZjS9pF/JWL5ZjzEGi+PhT1A8HNVTL+4Fijr3biyiQRseGtmSeG27LFOEE3q3xJCKv7NKLUnhmdiEUQk2GignNPrB4XVP+kqBbAn3MJzxuxp/qD55pLA/Tt1izC0KTLdCntTpr+oXppFFSUoMq5yCe2PyFcJQsWO3SyZIpwFZ4SezN6ciVLjQrBcqvFVcxduDFGST0eLtBDaIBt8alCUoIDCOk+gufvcsMOkB7cYtcX8fwWNac2MHLuaqJj9W8TEJMcFPj9yyv1edx1UViCEA6ley9YDQiqj4kM71jQcly/l8hqoxMHtdwK3Qq2i4wG1mUej4dSUtb63t1SVryu/0VyKWFPiTxB6F+ywAUJDzeLaznmyVQ3kET+DZ5c/tCWdJs1HH9PkrFhNxQIW5HRjOOtjrYI3vGnP5QrzDUNW5dik4WF7I5Vy0cpylPUG5CFEkrry8qck7zq+uvfqoU21BmvDIVpYYyOznXNrp/UFEhSyfMDPCkSq4e6uZpgMiLYhM8foRa2PP2SzVMxzapqH0JurjwMoNjCX9HXtdKX7xmq1XWF1JBij5HF4YISR6pk82sWXlgBITu7lXc/EowiBYoSL9dHSLm6C64AqM4d5BmLqA9/cOGlcxJNRrwPTdbqG3PngK44iZWOGFMsg2R+V01wmp6MLb1SsR1nErHife2Mj1yEGBUgf6bH6oVqzdOwhtOOloiV5+la9cwj3rsseIlNnmbpq8f4vkTP4Vm0TVCqorE8JEHSdvPpC+r0RqH+96TdAxhLnYBxFTHNK5mA14J3NjajbQWFpwO3cqpTqL7NFitJUTtbjac5yIRwuLPgvlR+e95X5v1fiyDaJLrHqUFZ+xGFn8L+sXDYoq9sSmz6QOmFHj5GKAS67ThdolR76xVMcWTaXvF2BYpoqhTkhmJXWj6/CB7xb9MIGj/qhQSU5wbG3sFrD+ahHSRHLOObMA+CXpRTIxmVKfrG1jJYS/eg7N5z4cZzxNGEUz4SE5QaJcQnYScp+1JqTUaOhLnXDb082AJ1vU1IdtF/HvuWjfB5zCecjyMVkb+GUMyIMh7JeA3n3x9OFnfij9cXuUlhCR5BJEq7dX+Z7saf2asCbnU6+GDztbsHeBYlAImjX21blKD9KfTExYhJha5EfNNe6n37lgBCfnrzCE2ZV34HsJkBP+jOcjoWoN91CPdwFRTjR6LlMVBViLSUhg05TI1EjJ3iO5MdLpBSTSzyG/SbAPcjrDmbum0saxB6S3LbIr6yohmQnHOfgPKvLO+HSBlgC6iV3J4ezhBm6ND9fmyEMRxmxlcciAy1DHL4h5XJyFRnNGRNhMCUi2X6M642I4rxnkzVeEM9jwx/7hdvF/2DkXriHQoRB1em1WSGSCoGunCkhPFe6RNe4jyl3uBYfSEy7C7nfLQScH+4gUwm4Rf8j+AjlJN8DqImMWsY4G585PvY99grFaRnrjFHKn6GiPX3R7UpNH6ReKcYOnoyl72JW21Pikb1kZCrP0ropXdQLRc9hsN11HmGu1pJQ9vN25jHu/kj4H9Q1juyz/Lml5wFPkPsRdsRfhVljwlmlXPXQ8sWqjiWA0hn/SBeN3cc9+XBV6e/a8MHxdLfzVzDGuFrhERuCJm0ehsKa5MPsl3GoYQjuePlws08HYGDO0JcmX7JV+r713CQhish1zQm4lZ0Y0+MJQPe8gWXsNs1a+1C9izBkocTbrSyiCUYM+jf5/nwQtWW0skyPEm9JUnhf+6XQYEx7PwpaLhViHmdN6z56mye3wPDevUva+6fGZpMUnNdiPUhfsIIw4mzpIU2lj2kxQ+dkJz77AbhPQVqoPGuQrMlP47+Jai97D7OfDTOmGC+AmBHVsp8wJtmJb/zlLzXfXDgzA3E91m+R0KiiEyo6zfwoudbr1fZCaFLVsL85BT+S+Dq2dJBpbDtEz0BYRKwDvro3lcReN3weICLb9yYsoZVNPeUesvMpX2L/wEO8d0di/+4rVp1/uhuR8WrwLfnnibibTk4SmJu6ro43E6kJMY8rMJlzjDzeE5t89ZSU0EtNQJfSyi0J2JEOi108gPgdxh8LPyeAxlPzE8gK1yIVNi1kwzcNCfM/ZCq+FoSzI3jnrXL7F/UiL4GQDkg/E0pIfzKcZRA+Ln+gD45MMstlVev6F3Tdu1E2Yk+02qqdxtD9/35u6fiMpz6qvUEwkE0rR6yNTfKLV7lU7xhYsOaiUnQxgK9hjPX3cY6eDFjyq3fsm+8nc5JgbnA3gs/6Y1a9L/Ib1HpLe2v62yadz4y1Cxw9E9cm9VbP4Hy28cew34/OQZTp4u3Smbfje4VBsPak1/YY5W4FfytBaPaRb4/3e462kVeBQ8xY1G5sxyh1ybEfqANBYECMW7BcJ+3qqLf0rq+0uJTcBcu+I+GRVwv3CnL4RBFDD0uIihFCIv0WK+4aR/gu8VaTkHHb2FJ4P8DzpDL+N2CDGyyTkHQxoxT0CmNFMBmyxKdKhLzNpVMghsd/K2FfI7AGmxpDlEbzH157LYqhvIx3rqc32bcwb6N/Q2B+UVI2MuTy1QEqtjq1yLhkDCHDsAIs0F/f2AFkXk5WxCCOp2zUHi3IGHqmoyTRCaNb3rEgTUdd/Z87N4GW9iZgmwuCmg8ankBDEeOrqxdOAfK4dD0zGNOrBBJwb05Bz6cOziISvI52GqZTPoxAh7OOA+6VVH4YhqhJE2feXY0Jc5x61e8sAi6YOCOwhfH5DSi29yNx5f47lx8BOwiZuoL3U/Dh/tvonZsSTCGOU3YrGcnlMKR2afKVvkQ/psEjN0mTguO/QJIElzfaivrV2XzOILEr/yFXuDNIg4BuBWvgLO9apP3PiwNXOIA9lLVpDSDfTFIbDPWLGb6EbPcx21/iqLr3yKjOL1dSK/erayn8C701ZeFNh8R/YXWDlYCvuFyRiTLfAmSr3qBrnlFVgHXa7vyWzZdUTBnVQqcT8WbSxetgzl9wnvQQxDr3ZX7grPBJvyWNv1rcMAWolEfKZflLsIYFFzays3Rnrs8HdIfG+x3k/0HOE7TMWjIfOVbvScoRKATCNEFs/4oQhTaD7jM2fCRuWEJurTkzGcfcQzbYHwAO7koTZwxYDi8h9VBLDq++l8geiRdTGNed/cpasJlw4yHUO01/fZLn70zEoGpZisB6ESCv6ys/7jdy5L5v0n2bREY1B9+lF5Y4wVLknW6nMiUFoUehbEShwdfD/WGYju4w2kjURJY/dGa6DPP1nP4hvdpPK4rfG/wdCIqVKGpWWYLZgMc63LWKiDGMyNhBmH26wzFCITz4ZxEuENN0+Wlvt7LVOtA821JAmkd3Qc4Pgu1j1wjguTwAVqZbOsoxiA67yYXunEknMATZzFp9ixTdKiFotFv+EUmIuUOnC0M+1hOcx5EVNRmfgWMrYeLwJZCIsEGO7X6/anmxIvUJPJCbpPx8L2u8s+ZkRdgFA2iAy7d6E19FcoW7XlUjcpj180GMs/yvB5uIU7kHwOVc1xM0O98D6to53Y449F+CrAqV+zWu2QY0hN/S8kHNF4ysBxIZCCE8z5jx7Wz0IvWTgfc1/sH6LS6yLSBPCsTFShV3BG4HMEI30qDjlDh7AhDhhILHhNzqvaYOY1q8Xi3ugY/ybJhcqUFwoO72PxiHpu1Dclqc75UzlfJAABFZ8cJqeGnWJ9b6EB4FoQCij87FTsc4WIp4wZhOTHsVjg1/rb/gNGHie5DhmX1+OImtGsIe8/N/t1I9nq+XIof/Fv6DeqhsAT0KkD3pqcCERRtGoOzclWHCMU5g3vajx49g2Q8uoaDWxfAs49/F+HRo0X+Ney15pHWE4RDm0cKSk3z3EkLXxokufqTgXLpMup53oalNehaJk8zqR/OzcDzaU2ZBOV7EGGjf6VlqMXpUSmxXR8wiq+fIWeFmdX6mfm/oY7OVKlVUrF4dtBrudX1F8k3hKLauXPCtrCVxxg7N3ZZW4TXKCcviP/f0Jhw+1cPqLhK2/H4fLB5wwh5HtsLXo4IwCyMxHkCiXKrBNxinMHk1g+1mclYOqF4cw6Fc5z1pYwsYgmMh3afAICW3U+w9PkE1f2Jf38BDRDZGJyJDnYP9aHRblN7HdM9rQ+ecLHI7AWdbv1EC8t1SQhb6+DgHHw3la2sfM07ia3of0O1oAUQCyj8H9BQ0e0z52ihaVK8zhSNbf+72RWB5stGXKU54h3+gla1Kq67Qbbb+rckDkq+5onY28LFmxbHbUJWrUavlt57m4oOEmNHyF7e2WkrM9KG0yojiPWefrXrbkq6aKrnUsr6AeoVi9aZhcbRdM2L1HC5eX7fjZV0EUfLDqGXqoRljAaHLP7/MZLzP0EtIpl9IVnGEZ5MrrsB8RgEISdrBQQd7RDjm6eESdYO34ReCRi88ojeCSJcr27lqJF9hY4AY6iP2Y5V9wiAltBZpWNUrxhoTVj5tmhbEgD6gQg2MUbfjikRNDKNbPCXbIHie7HeqsdgdmCjZuLRVxqxy0s/x4jFYed9CrQ0bjZB/TQ5WjxCdLDNY0lzMzFJAHBswRfij0a9QgvzO1U30Y6Gswv2V6Y4ML77axGtk6oSPx6j6SMi5ZvUz6WONvmQLZd9QfzyOymz/a0n3JhSonZ8WX5Wv3hwo8s8ebL+/zpRX0cbbFLMrAJd238rbl6gbAP2uQstQToG9Hk+XrLaOGLSLJX7+CKKYyZgMDEx1Y/InZD8mRRwpv9VKbkT2ooBfBL7d6Z7N8Dc1H+wfA8QPb4S+4BeUmFBzsarlTtHn44GYQS/8YAIjxmCpxbXBV1ydZEPpECXbmdlB30a+syo02i5aItiSXLcWlP0vaX9vR7aktba9KMtZFzX9R61Ce98fHObpma9r8Vn6OW8jE32YrbLb/3i+VRDyOh3Ng0S+tFxFlPs/fsjPy2gInthkXZ1K6P20VMLX1xKWVEOdEH3Uf7JmQZ7v7+Yv1banwFVFA3E9Sl6NZG1879iSfB8f2hEH839voH4/nalyygy45rz+RCdhIBWIiWC50pIMvjXksDUuBKSk/L3UB2TykfG+N1RcQgKfLnZQHU+LIIJnnQjEFHh3NM1lvRi5zkWaRNNlWDDBY/aTJDiWZRxA/ORV5gYCq78Pt4FoVBoLIJTM9Bcl/5h4viUsWHKe2PBqsa4WIzLCTq9vcOsOv8VBvXFFNBSaMMGf8qBapHZBiBMVih0W+l35amq10h2ihSKH/wmNSuLAy5zfGO+AsfE2r8c63uhWY6IauxCgJXG1JCuh3T36i5A4MUlAeJNpCAd3OpMp2erLu3tBzLkGaLfK51Z+Aa8rz+yRkGOFHn9ybA3KxpyjqWSqsQ6T0oHRaElEW46++tMaevQmj+quIzmc9wWLj08WzEhje09XLK5W83LRAGFsHVRF9+TU2dkHx2TH3r5n+BaBK/4IqB0EIA9q0w/Wxf9vyRrMn/RqH7XVZbOiWiKPDGjgLTp/h6ozdMQX1xF89eeEQUkfaK2d/GANnSZMHaz6dlSgZZSBmldvUXedF8ulL1G/75cFv8kTNtS37Q7lbbKQ7bd7C8F2F+I8PbOTeWsZaT3xUbTfZY5c/khJz6P/sTOKUG5hlaIFP3sIsWQvytWjIgczz3nTzsZMTc5157IgvhMWRAnTIzwrIEH/u3YnLikAAwDKCc54BIx0SQGEnEgLszRM5wefT7EOhDfxzWeQJNIoydv8/8jxMdQ0wxzilHuU8lXLSeZBzqgY0nkiuwoR+5vfMRLLCEVWnZmvVXnaagZ44bi/xyFTDVSoUq5Yq8zEpc41ye720TxD8slmTbQvGF89NGFrgfFjuei0k/9dY8DUngw9Pmpd5hk6NMur0MhW+bLfEzzy6DcBr4e7+XFTTLJ4zqnt5rDAAUH96RNvRqMVAwe14i7kygGKi+p4GAxT2hB/yjVn5zjuQ3bTnqqAwNdVWgf571fxQDu8I8vS+DUuU/DYV5w+fzHXy7AULL56rrsDh3QG5O9KpmRp7NXG/9jAdbM9AbFnQAmyP4Ibdr+cR77B9Zyw5LuSjdcfjGcjz6J1xLxr6ynEFWDxngNboWho1L23HCwFfw7688MsqaQphbsKkWVV5q4bKdxHC6e1onfKAJK1EEWoQkXxlwSe5gPK/MI2vzL/Trt2/JMkxdEZjzqWDaYyHc+fvpN1VFvJpA4MI0JBsRd5WiNAi6mK5FrxcKZcBtNyvkzo1XWZN8GX2C+0+a5+nZ512q7uhKtlZFQchyI7jzPFD4LrVMqmgFZRcwK5jVvcRlea3pLn8dbASpV2YmZejLeGpQ9/9QZq8+m8OBc3naSqLRMSwkjwOshMcv1772h9jS4i4Sq7ZLJCXcffm2XMQmxWlalVG0rhGhbEgnHa0fqhBEYUOASbSgaChWp+Qpg0twhRzreWGV9kqpxv4dPKRF78nq2Xv2uQjSzQh5Q/8h/DoxOCCFN45XG03BtQvO01imoWFkuw/E4DhkP1CXd1DsT0mLvzomdfWI+o+rY0/EU2kLajw0c+0kPj/A1fuqWscDdAuRJreBHqyK8dbQ3XyUQJhjJ7DPB2tpDq1NCBS0vPWGYgn41XnrtnmIrZvHHQxku9CZxk5aMZx5dQJBkg50+a8AKjZ28nv+T2hv6mC8gQ+KIS78crIXVZ871tzCDoSB3b7wiNkDyAr+j3eKi7W79AUYHDPKNwQKgAFn6Fzfbk1OfwNeHEWHe03oEkpI2hRVXuzbs9eo7m2vofwJGc9UM4JgssBQIdtCmpkziA4uzAjRnSngdQTsccPxgYM281G1o2h2Y4X+mY1pzvfAhSdBtOZQ+8BlLcIn9fMxwjQ/7bqOes4BwbpeMlJn0OtdbN0yRvh5jK++h1zeO+sR6nkTpTrR8PVIhuCGQxUpoblNIfhNeWfeqW2kYFitOobPgwNhyk8RH5lvdW23Ps7gBQ7TR6Id/6gRTsECjlNmgQCng1T6HWqB2PXP5BSi9qSqgOlChljHHS7r3ESPucCh7iHcsPFjaECvNmwjoR20JWyw/UGtEewHod2G+/XMiIXxcib7jLD51gegudFV8sIdPYF38gTXk4xuBFaLcjFYuuxD9rdkR/03t222GkA/3hdhTNs872+2hMKjTQ4KWmsnUYsRwSioqMou2a1C4F4swVFHjFgTkpUtp9ytdnANxA1D6nfTdroJcwG5yT9C5o6Q43aC+vghFEaSl6SqfjXmM7jGNWK53FpTT5/z3ks8s5ewaCEBckzD0nMZr9R/eQ0SWaZlCWthsr5e8gjUX/lHRWHRkh+uPtj//n3CsIYRmPtt7lUapikPxTYGF6HGrNl1erkI/kAXJCqSTiJUSPsRuCMocLtwmD0JvQIhjg82f2x+6KkNoOyGFJtQ/iEFlzenYon/5susxatoG7x+Bf2Oq9TnWonY5CSKXz9CQKeq3Iff0REHFumaPXlnDHW2+okAUjE695DoM5GCjFWjOOg5K+kuPRHVqQ+X+KdIqPnqziJbLPdK5UP3JJExSC8wBtazMKHZzoXRRWeSeTRbmyD9jIhX8Vj8KhEQ0dCvqbIk4uEEnycIbiweERgRSuuVgTW6CDyIYvZMf8LznO7tmSVamoIUIeo+BaO/06INT+zE7YwgfrIf0O7W2U2fht0ZiDF51ZPhVgVrSXNThBlNY0qHplJNdVyjuT4WzccnZuJVn9kp+v4Z+m6yHRQbYKDqQmBjzsbzeXskFc+pqrA9hf1TFzzmPDt3IovIMTZAsRitoO+P9sYh563RpoknnM/NRqI2DfiM+UYue019adTjOGhaCWQJBVlVjY7dQ+A9/Kgk60jAK2rxZIabYVHw+ewMiYx6Ls08mqYhsKchKeFTDnymXFBNnRzFh/Rqkt6y9RhN2JWlDZassQkW8gs693vIWZ/bvxvhrNQJQNyJ3GuahkygOq7+UjJR9YrdDpdYTwQobezgntk54qsNV2SPrtESeELNt9Ec6G/Tf01QJEfaJ/7cWkaTvBacALEDt6MNKz2ZF0m2/28Rm7zNlH6BdfLyA+xnaKTChdKcNqPHHxZT7xrmJowqg3dICCb285JX5qYH2vdyelGCDJvAEkyMMAAU3w/YKXqzgvLLsa/cEn3mC06AwT/Td+RR25TIAktPyToIhXugzHDWtdMPqgbPlENnn64YWC2wd/drU3rsw+R5vwHon/z9x+RzZx7GOQYd8tc5T5042qHIF+OE6V4oRQmAjx7WG2wMGFGDhrgfrEj+pzcoXUqewLNypausdVT9ol1poJ8oiPSMn71Wks5dZLf6j1dGr64eYf8IY0Id1j1u1p9vxvsdaSZJ5+B9vBuKU33VWHmD+siboCewkq46frpIXmZYyJeUc3bLpqUo7QFucTJAOZ7hR/6E5KPAVJBE2kcEWyZQ040FaF6GhyxB4+xUD5s/tGIjulYiX9jhKjtEdMOpGIU32uZuKdoXBt5RrYBzamUrw+IzqZXQwkyGtmNRAtHyJTfyJu2iPuLg0lmqB1cWFU3qdqCEaJ1VBRm66NmES1kCnjZDSAfOywb+Kqbz1ADF/JMpGIOwViz+rITQzqe+xZZjIwm0pMCd00mklr0/L4b+OZmgptsvRkrOZlWNplZnomE0nrZicueL7zxuTYz+EANl3taZqpLSXc9GsLSK1TpVD1KtgikqLld0gHrY5qafiISyvt5WjwrXhxS/m3tPCcW42tlQ+FO/FepU1ccq6DNHviXq8o3WnjaEKsvfBotJfgzGqBUbzo9WD6mfWebseqUV3jd58/uXM/kq23o1WA6hB9BVhU27fA+VtkPw1KlD62jvmSkq3gCHPM/B3rElfp81DEmBIY0HA+bkogmwuS5cyQfmsarurzffbjVtiGwBVSXhrttdSgDGtffMDtfVv05fre/FD2RYVL0GoP9pxWRe0y8BoC+DfloMv9oBcHAlWttiElgiyUfzyjen0i1CbY6/qmS+rxiq5fKptjdRUGcAlr10oROaylO3aLKMweJv4dj2VyK1F3ieb4YB92UzAFKKTXl+VSlAcXHEBH6nONQJpxqte2iar02WrIHALnq/Hx5PWCZYlkXxZnZRnFWwd4LOJWnNu1uMwwK4IHWPG1oNsk1PiUtpvdCF56Ju1tdFs2PFSMb3BFJuCF+gEhOzrtXw4EPlPg12QDtNQkghJz9Yz2lBXiIS2+p0cEj2QKpzQJ++I15xh1w4askLyuRb4h/s17rqwmgpFqG3kV9r73069R5q6A7f5RU0Bco4ISNsXNg9CKoVjoH0HwOSViYwKIFU2Tx4AptunqvN3oV5AYGYZHkR+KAnclmtBLrb3GRGQbdrjYfdtEKlJzN3Jn1J7UJwQAbbBYLW4ngVOZAHDREka0VAlvE4UwYyULBPL3HojtTLJ84F/yCiRSIRK9WJe70hcJL5x2KXt5ee3hrBMnlo67tBp+PFwFA9F7dgR1ldVh44f0pTyvDfYe7yDFAy8eMEoreLuTgF0i3BoQ6grac5oEYa0vkP8fioi2BZk2AHxODsrY1kOoAZDkxXoKEmFwjZkJeZBTxIiXBVxFQHfBYvoB7zpNLGmnihDJn1AiASJAimh4I5A8Z5Ft/lh+kOxvlydTyFdEHeroNoGMZm+Mcu9aCmr5OixG/V+U6aS55dEfgn6zxZlBeR+uw0BaPQSXNVr1MIqQhkYyCHRyxME80rn99GTTajWdq7zq7cmYQJvHwZ4+8WvSjTwGt5NuF6N0YyTktSP3hCe6f/GswcrPTaoTwwoX+pcNKZ5wlLvaYOCR+b28ly9E9FkDRG9Nw4xKcewM9Kun7gU/sbbChceAxMtmhUaKCAjdj0s3kzV502u91Q5TsKztJL0SSCn3Q1K8fd9VoyOxYOm0W1eebCR3bnqlZmSyiKb5aWPXtlxio5uit6F/xdyxTfuyKG9EhRXgEYsfZodhhzvB8+sE58UmpJzQC62JYt72fydFeWl2zcRjwAW+8QTO9HQd9sRpeD3mujOxsWkkcnE5wZAGZXFsq57RyvI6m7XjM88YibZA+NuIJWeHh9QkskZtpk7P1R9CJCbHCdTQk1GdjKYA5PQNj0dDfCNG4lKABISdOl0Kfhmbn8NFiFiEtKjjDe5o82vl4mbCrnEgZ5gU9E+L2ZrOUZdaw+DFa120+tma5DnCtSTxh0BN/QShLL+AyKggOQhWtdmASRC9oqskng9hZAazjd3KpZ2uyqeKfkrpJR4AMHnhy89H3ajiod4kEyowpNJ4Vk3lOIibQPGxebz0NM6Wy7p1WAWcfPz8jVtohzKEoY3JIrido9ZJt50k1J3t3G54bVvPsDfGqolgRmN/FvLN0tdeEOzvPOIesMpXNntsoccdOaIJajaHQCFAp+REHvOzXD3N9a4kCh4Q/Czio/EfKYN2FQ4dvDG/2+1YPnWupPVu4GdW8C6Ft+7oXzf1EpvwA23RQv8/r0wSuxqwf7Bjw1uWbG96wIic7SIDyzM9m9LU4XY2OuCHNHxrB6EC6bBOu2YNH0AJ7qF5uf9k6bJi61tPxitqQZAuM1qGTny3+wecS8Rj3lTm+/regNEPFMGoi58+StsPj+0MTEMYQ9UNJgOPPy9+fT0xiZxln01SdJ+txk8ToxTIQ6pXGMBsBheNVFxJTxA1g1P3JH+OLYmeZNaiDCRcu1YShYoOCd4IBK2c0Vivcr1wFsc5qgZFZPE4mWh66Ou1LKWFqe0mbXN8OmYORQvuruqG0ESbJOdpIRgf3DqL1JTTOQZQOczdCdkj6UTougW6V7oFxSh6Z0BiLjj7bGwMRPNWWx2b6PEKxdDvkoiR0r2NgIWBiMQhgLTVeP98/Ruy+x+O7Adz1DV1N4tsTw2Dtm0O2+MATCqjRbtpu7AcxwdqzPQvT8QUfH3WLOY0FkPA793ia0yWAmDvgoL7kNnf0wmwMsrcu7ikwqsn7yR5S5EpEqubb0qBhOQLlYGZjKo0psaqh4GmbQDefpUgM8ceOqPLHeeKwKUqaxHNmDOl74cA2H5JTX7IOIj/rvEW4QPMCkLV0bqb92Ua6mcApSg23i6kLOtAo+J9Xhh6GuArSW0eGDoqIM/xFSXQGUpwIsb1A4D9pb8gJVVfTq9SR670kmAOY5gFdPd8CYn6jfepMyY1CVxK1JTmuZvOHyrPNrUc0vD0G4EwTzj32ExrVae4Rc6L55KuLRztKGonjykCLl9Htc6IT203iinNioDvyA0rvkMZ+GzPtikNmhUxsy8VFy4vQtc/cZMGLA/TbKZ4JdOaHWpWm/aA/I+FOc4etqNeXGfpKsQ0nYyeZ0BVOE2bwclwrsBSrsgiKTKF46rVd+mYsXQltmVh2wweIYvlyEZFb61RWmDYk0lqn/RUZRhpJiAFCugcVR01Z0A1+CTRxD9BYJA42iZ/7nQY8pkE7EiwilNAf8SnURzviLSt7Vojhc2mfQVTHBRJEhHF3LYSi9UA8I0W6w7A0a5kVAFIDOhktYl0X/sFGstYYoWOGWxc+pIWGR2i0jJvP8th3cyOzijNzt4NdeCdWQ/xyY+xUDdiWDtPHthXGqYumEebTnyykaIhJph8b6KMeEexdmwKYvqbj5Nlp4XAaK7M4JT+Tor26B0d9UZr0A5DzH+6rJ24nemaEgGXCrNNio+C5MgvvcTPDHeWC3ZjciijZPr18KaprV1wlVXbX1TD3WO16j/5Ywt3TZaooj1ssOuNqjEjKV0/k8plmBOadO5fFx2HeewrdWy2XAvjjjZiKJxgN1IRU6et70quViDq+R7e1UH/6z/wFPq0ZsQ5Zyuhc837AVWUxjKXjJ9aycoArUcZAwBKS78jAJl5Y8oe7FpNBYGpu9RnCcQppMyXbtGNgrMU5+jOfsbPJBFSHN5dMU471McV97Af+S//iEGxKwt9Un+wkkNWV/Uhm1Piu1QTFUr+BvdQn6MMEUc44hPAtwCSX/sQ0crUQP7IP5S8C3PWJW1dxZsrBKGeJWt0xaF+xAEd+iwB87RFxGfBYeb8abaPfk1KJlL4j7+d9Zv7hCuOh5xjfT2IhwW1cRuq5SsP11Y0dwo6SgH5FCfBXKkfpn84p/gmn7QsOrtsnv/kWjcBOcTJCs6Rv40q1+JcCwZwh8J88Swfn6C2W9uGt6pUcWIOp31XIlMmF74sfFm+gjJAa3s9PIiUXDDENAHTnvLtvL44rIDyNmTF92Pu35KgoJdebbvd34Hz6WX+wcnHFWPWH2kM7zh6X2TM6O5JT7FgzYzkZYWH/ZqBHdSgbkTp0Nnuvp0EO9DCC63hAqNnHoGj8ymnjOHuJr9s8xPJkw+fSQN7aE0iUXIbShkzFWiIM5ypdZkfKl/+A0AJOrslBXGwsmD95NJiHK7D1H6cXYTkP6OeOVIrqoaDGUzFOmEaeaFTJS4LUREiwaN0VEyFgl3u+ZiDBIfEMLAcmYQaRRNGRPMfWOJCiTh45q7gdxj5l1slvjiZhkp6pedc5yrTUJcDoYu9ASL5G5nnbL9WQq4OUjGHAbOfWG2kWFO4WneGj0uG9OvuhfAjh+NVLzJ6KFXDx6Gydoi2BjuqMj1kJvd+KeqX9UWykT74ZoDLaNXXA1kbnG6gRgKQ3gN1L/ZmTIShQlTBX1Yw8YvwG6mTvw08lJhoAMY9rOPYP2NhIu8JP1IKb7t+qPoyRim7xIfALXaVhq1ScqQr+M4TIlkj5WPztWKg6gL4jQB2ZW/qyWawu7SeqjKS3x5r6afFQ62MH9+PxLIfaiAwsqMBSoxaf9uqj851H6H7fDD1U/y95MqCgFwpqcpyFBhu002sg5MSQasYhYYZTT7sV5Ma48BVmTFKn5Moej3jiAdGhmcV7LpuITl6EvGagM50Qz4DDoCWugYVbcHalM/fVqGk6caLLx0Ma48XCa95H0ioTQzX8ajimR4xvKqf23Wj1pHRclpxoFpnAOtbUrv0W+yibdUMn/ORCLM4g//GHGpdxPIfx8Jg0ODeG0g22NfrTYQnlOpw0PHszG9ICa4Xb++sfv61Kb8CTnXt1OsDD5m9Yr0kdKejZ/jPpzWtThNvOGf4sQjSNTjr6J1HMcQQ3lbaQoK9AfmokAzD4UMf4ByblEggeE6gQEOG3SdW8UrovnAlFyA1y6jnjhxxefEGNf4/LoU+RP3zr2MV2jJtafO6siEs0iM1qaW4L6BAeGhKL13S4grl8xex4g/lmyO7IJEJAc7gwjSSrFksWzUcjbigWmMKvxkXaBLRYzW1LeUBQeWgnDVsdVFwq4FLsSfhmYTEo5PoFLNZW25apdM419UjDyL2QvpmWwY+jKGB9NVFNY9mSRoyCjKX2Ue5O/01K39hcTeQOCWUZd9DFDR6jxjYE24Jr64/6ii1Mrmvk3aXcEgwJKVk572hUIRpjwanl+VZSnuDMTCZ5dvLCBdyYgmqj5WMfrqbaSjMmcf8F2vrNzWWfgJ9TM6RnyuGYP4Mhzo2k5pItZJYtffd1GARZA5sOfZIbFU0brUxrxskLrv8IylTEfN4JHOtvAHosumuoq/nAYPeNLyDIpFaViMhWbl0xuArjHK1O5LlZ1BvZKusuxZ3/sN8/HRwqz9UJllMWPqsWkH4e6W2dWUlozv0jS5c45NH2S9m1ZiWSSscMPI9C9UwsObqzPtCVVcwyOqhmlDFPXSLNNthXoYn4/KxUkK0Gwa1clBnhLlcCnAXR+TOQM+v9SHPap2Bzs3OaYDo/g3PMq9vhbkIsNAgXpnc0FqqGOO0+Xl4TQozjxW9tHQJQWLn7S7OJqLDioINTqNVNXY6A4vENf+XK4JOFXcy6iN8J3/2GSVPCwHEX6iaDaElZVafafcYhoyYUpPCF0cMTSUxiI/JZL2Pfxbg/hQcbR1uKRo/plhjb0qh8T9lCj/GHcpOEjxfWYj0sJ1KxLWdw7T/tACukuG30EgnPqcUVAhX5KrwQGoqWSajID0kzp2XoGpgPvudK9kBAsN2JFSrZFPF4tTO5A0SBYyUNWOuF1vDSFdQcqWXpUMwyvdN+vvXrAh3fpubsP9ooRYAv4qpsvbUFdNuuxBub6I8kRPUgTew8FE/MaPB7hn01D1h5fawqvyI8cx5vP3XaWZqbIjGWZYmU5SUsRvvnAZp6m+npO6ujQBM5KHfEp0DosbHDVn2DQTQKZu4wrPnSkrRAbdNSb2sDVWZOoBK7RBoJFTOFdg1pMpXdkdOL45LiaHMhq/UjIiQOIINdYqA1GbYTbQ5lemMushkEQpJIk+y0w6vxjqsL+zUS4RVcDZlwlYwnJEUpxvqa5d1JA1t89kble7qsgQ5bBl9asKxzjvjdp5OJy7g4m3/gDfc3XvMrBgPC+HhVOq+M/LRGMewPhAGeN+tnkSAO3j4fxr4H104AgrnuVdt48u/Ncg5S50Ypo5mTHzudPsFQ95BGILMs+ZrbV3UL/P00bk9NO0byWLjS8MdLwc9PvFFDn+0LQ5Q0eK4U+g/b+2SFOWCjNYJSs85VzuLsm64vJRYf+HCB0d9doLdQx/pWebKeazrwj43PuB0VZ7X6dkkBTJpB43hWa7Lwgl4PWgeHa5ClCOUvPK4AH1lzPrdR4D/z+QNWcG4JwxZDFL70G3YXAmxiVa6zsGanPruCOQcfE2WI4vz6HvEDPlN/n6hFKiV0+MqE0gSTZTEEIrM5fd/sAriMMTHjDpigISukSsbfL/RuUb5WhZftyL311EY2n3UyZ5SRYL66EZJhRGl7Tq7DIHGTpRuqQYNDWgkLXHMzRGoCUUOsRn0nQxmAELs2ApE6rnCLH9XoheY5CKXqfzdHI07CNv3U30tsn4NRRpzA8uwoBoiFFCYkE5XLVxJ8D/lO+NOdfnvvJ/E/34tWd9ouEPXBj4czuGzgyl3EOS/jizRD8yNMo1Kng0627G1omoAxwilXAB/jxCgr5dUHKh4R47zMDNYGTfB90JYt0jW2wuTJ6bptJGEo41kNnO1dAa7k9hR6AcURaQjbs1CGMHR21GEZj8C2utRDkF0VEpxhgfUer2DcUD4pTyMqSxlExLGmCo7NUTwfAYjV14tyqgr6etuY5gf7odYUrCB9yvfwzjG2pLxpwnyxabNndnNUheieLomsBMtkQfeIj6RPIqQYU8KO8cCXHPcQRt+aBHH+Ub7R0eJy3scsNvXPml8tp7Cz65yacWnilL9twRevkrCXlGZa1gxV2EIoLUNTejnUdqeh3iUSJsAdnYvkq8ZWpf7RfuX1jy7mrYE5MrwDWZJuE0rRV87yRpz8a1VWAlfddNx9/Uwv3EK3oLv15jXuqZ3EP8Ei2SwSNK8u6itj4wlLF4VXt19j2RL4YLSJh07pkorKDRwDHBwmVM3qrq0M+FLhuzprJ4pck8=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dJyNQsGPTSy9VzFyXWcyU6Os4XfuIEga+ORcm1oUjmCoOfxUU5a9TFQxK/y3ZGXO0l4rkIipObPFy8I+2mODSVjoju23pyybxAOvBrrYjm+LMMdc+EfKKOkKpQG1XtIhrsspKiUPWN7tIoSzvRGrSKPlzG/G4k0vE+A6aZYUSCegagkfXkG2seWLWcUNyk0RbLNSTSSAGDHpGGdldNGvhIJESGTOM0bBUCNqzdtECC/d8XifOK9pQvwEAF7qJKc3KA2zpCh5F1N//xXpha+lulr2R3Fk4INu2R3qKYy98PxMyLMNO0a3YjUOmgU6TzaYW1BhJ7mri/zLO5PAgMfgxeVlmDRPcctom3HZZ8OCNXy55GvIYmlvKJ3GjjqKhbpsH7jsrNeAyCn6FjG4mNZ0/hv8O00jB8+QzPYwdQ1jJofhjy1jV4bqh3qe1dxK8NhNLft3AV3n5qC+bFyAEx8I6S/8L2WXEW9LOIbZ17CayYZV4/yWri07M7RGMnSILi4hUAtJ+6LomMupkpVOWwRqSv7nWaj959cN5Ep9UjJj5F+rfnTd1QADxh00l0WAfAtflXOx6Wxyqnw5uJPm9ZdSW5EqKIXK3hgIvys8HxN6kWPQjo2MKqgTDI357kwvI0Z0jRFpvBz4oPl4h77EVn5Pp6olFhCoItVbjzZRqayJ/9aahOAnAJaD5tTZYYxuvZdZ+029oZwvyNfTEoEWDV8Qo5YC1G572wCeg0xfuVMwyMmL5dqkJcZ0smSTsTER+ALzxEWsI/KZiNqHvo1IGUA2i8lNI+Y7RYZhgS0Bb8wY3BDKl1FeLi/pDevsuOeRiwcQdrJTBeNlpCVs/DDuIrkw7FtkAnGY7EgbIUTaCdYJ+TdL+0F1dR/fAt18uxAMEYE8zKNTZ2QcwmonqfBHuH3/irneqfPVCSqix4RmqtHBYphwprXcCCfLgWs2t4hA1nyC2O7ooQHDwSivEI0bez5XqmgYWk14qhnjMhakEp7HN6lN5CLKJk8h5uaU+X5LjeFchIyCTnDPulMOm1D/wbtw+n9NnA8OwMeTyz58V2Vj9zVpr984d6Xtaf1YjeJz1eWZh7gMzb9uQPKh7HW2rvt+eHSlAcE2gBVnezZUKd4FhjmxzAId6dw6nMNxrk/Z94aaJXPF911N4FGcCnB3NSBPs5YV4Oc+mQR1afDCe4avKEgSVAxnTJCoEzeDehpYoppXxYda5Vtm1YwgLAJg88EjKBiDpXXiBCGdH5tFEe0kYA3OkAycceB8XR3lc+ZJvW3TL5/pbyHA4kh2qGV391+ZI6biR8cdiKmjW2yJeGsYYzcLVOJ6/q/J8hHLVXbHyacbLWouAkv2ZbiyJ+XaGdzmfNVq0aE0tlMDozhL41plsqs7rdiIFA6OPD1TkvId8hDPr/M6dMuzy+lIl5dKzlXAiyDvB0d+giIJ2oEeZg83cnkofAdJoKdIFByPocEiYQcn6I8bK8Y40UnN91FQPenW5V7VTGsCcnv+jl1yXkUuJMEM3QBcYWTDFkBdf6nmzg4c/125b+M69P+VO9v6sYCE+AttrL2JvL2kJE4gSWsDFZhs4mYsAOA+sBHkVSCLli7Xson3Xh2ne4pmvSfowM3jtD1/IWOmujLWQEGSoOVCQJT4bAnYwGifmdRN/Qjgqse4W6JAMBfcbuGnG1CtmcmY14rhwx7s683NnHLNLsQxthdy84HOK+r26jlwPVgJqyOLT581gRv3AahGcFvoauwQ+ZHBxuKM619JwDfq/innngy5vtNtkxKNcOJkrdwfIMsXh9czlSr1JUUWqarPQee7sd4zAJDDqj8hqmn8rjBoDbNR62iwg/uyFY7PuNMEJVrwfK15absh898FEzsYnOKDPkn2gEQrAKA6t2igC18xXZMX6IMWaSzbUHdJYNelJqaavELK1AqB4z1JrMTGEMo2Ez+utsW4UlQ5FgTLuO0IuLmKDl7AvZ5TB5GmrkkgGxJXasIr1FlKzedONXD6LJ89EICCey/S4M7yFHU/h7dIwjldNa88tqUO4h00PQDACoYKAq4sp+OlMBxDiUazysm+IJmdG0ZAK4RJr7I9UoyScCue1MRD0W+zjFhSBOkmiGxnEkEvbMOmj/ZAKeIp66gtUxWV5Yis9pJ3tJ+gd25wrFJE0RPvC6tCX0EpU/lbHGfwouomvVHhphXEho7s4QY/r0dtJ0EBqsAH3fDS4ZTJA3rD45ThL4j3k6xuvKGx4xUS0WG1O2GTa7bkwKbjAAhJGxh3gkascjNOGL3pE9Cxrvp/MzYCePiBufx6Z2zrC3bnKdLHzqFSMLLhv+VC+d/L7GaMowoO/0xafjdDCccKBqWBk8jm/g5jx8XqztspOp1ydSb6lYCgBSHGrjqRkN3jWhC6LSAk2O0g01kr3HnpbozfGl/QwSUeRxKLbzShYxjBftxO+NZYt5TsctybeTdK3qMcMVU/IEtx4HTylgYvf7ojB6viFQHw+Y1Zvz+j4hxfgBz/4a6CW5DZUj/zTY2yGEertbhoiPGvgmbIW8H1QcynsxwyZxcJ9/LDqz5+lcH2AJY1wKqhiRhVQTM0Dhl8OAplQGukJ7wiKpm/sk+FvWu0LlFSOd9FYz/Qf4ZlfcuNF15sn5cRl09AADXk9L7vefErZR6cXLYdYIQANJpaFyDBvZxBcw27vc0FhmMutkH2etrFCB6eUFwjwRoQIzsCUBbKdCnDCQHYtBHLqG6hmFQfVKJ6E4oNn+kc+uwUleF872hGJ0F5Snx7eDy2aRZhyiStUT2o8/IwnYZVPuQytC9d0VXgU3DuZLZnieC3Mk3qdO2kYLvZuPXdZKzF0K+iZk+sVBd3KLu83J72F/uwuF16P9t+ZEbI34dVbjwc38hFYSYRG/NyNvJecNYjuDLkhbPbV9ir7DboZu6Oxqef/NF3C4R0+zJBkKTILjPjTgsiCqvHLZQVWU+o4sieICMrSRP8TyRh1IEMr83H4YcMR+eiYBBSXK8lLqZCYS3fro+yDAwK9gqsAQh8IQTs2j061S4GYrshQJNujJLBPkpiqw21nl9EFSIvDqTQ7CH+9O+WIFmH+1538pMx6HeaBwZ/pVCKL/tlKt4+qHyXMfd76OSftYaixgEJScYlVQMYNn69Sk8zaxOGUI+XCKt3sQ/zxdKa0wm3gVxywb5TxBZeKj6LmC9E3bjYbqWXgSsg3neAC76pwosBG8+IO6umYcIuczXmRsHRldwjypzSd0EwNu/gcsgxOvQCBH82UvlVALUBp3VU64qRC9s+8Dz7/ntLhA80YpXXnLFlzXY2csWQC6vOGYAr3kQHQMIS5ANizbM2zXNpcCLASjTSfh3Cg9XKl0isIThbiTnKQCcELC0+89ZQvks2NNoqd2ZuEZv/7i8Z+WTIpipkOYYcef7Y6k3ktfLHgFO9PLsATj0Zu6JVAok47cGm1r9YPSxHExYyJtFXqcz8/I9gqwEi+zHLupdu3pMbcYRUkvzjE3+AkhZk2XtpEY1MMF2xsDUy70RI3ezkPzQPQHjDhS6Ewgj6Gi3IXoxaoALoR62IUfood8dbzOEz3iYjERsFQHVKFJmbxbTi37vbCO8V2dJte1xXWtGwKpT/cEjHNc2nB1HKq/wWps3j76lvL28J0XsF1hGNrhIUbZ9swqHaVqd7o8aqKAJFiMucNaqDVqNQ3xYTG6LUcxeSENBwDE9SRdWk4H9ohQM4R9G2TpjVu5iLI5ASz+n/Y1SKRXMShA9lOn8PYzkGRlF+ed4gJ6zI/dgMNdoqBWSeWYMk3rK+Gkybe5m1dam+yzallvAe6M27Y7K8cG3qXfWHM6446Zka+mvRVh8NQl4XFFxc1wiV5PwQkOlRzLRoJwAKimdWZl1wDFSKNuME8b2cNrFxSWnIBcXR54D9XdHtIWVZxX2W9XVgNDGqukEsInP9lI/JCjy71nN9yeD/MCBzfA+YiFpYGvHBx1JceqFmOy1yJah0NjCkILc+c+s9osAmZZNNvZFYn+T425hjJxuYQU4FtOXDrbXmJNJsr2HJmJ7/7KvVfecO9JFmTCCJBmuyWlUbzgmIn0VCJuryog93otDexHr8MOXFQSH4y5dQmHmfu0PSwMGfllpSi7mTBW5Qe8fWreLMmxfyI2eKUoga0Sp4YoI8R0Bk10V2kTjfzdNSJkm2HvRukegKcicnWVJe7P+wGVP0zqGiv5gIAWnkvUIZxImmDgAmjt2733KLpNlD3IMk8XZz+Z1yanAZQIasInh8+NfelNK3PXIQ3NFQxqmol5P1topH+Dsq5jnzrwt+3fiDxsXACa4cbRXehpPQe1lu6l69waROvppgOyzTpMX8pKy8xyiOkR2iAMUtueEA+OxjYTF3UbrYhW2f8CVRMLrNG70D7NnjmQlRJJqRwpOR4bNvOzVPoAPzN0h1dYEvskUWYLlbbuOIcrQ9Xf8lGOgJP6H+I9XnjBFXmmatfBto3J6kOwssh/t05+bV0TrBqphVFbiuE/70epVZTX6xXkmJfvPVJ+ap6AXWH8pS5ombeECPJ4vJGDbotsqYUoZTk8XHd7dKS9vxCzT9usf3cTDIw0mJ50koBvTOF5/6A4RNdKkLhYkh67lSFNhETv7L8j5cxre2MUvf7uYZZhTaVjS96Q8S0l0g/LwqCX3gbNSJnZrfWM9L53KyJB5ftHP0k5l0cHBfm3vm4ybOzyMN02PttDdxLHWCdH/yAiPyIx5cUh4u1RWyZ/Duc/4v2lR11DL27o15T3/M1KXQ7pcF7LmPA1BgJE7VNiGwwzhiSTGpEUt/rl5oTQ+VHUrT+A4PkjhQjakonerCWHbEXjw0eZxY3jzrNPKZR+a7LZWoqzf1Sxcymq/LLmaeAFiFFA3ZXHbdxGchyD0wa3onaCnitoiG2yq62tr49XGAkZXGCnEouN2G7zafvgXz1kIrFTH2we31TDSKCFdRExF6yqsIQX9KDA+FAS2kX66LFx1Ij/VbsFrNBFXmS6HNdJdvsU5oymM3vTI1ao6UpmXd4aYvMuN6t9zQ+we5aoRV+iwhA0HCEQLnWCTjau8h/hLJuzEyXpdZm482An7ISfJ6JlOz+NtYz7GWXdpz08NNVlXiOG7yZ4mwTiCX/0eyXLGEaKWul99Bia4XagF6FXfrLFeM2+Nh7nU81DRm73lzhABie11DCBfyXjyacSKY9I6FiCsL6ygoE/JiihNf1kWM5TRzu92YNskKrKC0NUriTYx3BvNqsaFKGQD3vqkPvJQ1h7Ae+uJIJ+b2TkIaBPOveO9PrtQKZOi3nGDo8LW7MqtD8P4VYA/QGNY8kIByIq/emrtHVNk0UVBBhLSMPKFgtkEolbl/5t0qfluUARC/FUe9Uveo6+160tmFAZFyDylOsK/XJmmMa6+pDGXxPlmU1QOGMS9klUhKZ7LM0NtiQDnREYt/WHJD9akEcAoipw3S4Hf+kckok3cCliu4M43yiUjwYnbOX4DNB2us1azphECtrlJJ8pE5MOrl9O39a1TAz8n3Nd95ewmZSnugUFvyeoC9AkDX/S2PeqbDy8o0XT9OAO8fWp1N7ya9yo2ju1MZEyagovmDMNbv/3EThYNnbK3BGBAxb1qSf9dLzmcS1trYivyIVavXa+bRVUk97uxcPl70j3uBTDDjX5JRshqD26MiQUXSMmoAy4TCnHoXxISAURsUs8sYHL37Vo952uw0XlZL5JEV7FXFW3TMMFbUtPv071FLK2joEQE/9rr342M0okx/f9mmGbpvRugLigap352oXQb5dw7TQKK8fQf3KHfj7/v3Dg3k+IJBybyYRanMAdbBtU3o++pcX9Iruf8xpQZ6v8Nyw/VO7+wbgtTNDbCb/2Y/jexv8bjh9WMyhtCtSc6jEnj7yq+qvylKZ0mjuLgGSAoor5SsBolbIftYDomwq24fpV1U3SuRZLg0LZ56RRa6B3vNn0W3k58q0Ruk1AJF0PFvhMgyvETja/DpQYztN/fLLGcV0siCu1WBLrCd56Sb7wrTTUQlh7c9PKx2LeH/c6Tw+uarnyozvB3zCGrzLgG2JSVBIZaST5cfBs4NQXhWia0w0drOTpC3izt/GCy3ei3FQCD1csC0j03M9g9JbAh1frzasUrBCPZOFef2m2JCrWfLTs0Mi4ACE7H06PRt89qhkQLiDIjIcv8t/qMZjBwkxQJWtKHIjBLCWE7TIsFagR/L+rWJoduvsGMjgBNgriU+mdD01PnAdFXyyj22KEIwUAIPel5/MgOlaDVJL04eCbtxSmcyq0N0TpOyZX7LMEEdz/RWxjeODeoqjlAFnWfryua9ZIIKyn0VizpQGqNrIGc/6iQ7QVY4nTwOZfyO3LhEybehg9t6y7lyiov5qRPdFuPxCU72TJKQpHLeqKVWqMLndx/XGXJiwGS/a+UyhUUKRxFroe2W67z+JJQCETwf/ZuCN6BMH6ZxpXK2a6YElRQI1UaumAUFUncWb6xa1dyTTFQ5dU/0pox0+wmPpAoe05x345L6A6U2QqW5owqofATTAc78uafENK77HT8kj9oXUS0lX5wKtZmXVJId6d63y451+oxY/oeKC5e/Q1f94uBF3YvoNMzAeJLJTFB46lEPuJQVaQqC2wznMSj3k4sOcPsfPuLn3tJbnvg/FJKjH9Q0b4bgzLi2PDYABV/Bxsw5QFVD4jyaIPUnWftBXSvxv90PWnwdBkoqhKbhTfIUOm+nTedV7NdR8piuypmXnAhIcdZkqBTUPebIh1fUI2Y7u+AJjnn7roZ6M0VZOwCIFzL9KNZOL4+E3ZBBNL6SzdnNsQSdi24hNXPjfBzrGaWsxypL0X3FulyLD3JsL3xLgoBaSbZD1BmFkBttd6BpP8KJ88XTV8FCSRp3KhkaufVDiPMZ+Y24DLS79Iai40GvQm+BGk/KnhD+H403t+ZT+xj5TesCWiqzLKlyd3AswDWI28jTIMVdBWCaxJpYlbjYaBdbP+yLQ9lxG+/HHa22VsYCA5sJihn2mGZZ/ddrjTlC9Q8nQuH1479pX8LXMpuE5z8IsOwJ5LN1d6D3GiY4dQtx4xhq28BVb7wQMbOscH+yHX8nI9Pg/bSvx9LNmLPDw270D5C6xWxEnAMYfydrUAkAFb7w/wptE/JOhZXhx8gWcwkhros+NehTpVX5Ix8/kvnqF9EpDqGM9xjUvNJTshzD9Mz8XFzfo9yA8mgCGVp7o9OLWwdTnbrkHccnbaH83LFqPGevrY8RqA8u8U/Di7EyAEkgiv6SNZlsAgCx0G5y/v+k0W0T4/zygo54i6bxFZuFlCl6x+bDjHkmhLmvZVmHEn9pGV5LpVbU/Ng+9vzKOslaJxtG13HMjUTpw+V5KMiiPc3RbyudXajGdxmZrSYD/gKKiEGO3+2JaOP8Ct+zFr6MA3tO2dMWrw4TVZQKCjE/jHPklw8psJsn4ygLJ9oMXMz6TqInPVPIW2ue41JrbwW8rnM4LPBlse5r2j07wtUzDP0LmCvUJ1Cr3poTLAhHUtC+h8tIDEY0hcMXB7luW3V67l+PhrNJ/8aJPAMLWEOwW0og24jY/mhHNZSvzHmROxJTbZXtd86CDhByJgpbgYgnCPwfNXlmUfXizAf4TV0MdnLcRuXr3SM16ddMTV9F0p5MDNTTcaJYGlMjW1NpCprDP0ZRYEBuLGjVw1Y1kez+qmFG6nqZBw7XOXo+j469bLN9G76I/2EwWKZYr4GuRnFyTWPgNeDjoOullJqvr1ywqfzPGAM+xfGfMl3xEfN4Qot0ScVIzEYZ2tF2Nno4IBYFU/ixl3lw/zH7QSLWDyI6XmMnBS+nLm1oYwbhno6yoGlyFBoh+i458/QicGTzI5VVwgLHs0G7pbpxzdjZmauqHPKAEH36KEgT1zRqWVlT7cEKKuQjTuCgWgRHCpyaCuPBlZMiqqjwktV6LuObK5CQcQHAe+C6HGYgbXuxWbQuKkAazZ8Jp3oqyuv+uXoxMBLemUuNeJieKJSJG2REibwUZwzLbNfYYleAFKRhtbyeKVR+B/KE2iHd09TLTO8r5IPW3szRVuzHCar3Dvv8U+mpj0ZNPZIS7oxdkXC4hjSBrfDTeGcKf/Rcpi4jLBQJO8RuEx4BK/dYNZ/l1Jo5jWlydMQGhN2wgUTk8PkLIvOOUvTdI50aGXwkX0Sxozd5sjroCCwrXGS8GFd6OzNotR0zyJkAlEPY10tK8gsbzqBv3iLue8AHW09mkyN/eJFyJ5anLddgqx+T+kWINa5dQeEA2kgibGvq4BC7xdb/hmnxwIM3jOY5S/ZsGTmFRZuh+vtsTmXFFUmc9o7a9Y95jyd+IdeGrpBh5huyMhEyCuDhVRwbOlTfG/aZEMQ9KvA3fLZiZI+dkQRweI9OCi0WTuXOtOrBY1cS6AyS38HpwmDq+CVkoxskfmF7Rv/GRxhHNjRZtWI3zvgNgHHc++sZCr4nkupnX4HeYDOdMUxe/hsXw4I8r0kv8H4VIUO9nSaldydTlXeZTb3ZLbfmC9d3odqBd9APdOb4l8VNybSQPJH8heaS0GrgWMQkbZZzWFckmFeiS9oZal+gzt6Dj8YRHdVo9rrrnI/h74dZQg7q5NDZlyt+zDHlt2yuKGCfQY+Awxig5Q3fzspuU1JJw0RJiZzBfrwqleBkm6MdxwlORLGXqJWj1lKZqnqQKV6Qev7fTSg7bJjKgUAR5T7fXMnbQqx4twEWS7csVUd14Cfkx0/fSKVEwe7F7pQQGfSbafC+PI03c5G2AYamPk0DjoMZGw6Gfe1NWvU7yL/21wEYQ3/05nP3tGSvLFVrWxJirBQbHHWXAEY9jLMYV30za4jVyGwBhyhr6trd3+OawlAZV49OrCzMsbwpesYxVFpDXJMU9o4PcWmxlRA6yPigf7FH2HxkO2kH+RC3EdIMj3HAMvV7o/7O0XFBTuhuVAgfcTOAhEhJbaCcTE+76cjO4lQ0C+6QyAkGe49T5yWs4i/eqhyc7kQEJOgeBzd6Bnv8Ham+iAnZRsI4lkaQN6yGFU0P2UjZAlgNKIpKl8xfAykGzjLrfUl7+AAcGiWZf0OfxuBQGL+oebOwOSIdDYqrqrrGvoo2qThS976tYBDAh176ecrotj1Cw0BM9behgpPsNuhViuC9nCYBRgBvWiliSD1G8+dbRxjYwtHV7l2W8oq0HGw7zwZJuRi/uGcmvD3fm1q8mBUREf08huRaTs59h9Wui7ynpVzqcCACEIhe0Imiq15fyI7pye3Mm0BrVyTTld7F1SSVlX0xDsLJwfmTo686DdPBy0+sJivrH1CdXa3jbibAiKoVeoT32iIGc0VhBrWZepAM8PzmXi0H/Mf7myCORnVZBgN6jcZrrr3Xfe+IxnOvE+UbRqoXwfNYpspMmAYnX+AmIwx+hRMR9muCrMOaxjU5DO0xiF9kAWRVo8ZW0GV9D4uCkWbzK8cCKBQcAUmT/CGOr7ZRvDouE/oaFHzTSWzcfG666jaDALhCwaBsPx7GuML2UiAr2OlKUVQcySynucemOxvw0zJDiUxtqDK9/HENe3Q8fdAR4mVbzqvRSb9Hmi/EkGJGu60z+Ki/5VvfI42HrtL9i38z8l5fLWbIO0QffKWTiR03eh5fzHb9deK8SF5YSuxWe0T7Dtrcnuve+frFzpNHWlQyzxgtMf0cC4gvhfQOijdEhKRQk8Ur0sFL6noccNrblInFRAREQGWLZzcxHHA74IkJQ+CEYchvRv9KdiTzvfvhzToYBo6GVyZ3Wxeeu9WSNo5QpU4qSBZ7OvJm24H8WjVJZJjE+m745H/EACFz8QWA2J4M0jgAMWIm9rThUtsdE1sd2Iq23/I6YatUj6nf4k72OLJ0oxT7hkkDvI184GGnQ77jNuNnxTMaLcp7O7hZimZJFwsHcLBZqFJn04bK/SEZME79aKM89u6LTisMy3n5YZSRiIXKGDRVArpuDe1s5xlnMDrGA6Z91qOXd9GlMzVfuUupY3P6dN78oq3qwd4UEdXPtgC49t2cpkj0ISfDiv9f0OXemFEeEt3u/7Yzj2RCiD8VnSvXyn5jKoFGYCmsv+exGJC8YwweXBA+3DPvU2GoKaCKHHe2DZjT3ks4lVhXb6qq0kpsXuU6BRA4Le2mkXZvytSG8vt7QtyKx+dvxZEAhozIJK/OwRFgwDIbelRQqVE0iHfsoGbFGehVALvGzSrBmDiuhI2W4eKhA3HffB6ZblgPS7/DnvaIUFwmEBcWS2ZPv3n7QPw/RRt/mGJ61U2o3nbnSqnl8TpxvwTHOkjj9bedWIoxUq7nCB8ak7FFYmFfE9ZvHdE78j14APBv6P9hd0p+ek8EKSvI3pkRNbGtAaXCdc0m0a8EbXJ02IW0oJnUGLgAJMYo8FwxzU5aHlWTePoIG8WE+DyMA3yd/sF6Lsr2/AD/yRgoF8w6c0/mhaecjkKyxDXRyLRcZiljOVrMbxc6cD4mVA2DBd3ggqCZM/vX1sezVByZMyL0ecpuHLP0Y3cXM46fH4ZcZPIoUROUPZL0hXkxs8b5saBgUfo3rVOvXeTyCMUlEpTY0Bye1Wcp9EMI5UFS0gn7ANPP2ORlAlE/xA3QoTT44unAf9bTLegIgnuZk002twDpXeQnwWDN4Ro8f6RkZUF6RdGaOj/ZcegzrPKOOFFtuRvAAGq9lMB7lAqbYK/kB8EdjVBojUvSuIpqd4rk8oYUBB1L4z0GFR9scG8+iOXJ6m6A5eRBisAJd/zHdqmHI0b2e5PQZN4f8OPlS0Qo2YsB6Dflsqb3tgKFMquRZmAtUNA43hvr72ukdQv/U5tVQCTYHUd6F04Z8JKGeBNOSEFKXZ0yAHeZFA+lQ9RKvH6KAHGn2bMQaKpZCASSGa2pCnQOjooHfyroWsCcFQ19j1H8uk/nWbGyk+lm/iEc9JOasgWR3yTweWW43kAsP6gvHJDa7rEYWa3CBZp+7b2G0LgQ/2+3AGtc4irY0ZM5HRYKBNLfQNWOSIRK3NQWlGsnpwfHjbDexTFg+MoYg76vROkHua1oKZI79vSHNdXURdAzZWG09UeukTfhdtLIzCIaTVjub4VOl0wHxFJzTvR3w2IBwgtRcH/6ETBsk22sDaVPHyywkIWK/+fOLA2x2L6guRJ/nvFQL5eoAyRU80ACykWWNBa29Ww4cCBpqkmlVjYoL1/DxHMtIBzJ/jtl2VVG2jKFn3rDuPn+rUILSx5klAVn5lF8j7h0q62vL5kmn6nF94gpR1Q5ZGcxszre0kWVnE3nrYlJLHjX3wUUP7YzJMofHHxUBrto3OrOuuY8HmPB3JoGEseASBdf3jzcOId6UV1sFL1zu+FIfoz4EtA8VwDbbL6DAM4cm5AHSL/9HU8KxmkyeOSO5XcOCgPRmR17lOBl9T8j15qlYdQuU74U7aKgTjxP4VmkxnJQyM9cDpsACzlZCGhVcI20KqeCmPYM5x32i3dAijQYhWJm7I7GlrxiBSWACRgggnzpIO5euRcCXEYamt0FfnbESc/+UmFH9kKgvpX4Vnyvuj2uDLPv73YJa5KKhWA78niN0i4gx815Hz5cSISRn1HZwTGnHFedhmXf9VTDgw2Z2WsD6/frGK5OBbfHXJZUTGftzfi5xQB83w+OHA/DRJauLXdM4Z7ki5zwxUCYl7HXX1h0FARal4pWSfmPPG62mK+3Umt1emp44/v2+XXDTvOm/lg5m4Dedhtk3LZlB32gSD7qQuCHCAb3+WYTfRnYZRdYk7CEJwNSkqOgu4YqzKowuY/fEUW2zxJ/wkTcX4SbR08485mEx/aF9EwZCRBtCGfPEgmnr4po0FiXzQxboMihADGbmp4SvWVJgo237Kcbc1jD1itVGQ8SkRE2VActcrMCHPJQ/5y2a/2aiwmCVIkBfmynhIr3fWRO0g1AxTUIQRCqjUPEygWoUHqnWbe4RuPlcjauypzCcWAUVmzUf0RuMJEg6NZK7EUuUlD0M2Yqk5eaq4bpgnQsXWOdjTxKAlxI4ZHOnGnGXZMwfSjj+rNp0wwNCGJ8UnwX5/Jxd7ttfyUB9iDqgU41fGvq9akteLFLM+WOkjRHb5gqmmsswWJxcenZZ4q/vURXeplwCRDk59X7sJaM9P0tTBU+SifxAE2mlHQAr/pPu9jO6jtJJE9Ajqs/eAsv52IaIgTt84ddqWJB5q/JnOAtwW1VkznPfjaWWB+VaTPFPyhxy8BRdEFqmtUqyRKdo/Q4Tdh6+C0XPtUdfzOr7s3C7YqdA5WG2iAA1PP75ZGyTPgWiQiV5//sgMXPlI9RExsdQoXC9W9Z2TAgkBJRJhu8NbXBMdZZ5Sb24q8kfhhD9bBqioDueTn0bLmWORKGoV3R9gcGQ57CATWm0LEfske1YlBjplXzTi/BAdLPrYuV8HqHlRPjgqgJfZeP5H0Tx+reX1EBwNP9A2Q0PB+cTOmo2BcGXsyX2dONXSd/piWM9NoUAV/S5HnZGRgUA1/sLwJjj6T62GsaDOp9sSM5lYSx/zSSsZzex++ubJiikl1lXf4LwXlXrUkOeV+vOK17lXpvBgouVs+bmE+VOazlyahRdHOq6wi25FbfzuD9wm4POq/+uTMc3+zzdTTjc8cPZNyWRqyYqBGzBWo87xcFGxuAcLA08YHuSYq0NlOc71jVY/Qmg/9D+lvcVxESZyPnxIYyz9VITWu97lTEeeKFUN7ERwEbduANj5EnEBWk0RcWCAh780jJCMf6dGlMb/a0yhDjhj5s8NEdjja/CjoUheiesICd6JxAk8cTHz/xUpny6UeKhuELYdL7eCdEY4TymPOAtcr+EbBl416uIDcC4O4iQtXtRXRROjvNrUiLN4TV9740175WJBqj/bqPWzyFuD98MXVylixlFqfVo+a9RyUPKBRL/2e8woFSUXZCBHNe0CZ1m3t2XyuXaZ/wsB0HkqgyugXuUdlIbXHkBYFO0vz0Lk2iXEQs7xLuuw7S/LfxCkZIUvjLPkrnl8sy7ppbBlw7CYa58d1rye7ynsD781OAUgFhRCX4OvoE7huBpd+X+QFpni2jyde01C60NgbNurAMLjIoOVIrUWH+oZ/LO6dcce+2OQwNhmwxZAGCC9il/evaaMjo/x4xMlVt7o0hPW7I6U73a6pbPAlLNEqNPIOOvms1mMRsPNePVU4nsfkAjaus9VpQOAiA8s2QYkpgGujWH/hGdOw0Ax+24DRrzfEv/tcuUHDmmUE1VQffkV4qECxrXol8s+Bp5fa8Tht3VVGRKODZr8e3DBmlM9d602US6cImUt8VWgEJ6hJmUTUcXv5eNEweiYnC9v46NdGdT/uMV9Q+eomVMOQN343fXGWNly+WdwnImNUkmSvSPfw7Dtwo6JM8czxJ75Zhy64N31Xp1YZkWybaSUUfMCoHjqL/S/wHmNEOxn2PGzzNJ0nn0N0Aq7ToIbejG76Dgb89OEHUNnItkHEAJ5TcxrmfVRb9qlhYW+oa0WTVyMwY+1m9y/3OAQJHHk3lHY4GllUrJGDvoDzr0KVLVPcaqJoNCIgHsmoH9xKZqvzC/xTUl1v4yQC3Gs4pvFmpbS7H7I7pWcM+kC3wUeTZBA6egJbRQbwTilIlNd0bIk1t2qVUD1I9TEqjzQP7ssla380SH0Xjvs6jqEk7vqUhZ5c5wNqS5whRtdDoS1OOsPnK3gaOEqSCDTWHomfvbOjMsOmT0RFsTsnUoavnRX7euNsiQj/oE+d+/vdT6yxOF4ZVt2B3YUPZAsCwrhNiVauIq1HYYSus8KrwFh2KD2fgnG++ng0HwvNpHaH23AfIsWXpuvGEBJsPuotoDyybzU9T63sNJp5f89FwSnRSvZ6+hhMjIjZnZ6DawbBK2HGilIzUXwaN/jhGroMZqz2Nk9E6nvcWQ4CDusPSjzXnB8PgXtUe1LU4ZaiiySmSFlGfuc7OgxIPL5mmcJzsTodigmDiZjF/cTGWH+oY8mAMMkzZaD1+UBODfN8G90ZWtq3ItvihxgoYWsD6/Ty7Ev+4JcjdU5T+7BDrKtJbMk0NL7ZYEQ7K7HFD3PcWxxIOi8m5wGLzaR+ZHe7qr568MPeYjL6AFInqQ4mWL8YiWhRvP3GMaD3AXLB+5ELnpaLvQ6qT7fW9i5sszE0XkIRUAZLT0GRGXE90sSM5gszINOfPlbJDtLau9f/vnK83O3tgiuC34TrMehCrq4bn2O1DWrThl7maIVxF87Q35ij0/0dhB5GPCpXgB+R5sarhJwO0oW62c3C/e0jnMSQWhuEL0+seIBhsWMg/JQeEGtTTUtEmnOYxbiVrcxtAlhLIanaKMZfsj1ruLvh19pwplhXKNVHE5teRnGtylY6RvDQd2+8jST0m+q9xbgA9Qz02f9xSbAqMfxXnja5QArRByCYhi+aCy+m85B3LBhWSFEYBI2l0hbUagYU8lgpK+l2SpfcHgVzAhjXOUGhrvn4kTpUtMOmhucQfK6ZimwujuVB9TNzLV3NMYQFGJfOKDj3HZBQts2Jl5/iYkT+dr8tcvdfrv9Zu/hV0b7qEFMeigYSa33tvUWBqaddCEgXckRYIZsa/bhYuwnlDILPv3yBQRrx59hmXrI5KY9AJgeGYCyDpHHfwCz3Ls7Bw/sBjywAGxKeuc6DZym/i+YQ1FWY/aJbWKCN7Ex1+SGcwltrrSb+s8F5ri+iJWIrp3xI0C3Hy6OFv5Iv2DhJQ+/EeN9u5BfurWcpavhrRAyOfKd11lOBphpwRnjvbOvzI93Y7c7hXNS+f+Qo/qN/+P8uD5SaL97eUijH3tFUafaBfY4qcUFshHyUkTSANEQTHRAklhyrpaVxLRxA1g5/+g1QLVAAh5Bh3W5MnGJ7cngbpLaOsDKJk3yHF2ghXLakOE10FsayaQNwl0hfiBTJ58h4ptChYKrLP/zZ2OSBAn1USXREF+M947SM051qDiAiEDlUImaKlovDwz8VKB5XJO72S2qR5N5bLNJ2GspPXn/btzOSmw2cQHQw7IGcR0+xvZLq+M3S6pL9fchr7DLBemEQlEi3M7J5Kxz/UrK0tZDpbZM3ss9Gu5Ivlmsq8DAD1dreVWnLfIfLXICtzbfN8ZYFZ6s1TftlhESkBr1fUkw6kcX/j+nQDdXvgR+ZJDv0VgoFEuhPf9+hWRzUPqgowi8l8gjm9CnJThRM3ZQJqoM7znE7vVYrj1Oodaz/hW8JzXAq49wToGh2rNXwbVYo1qWm+jGc+m6rqCi92RM6AxbRV/iBrJ9btZpZM47exMsaMkK8pn0Ll0Kc6rGJpAu/mjQAyuCTws8KyIeyjOcG6sFBSuok5fZvKRXea6rMqRYPNte/muLQyD0n1uk1NXwQpAa6yYFsY+zJM7o2rQhWwnrduqNNG93aIYaj0kLcs0dto9lap6JksfnEv0p/sRMt+BL4Ze90aNCmeCMePgFPVPK18vu0Ud7QH10775m+FkzT1v/LZ+O74OnoLf97YtwCNkol2r7SFwVnU1t6K47/q6BI1H90gq95Q75kuEa+A3qhJ+7IWLDuGUvKwgdqZQLP2Q9R5y+Y0w+U24YqDVblyVIXERfkUoW+cLJezcZQCOiKNhadwg7NedfG5NLoPrg/h4d/yDVJRNWlvZ+nSTwe8qcVtQCAkKWHMjhP6UyAtETNKOzfGFiqRcqfXmfjSfrvHGT0rqM5zyIcxkVU9tFtHwrM7vfv/Imw5ep/RSYthym+1gEjTpDPhv3WAmQ/RSmjznXtqsOTlx3VrKNGf2N8WtS0bS5eALZ1ke0g3zg5TKPKYxFqlnvameGxeJUmwldrsMGh5dDQtLAQQcBsR2tn+MSPpxtEHejdx9O8elufDuiLtSTj6r38oFqbEIIeiYEVAYlXE6e20kSH/ILa75u4GsoEF1V7eCqZgQuiZ3Fspz0MP0TJ9TWdH0R2ACv2fd905vh6gXKiSnso7qjcY7+VgeQKXUx4moes5HcS58k0FwQNI7ALBO/GRHkBcxj0/wpw28oHwWvnmIsReDwlYb+e5azjG34A41gsWvz4GqTTmum5h2A53en8iyfzHTCcsxTpn/plFeIt5zeCngWlZZ2ndIEKQl11B8Y2ICHG4z7Q1367pPsybo/0p3h0qSA8TvEsEbps3l791qa4y8FS7WrACVZQXsOLAc28ymWkzjZx17W5xCSCK+mIN1r8iA/G1wbzzEjg/OJqGDDb0VP3gvN37/eDS4+2SERxIti2ghy0XoXGtzEBlyLyJoRAnD3X+pG2bYGqdxxTcD7CnP3UCss5FpRwykkFqaXTKi95AG8EK8vGJyqgvMcWnMMn9Y/dUAUo5Z7wBXJOW7JOhgiwYckC0EZ0IjjMSAWMIVrgeXu5zOMQDcbIG6XxZM/qtSHPNrsQzm7it26j6feE4BS+HdEkVF84xpsWgBEZaPRyBUZAZAQHdZt368ZLJaoFUygJZqYiUJyTPKaUPit3wzQbzngfw0cOsd0ted11DyuGKg3cQZqjb2GGHXcz8Uqa94wBQXU4N2S+v3Si1vfPkU5N7qd4yW5GZiAzncefEgNhasPTRcUgTXjFmpAtICNY970Zy6Z/j+k6PTbOwwO3uHa+hBzFIHiWd2qfPqUPXWHJ73xT9Qm3gKCrxlP5uqUsHARMCrmcQbc4evdxWP/MGu/y5gj56aOlBmyGamQvpNS0OyfrGTgV1ijH0Tp0fAHQPZigNTJ7p5uN0kVXWD2BIOa6zCF6ioxzjhs7Np0e+HjJ9qz9wZ6YUbxx8cLJFxsx4QHJIaT6Dvb9e9Hz/ytyoiV9KSxYQsxpMfC+FIjcMupCKK1IzSvs5jH38XEGIgSpN/t8YGuHn6LMv3TzTIT82iDFgfAhs4fF3LuJxyr+qkPiB9BfOSL+cWmijf6CxxfD43g4W3kSuPsUt1/+7THuGlGDVk8bPbIapY186ToYih9bEwd7zulQrbsQum504KIJiHVztuG7zMpkwoasfRNYPF8J1TVxMUPFvMpJ+jCxxlBQ7Z+qux2Zwiiy+csu3fzAExh95qdyQmNYUTJYqkH9kSX83wOu5sbkLMNpK4tIt68IrzmAxBfAraXP/FzdbvitJMog4jJQjRqqLUJecnBlGpAkgpddVA0CPUPnJX20jecvF471NKbZq15wrtS4+JWvXOeystzGRqtwML80zek91ITKa8vO/a55uKn5wccC6BRfTu7ftAGRLRtNyS5dUWyolXmxozzkgwo3WCZQa82pU5kuPt/9HbZ7VTP2uxIvrC2bCeyvZ8N7sk6BP46rXZubhBfehNF30zONdyy1bwxHXJoPSpCACzn/bf3oyadSjKMwjAiu3XfKQz/tNUZEbfIGvv02gVOb3BGH1zKBDO79Ww4C4AuQUyIqsb1xgYbt665Y5Ie/k4Iz1xARkajiydUcHb3bg40fB76JL7ipXeuVlpVwgEoUAKFurp7/YbnhcSMhlx7zR2xqU9Hz/ND2DWpBhIeInHde8O9TVYIltxo+H7O5vIlZSHJnznAeQnXg+1MNTHA1kK9Xmnrf6ADGk8ppk/w/tyUBWAepZZJFuOjwCryNNRQLPBvmLdLVVQ4BhQAqBpmCYQx6kPtpIn2vH7c0iAWmg9/f0pTFpM6sc1XycvRxWt4xfCGwgnimt3NndyPC7bqBa45Fx01v6csNHcImJdUeEydQsgoFU41VOdkXUTbRyDv1vC6i4ikhyzVLU4bbwmVrCLvc1WzAWGeFd2ZSdmiMuCv7GSMKwY/0GvHb2PQ4oyjvbcqiJEjOZgCUP97MtioGur8sjBlFghDFwKbG+lRTXY7r6W3senr3J4NdA9dSEF9+H6VeXhSxwxXCOYa+hQiowWb8SwJaDypv752a8g46w0rDC7Fc4wA04GBH0oyXDNJsJL04YGJdgSyzxagdptPNaWCSFX1CQM/HorEbBPHri634P7BNDBCw3dg3uoveMRBsBCnYXj+TyGeIYvXt2aIHUyh5Jo55R01ZO6vAEYeOG3z0xyuhK3t0TFDhwK2rcnAe0HclYBuDY8n5IoS93eYZahF5IN67SfuV8weGtCsacbX8Iu56SXarEwBeIagz7mir8rlWnGWUvl+3oNz05pzJg/DmkWKfHdsWSfV8hsp2PY2ExlEy7VrqI42gWetF1svNQEWccPgrvjNs1fALDKAPIdAzq57AzI0WNXM3nnKQ6UXw/dYQ3SniM2VRrleTneaPLnxBoJQBkwvZqeYPPLzrmkXh+r/viO/Kd5sRuWg8CuaO6Th2JsIuFzPjgKo7In5WtgSwNMK05u586rl9Xt5T39Vg0ofBR5vxOB4SrLYKj3zLJQlVT7eSvVk/juakf68FyhIs8h8Dyu9FND9Do7R3v25ERL9ne0zbJEtT/OScj0jcUXUJxhv+0SGXVa31VBBooiqnrAeZlCWnoLthojgOpfbArIDke/eAkHdM64lYXmhnR5a2/jgRSEC6xS7wZoQy2v3Y6CJAqpSRfGYz80GL+lTFIiPWhJFZ9cFZ5hN4lR1DnggyNqEG7/QQc4hW95LJ+qcAhISE6Hsi9Mm25grJJk4agizo58n9m1BYM8OEc0M2UNcbeDSl3bo3QIiaiRzXLGqgZZJpIMSubA9zhfSTM3iUb4IOcel/n0xZ44+nn264e4mNHsfGNMX693oTRFjIpytB71+EdMD8hXYa2JwbT6YhhmngoR8wzvWlAj44gyYnNgGnDQzDQIydT8JKFvyotHeR7pErmbyZv0r2c11LJy9F5CyWSZW75Eccdqjmw4hQU48F8dKtBEAHP6nskZReJtzCLV+3tl9DdRxi56oUoazgtTQ3udg4nLR5G+erFZo9LMEtc+QBs1Ti0mPaoYWe5Cf4FIyEGHYS+aCQCBh9ciE2mjdThyS0jJ0VckP831TWFveLMl+iHDroK/4l8mKfOMtbdU8B4+gJBURZytFJ7w2VaJIVg/ee4MSrV0DY3SjEgJLe4yqFftGivQJ2aGb7rfvnlHMnic3oDICNmmVFG3kG/OlgvmADIBZk+pmSJvWnbxOsjkEuTUIL4lFrzJiASno3Emak4du0uNF1SJqSewZNVMxJ5/glXgS2zzoRm3XSKo6NsrgE66yAW8BX28bsHB5IVa1JG5lL89q4rTzbS6LyhhlE8V3DtF4gG+0fi+V1ZvQSMVyjX3l4qvOvG/TvjdRE9gq0gX20/+FZx+Y4EILyfVna177up8kZV84eHfS6c843GYqoWx4phz0X7T0b7anMZVovv2ov26Nv3rSKFQHkMJ+FlpeCuLcHTgIIq5EG43WPQduI6A7yxbEZKcnLAdpj/5Awhuyp9p66ClLIngpBX2IQ4FcJcNK6VUxeM5fFzzKXJFgzIrN/Yrlv3wR5a8iQupHOcmd5RKOr+DJS8H8H1TwUF0WUOZXePK8iWZf2i/ejiXbugzEOrjlqmCkPS1mgaEybYTgGL581ws5PjVNfUXPDVwufO2/WoFyEeZ2GpCBxIrABKy6XKPfJhOkd9wtOtr5B0PPp8iDX6ZZEb/5+uHxgIGsxTJihRj6DwrYIlJNzipq0ZN9fxnLJzaYIBcHOlwCaIB/lMU6U40u7KYaDaDmpS7ipRibkHz1etxAEIkVHmUmcOK0fc8a5qEPeXWibNEu7Lm3z6V1ZaRhpp0V/2WyyqXl7TCNgPWyikl5Bsfj0o5RAE5yciv/Dp1u7qm+M/gkgdBjJ3QySqJvrhrGuoxGW4pvDQCfFPypG3bzifLBQId1MMnPsSe2WmOZ//+VtyYEp3TUCbMHl/lhcUq6Pj/bIex7RGvI1T4V2v5zFfkxLjMrGp9hZtfKiXM+r+JZLxy0efxhpC4qBpMi8t3MV7LfynZ4PsFP9U3SX8JhHYMc+MGjZ9sj53Z2zjZdDbZTGQRXXaPQGqTWh39SFrE8FmMhn06U0xFWJr8d3vvgz7+6jIUI/IqaNoRKeOJpzV/577YdAtkvSQqx0oAAgZ1NAab71rNof/Ydi5IACaZmiE5wbXXHDilyespiieDh7yNJKdOHb96W8Mkup6FJo7QAp0flfxL/MCPKsa7lYZIvzhDVi3AYJnlcpuw2KW5L9VkAJzhkrsZjwmh165J+QB7q+Khfl6el+ye9jyHnphfhllRTTudg4fxvfs+XQppt99BUJMW0U1+TizTC54ErIkwNNlZ4+t9FV2RnIuK6nKg91EsS/6xz0F5/CQFAFCn+xF16XPwa3NjWPdR69wMBM/jLF0wHUlBmgArr5+Aaa5qdeSrRWFCmYUWbD95JkGU/Sw7Li01f1Za8x6EuV+sK0g3GBCugtP4sNlotbf7JHw2uwBrglnuGRaNXSJ+T9T5PTbuicdSJcn9oJ/TTzPuwN1ONGfQtJ8X3ieTEWCxmwRMtEH9pg6F+4b12PgNabWE5yOKrhAUiX71xN/jvR48mab7L1PwvndXDNJgr3LCWgDkkZT1rgOBPBNMEG9W2NkaiZCZMLiFewFssO5Dkv8Ebz4kfgClrK6S8NCWzg9wNvtdShEewOqHTg79J7mfOc2Y98cwo3SJjBVCSHVyiett1b+9DdgnxInOr7viNG7LxtPEsZjI9JW892kcnWm3/YrO5LnEpEUX8Vj1UMxGrCUDLAdUGWNXPgPCbXVyGCOzUwRvWjDTgaKASPd+u0eTkTfSX1JMt+5pEU66Ndt4xNJDTEa2CssJe2H241cacnf36+AheK+tAaAZSRn8l0vNC9cPR5pVwaJ2PaucsYqpJFcRN9TxwnptY70chR+0caO7idDvGuVBiLfuzwpUOJ4jNdM0QW5LWUau8dZvbheuAkJI1bRGLXNAXZg1mK57E+fEqHh3Hjw3oWNgV35RKvQKmk5U+1B1tpXCNEMaAHUpydrYSw1qSS3Lps2Thoit6RaWvLdNC4iCWCFB8y31WE0IQOJZcLj7vMXSOYvXNYcB7+LNU5zbdEQXbiBWlwpaWG8U3gVIr19C1qt4FvdkLGFVHtgqN89egywoExO6Zk2M7Vgq4fRuACY8Ke1p0PH7D0/R0yIaR0Mq4WN4GMQcsEzH7LHzyEmuUMjVt16iFu65z3tcAXV/5UOpvpUyivnyA+VWn+2/rhMHmAvFg6KRSwE9ZB6VxPIkkssAXt+C+d+ryRcsCvBgpqxQxgce5tqz6xbL8FW54nFTfSwrzmxWppcmuMxAKU2m6Xr5d35EfXPavD1Ffzrw9stWaHrtT7HIhyS0RUrX/3iWvGbF56F7Hg2iuCb6RIpzb639JdeIOBxetpfuNszppJXBIpkJWAzNzfHYJg8c2WShuCcoLJvCoWkRh2JgxPpZA6rjpJyG1Ys6DbvL3d82+6Tfpg2xXBKoqO9wv+wyDAdgNOOPWmI7yCltQz0QCrwpJUQSlnvkAZ9/FjUdbAIFeBzEVTNABZjxH4FTRXVJfoXk8T87jJe56opF0LSpmNFclH0mxJzP8/wJPSt2ccrUC1ar9dRYZBG3xLU1qAWJYNS5liiYzcCyx/D9jwUWZo1k2RKiT/QxguOIchEbDrV1SD7rIzS7je40zgdNnot2vbBpf5VTATZdyhCs+aoSdwP5xFcfcMKD+eqR5B3H27hKx97osP+dZKSfFAwGbFZtY9zXW3hmvLmrYitkP99e+WJreW02WDSnQg9FtwTXrbWvrIi1KwE/js2CbmkXRk+kZput9d/pk3/zgVrFDYTqpr7PVLA8d4EdLdIXrJ5PFfi0qfrBFgDLw760F2Jfx8NPwVHiqyMDPEnOvrAlC9mi6ahLS80ZNLLIslLxfwF61Gfe8lOTy48kF3/ouSHungueD+i+ms38pbDmCIo/k+b9BFFY4dA0435MqM7IWFfJx83hyQ/qJiyh4FDee1e9kvmwFbyLcklOtPduLaRypLbwXstOYPh5mYtBJGh8VgTxtucggtVosYM9XFkWi8coYqzxMoblDwsf7brE8XI72sMX8EHIx5tPy3k0koFYQg67I8KhStNxBRANxGw6jv4rR7a4k9ExUxm41TN0gB3u5r3tOykW9vw8X7MHN4EY+F1ExOJnltatT6yK7o6bwH8apGJryN9EhkDntji6XsrvEQ8FiQ4Xul4tKqL7kXIgegnL1UJTSJ1ycFTP/J4gAuzwaXLDwURUCn3J3AwTIkbtoplkgbnkom+pwjrn2zJzLcR7/Zro6SXwz6AXAx+8uIwBjVQS5FKvjJRZOlsMeu9Ld1sN6zBDor4hKVa1HAfdto7KXPpgwSaY2n7tNHe630P0XlDQnEtLyyT/qnfGto2AYKNJuBe0Rmnv1rCZh4ZsHYlaobiw87gVEQuzSKcs3jGNCClyI1peFIjEzyuwgwAOVdfitUzH4YTamQ0ZAWjsju6crXixOeHNwFqrjljSWceHygbex8tCkPW4l+ZEGepXf3yP9+fALn53gvR0urP0lMebKYQSPcR33Lj8UspWO4gRrF7Y6kV5FX8RLBy+9BuaZKjeVQ4zXe6VatJ+6uFzHPTt/87PJDayvMEvXVCXznMo1EI5bOjAoj0XhN3+pmLwMQYpmS34GFYa8kZ+la9D9toy6FMXookI6q1kzK5bG1JDaKiFjw0L2QT0kZWdPQb/gWuK97l7WT96SrvohDi4o10ztTUnjCKxcKvXTqDmh5KyOg5gQQgqtOYY9ugA8am3GTk2xMphV1RSEFMeHg7xrARVJOfXY1BaRAPqREp7W7sK47H+V59PGl6IXyKzxWHqo2rnCZmkzo2f3ukcE76NLyaGpwhQRd87gS1DeIsTerhbXZ0A/yYFyFTXuLF6/NadJatrk5nzDY/U2o5BL6ebrInAaucINdM0OnBR6Icfzlll109ETexx+5jbRrcRSM/AI+6J4DIjlkWcvZo3W7hYaEQKtqAKgsp3UInZaiQ3adPZgS3hgu04GNRlRmgpz+NXUQajM4NkMg4nPHRCfU7fBKqFqK4i8KnNwyn8UxrPhCU/IQ6/7nXGiEV33wZA/BDib9AVP1aWBT6IBpUCWatF8IcSAb+hQvLexSZ/UoLffy7E+G+k8ywoSTJHQzao3lymveUudGJah3xRpXmLOuAP0xQngGbcCzz8OeNzv4yxgN9TEPJEnn6yD+DPoTTBXhiKoRtg1gpuX6mh7SgOSm24C1lUHjcZqrnOiEfPqkjJ+Ybk45+XSaQo2uw2cpMzj/tYIgGWe98LiAAhFb+cAIze3aTnmOj5PbuWhBO0KZB5qqP3ijzpSxe49evr42DkV75JkGLMvJ7vEw/n/TJ9VePxry11RkhWx+OQpkIjQLXc0GDU+VEQY7xg9ufZieujzRMtjDy47xkUg83CT+Na9gYdoqOp9LA0umz1Zmp/jM71yTKh0nplzbW+F6ucgLT68C3qZ9kCdW/J2b7cPSM7G1+GFwfSYKAXrDIQYPoP9R438a+Jk1Zk/EHHKwiS0IeNu2EClV/zFHJfnp+dok/tFmclSmyW5QVMBRBahgSLYXkMs6/LworDF5EwAoMRS8n+A4F687+xDVTZudTINDX55RplmIf9OIcEX31U3GvJtEAfmnDYej90mH/ehC+Pqdx8p6ot8ru1SnvdpQPd8sLer8V/A/Q0en8FjTxH15JBYf+voF1uQjeHMcO1gvfMGl9GOt53/od5252EFWEb8HsD5cAM3jA1wgdloxTU2lzf7ZMr7uDKvLzJB+RnP5wqk/NJy7y4tkvBQdJneK5LtnWE0fFQlTYlswWfC8kQWul9ISaCqoUZvrGUdgvJNLqFvjBCX/BdEv3gP01f+GIOKGXwy4PdR9doU90+q2X+hBhXcm7+2bsiVc1UeiiWf9FHrW8KfRn71fhzAHcbsIQXXbjBAL39Dw8h9Zrx5l2CD3qlYn+DABjlJNZLSsmNz2fREhSfxx/L8hRB0F8oqLj606iNAimcYhNpwysRo1jCQQXmP5c2Ny09CVu7M7UL9zEaHjW26RXTdczfezpX8wePs3SPEMxqGIqtkSYDjrhDWW8YAWzbbONIYTlB1JfjjzXoKRWle3YHH8uYiSjY1+q3bIi+lcNbNJRWHWmQEFhgKGfZiIjhNoXTLohhWXhp+e84b1NcAb+1NoPhKdhskAIe/UHGXyrlm0hdKPIZOKA1H2cfbHSyhGcjxvtCJq83nZc57fl1fSYF9QT/tlG/DJp6hH+FfrIA9GeE939RkCi4t5w3lI0CGNxtOtazxzQ9KjygmAx1MbFymWATtOwVA+36lCMH7U4JijwlvyQ110DHULpFalrFsur0bs2/qkypQVlSQ3zijevbFajOopXGl8lGHTywi2+r7YPE/+4mx7RWxGNe+vJzGPUu88aFC/+vWnE8jyTYzpcSdrYggjdtlBvjSWmOj1QFtJtNhGDtKoRKuPCagRaZiWbzTlVoFUVm6b5HYyBFH6SzL14gicY1OYmWRciBZ0nQXpk2SmRJC7mEOWlmYrDWAZCnv7YHwoioAnfi1uyWu8qDorS5C8lSextOJwYT52U5cip3LHkpeJhYKLVRLGj0O6KpIyEPzQjpziio1QmWbzNZcGYx5j2+As/PIVAJQum6SLXZ8ARys8hrRfvUFwk+Oh/4AsKeujjCzDU0DDOwo4ckYmyZHWZ4btUsSCQDA6Vn09QHkthAqHKm4Vxg9OytbOwOHwDxtHFGwBDiawnkO+9U2O7a59L0tQqNdghrlZFFOAbZKgMWPEArGQgICdF8ryNCuLnJnUqz5hNZweysH74aG4hoNERzDvvJ+euKBQdWqEKZ/pLcFoC+FYLZvNbfpCtWb6F1ZWMqtag2HhJzV6oFEPG/Mr7M6bLAMzq9tvec7noOSrzfnmJhkeGvNezV0+xE2/0fJNm0zMFb37WfrTKjN5TAw/aq7HIJvDNBBmocYG6SrSjFNbX4xxhrMNi4IPDRVpmjFgMaIFlEfS21NhNrf4mhme0Y6LVjSCI7JIzFWAXCB9qHXKj6a6BfPfN/VD9CTK7ICWoAlSvAuF6OaHrRD8nTSS55unNFEFqaCAXFRBStrzWCGk3wKLepMHyB1MgT+NpB7oEebuZMGqX/q1IegDInCIDXbYUtBrfeM2Zg91ZN+b3eginHopWhTYyQ+Bcs/n6qu+Q6AIdBaegpSy+MhtmAl00PF+pScmkJo+Y05Iv3jf8NluMpSvUhVjqLc0ZyHVlSB4QtTv5cFVW/mWkmAEYmy++Q9boymjpCcuM4ohhCAx0FEpfViF4dJYuUMXASUjTsCuQnz98OBS156KJOGmMU7TDVRhWa70QfWWv/1wqIZORkiiK3ZNTZn6dItfequvu4fU8qEyre59tjDdXL5jSUF3fZxEEyEEwRLS6BGsHs8N4R7eXYbC2x67nPrsA4wVSNwBwqTJbK0fksxasvUgoW2ax11mxymsG7r10PefZz9XjVPKhU6nSjVvQgS1oxJIJSD/IiwpVlY1aFVdt0STo+su7hQSIvbcxwYrkVGBvIU1vHdGaHC78umafhiHlL/HBQUbTNshY+d+1+DSaOwnHmZqw9I1Y6Z2YUpEMS3LWOUKyXC800JxIcCcTnqqp+9vV0FQYwFiC939BgQCp8Xx5nQPYgdrjAmeiOMoyRFu1vXeXXH0VUuZr5YKk8Quu6nGvxMgMsi19+XbR1aULom6OoY+8JoI9/gOXMLG9gq7r5kv/KRYtC2QlP+2j5TWnWLkZexr2T5Tv3V2VmziQIbxNFSAcXg3o9HrPTR3teuqwMR7gklHe2TWzrQkruvYhlVrYVdVoesx3hFHxaU3cOcDkyT3ZHKMV85qo4i9ju2fLErHMRIny9bx51ViOzpCzJ5CbzrJx3cPXnhdjtp+DN6RtD0ASJp56lYYarFKR2n4AWwJ3QXUNyKmPcQvLp9n8OuifuJc3CyKvW5bRZ0D60yOi3bdrv+ehblF7hot9phTrIy68F+i7aQMIPNufpMnXcg+ygVxpYr1z2u2Vk2xbTln1cpI4An7y8V0ncM9NCcMMjP2BB6RdNR0vQcxk+DtQaUZB5yhKumNEjWTcK6ryFwroA66xwovXnQxEyk8Nws9FO3CTL+HhS8OIzibx8iff7iQoGpGSsOY7kYkr061BbxhqVtxnboXFum4ubjudgnRXLHFmCG7GcthXK4ME8nqk0E/C08VKSDBopXEBptrkD4WR6bJSZUXmt/IDGIoElwms81+HPQFCJMRz5IGNdmR980wI8Bea95c8EWNLxtfqkz//z7w6frpzEdya4nKZ/dUHrbsGTRamBSiCoym+yByHrxhlTRkYd4Yk/nydTssNTc7eIx88uQQgrzUH9xNkiwLR55vaavu89thrLkTFZsGm9W4mi6/3mXzmhF3GgW7v/5idIob1vXqIwg99U9yWBPk/dnJYo+rjy7CgW4pf/0nvaxc1tJvxgu6UFJa/zcR0fKSRN6+7IFDYiVldme8nncny+2hc3qUj0r9K/70QopE7gjXIgGTgJWzLYt2ray6hqS5yCVaQqEukkwE4yduk+wnLzenvAbVzcbnBy28SsEgkMpafcALwMCHt6ZbgR8TU5VmMmb/QlPLAU39TcjQzSdbCV2pEgXrtn1FisB/OoE2K6cN5kHLrUveT0QP9TabJ4amf9NWyPZqgSqJnDxmSwigrLTessfDFd4pjMocgJ6jQPoWXgc6TF3IbIGsMeZo3k+GEXR5O25lJTWJPc+AlVPY073IJSBD+S7qixKKt/cKA8wA/gZDZyZCl7dFMZafsUSq/FxPXXHLrllUPP4sMbSuPxdj305vXaTYL+RV32R8V+f98SuGiJbTliLCkQJbtVoptWPc+ifz74olCGzzPb4MZdXaVv1sNAUVfLDsjqvU8HHRuMD3AgHzMADe/hUYemy6Xo5PqQsFm/S1QuQYMj9xKfulyvzAr2R5gd55coxKcDR4tJahmbW6F3WF+10jNHGWBYDNoQFaGV4Xsk8HdKiwmjm/JTQBYwFL+puz7+lT0kDd0bI+TFwsyGo2ixMhij4+eRX0OIYaHmyDuiXbj0u6DGg77+MTZuYHHWW0kIuxUpQsNroIkZ238YA0kwp2xjctfwq9O8SnZ6aKN0xfNK7cS1X5YHD6MQxbTAwUji54RACr1N16AO2+wQmxYfOQGDUq/Zd2T1Bh+the0FdZvbQ2gGf/GmXkgeyZb9pCgnwNiLA8CARg9vRXguLP2eg7EaMOWtP/pGn/JldE4iidtFgGlbpr6AsmjGvrfF6pJDZr4TxdoSYzUqufmxYRifePG6uDL4BZ6Ig8ht7hhOXQOEqd/V+tnzhvR3qnhhzBf5UkICkBpoOHQ1nRnIC2kCARtMJC40MaK0hyFd8JYVeS7qOPASNRFnyFIhLSOVTLcN40rNzU7p4Xi3ayCKvrWKIJMV/bjRHR7J3cZmNiNxQuSMiBLOH659nl7enj3/fPlLXCoeGDvpqtzvPka24yrZqp2iAkpotVKfl+EBGAh+kt7XujAHhcswZFsOdZ+0y5ICH7SqOKW+satu0VCRECbmQRSnIu/ywlZitatv7I1K40AXwwqD1sOpEuj0hii68SqOB3RG+LIbaS0FrGanStYePwCgxRbSVFTehM7tOiZNiN4E06AVgJkXM1qBFUna3KLjOrEVIQRfwh3m/RMS7rcNDZq9w5VzAsFzm3A5YgOP5y0DqykN97dowQq9NjDfNPqWBOGDsdIXbEqgCMgWhThxFNhO/EjsksK9/ieq8mVP8JXxSFFr1sDxIDNpjyz4p6aJG5mkqQh8IrCcqV1sVbvwbMpBwu7yanOf1slUbjfuxFpoITJ1DLz2cI/ddV2xLigsbf0h9BECE8w6Kz4W8vwquiSbob7F49TpwDC9nIahrePB7MRsLJHRrjCFXg9kYtNPkrWUnFZHlh6hovEghFXcuDR99WV7f5o4rXx4MZU5iGMZQq6vSPRSyi+NTWgIPz5+q61C5Ne6hD96h9Tu13VfkZmRrG+KEePxuXaWCp9ClgP/MdofoorHPM6bbs0ym/JSS/ajQMoSTttA3ZfXFF9OcVjLfZR/gAvI+qbX9jHHqy+Tf8LGX4O99t0246qAxfeZ36YX6Ymb9V5N/wE+meUekVozTHk+tBXbrLcnKYWlKCbIiCeBBf1kI5aRKuAXuKEAti1gylIxDK35qJHMp00k3mtVgarlJGgggFAEW8uy1ICwM7wDCi91sxG1Y6hU13t7qgCZlrKczYoswriMOrDbYr+eV+eoDF5MzB8EtN7RTjE6Q/PtX+cDW1XNoIzVlSYnxVl5D/ZBGqUwKbUwyjLjRHH4ITFbkITXL0XN9u+NCIrbxSxskhGHUgLuSFQoVi7Dd2w3zVohezVBtRFeKI4gyNHq8+RotrssMAgoDGuUCjRBEzUaLFoii8fbkmxz4ksuCq06R7Tya54kniDux8mGTTgwb4Gex3N5BxR4X1yDifwY3DNrSjCJezBe4koCkLeC63KWiW+tio8855w+A4T38hQdvzVHOGMnn9u5v4mL9BNwQN01nb576zm5Qulx/3sqKP1iV/TCmo67ozd6NmGWyb99ac3rOOEFLYCgmOqENBc3RCbn7Owg+Z7uSk8iaQBzFwRNeZ145wTD6PtOg4xk/UvfEwQ34DE+lVDSCYYvzSaIhn3WFlKiqj7h1wRZHD1iyaafprYlobbuKIT0GsBehaEt8LUbGzL998NkVFecfLZ8rq/sr9Qs1aowdge7CrreqLFdbkxBnBdii7i2Kl28dYF6nLQyV1VcWEddOrw9icyFX7QyH5F7nADo0eefI6fmVYf5YnEI0FRHrsscEI7SVdIrunjy3LUNQ6NfzGZHYxfJdIie5IWKuqs2XxUwIVSu/DoB6VN01aqhRC0LdaGvN+3SsZD4oqwCC9T9aShqvmWEzyRLBlxDoN1mkKD6Z+7GS+2cQfDK0r9fNFm5eK2kX82CKSn6M609tqhf+MPlCp+DCzQe+WdM86dUF2sWjFIntIw25kiAj6TzvqiHueJ8AzkY8t6SzZyJMjskqY6oDOTRIWIBDnlT70RkDcMzLmDbnMdfgthwQLNit9/uDaBCGhJPLYOTul4XwGE5AMet3hFwyQlCqjyOw44X7Z26obmolx2GwSJ2ac1Hvoj9QB1ZGarf8YEnkmnFs7/HadFSAC37wwlPwyJof5dh3dkyxxSV7wlYZW96E2wodltmrxLbcPO9vuI4h88EUnBD7diIAgV1rQj8zGBQRBJLmY0xnZJOQB4hP5ze8K7IwqGAVqxxUcKtnE+k/vq8fqBvxn3cIHAtOTGm+J1hZJj08aN5PQTb78xTAgG2fq4K4vCwKpj9bGJ3Lj/tfVY+6nzzSgtnNgg24f0u0bM8VcDxFBYuwA1L4Q7M0SDHle854O1eeUANk7MEYkaIx5gvOl3ZAQi1kRKEfvFiDxd4h5uoyQA+PcLM1+uZ5Zn5BXx8aeWKzFlgThW1ya5/YFIh19k2tpNcE9jrHqDRUH97+isC1KdL6f+LYGMnPklVVV4fVYEmBsZK6UojqM4nWkDX00Vir/80D/yQb/LYtGZoRsXcNgPrZjyBCp5jCHP2sgjB4gZPcDBn9OUCt2Q5xrIbOMpLX5zup6qN/qvvQEaTNzgUCG1Mas5lvvRePXCzkpovR+9s6+uyCxArUTf7XkhsMi9ztqEg2A5h2XnwUeHgvoCuuN4YmhobeLtNE+LYum+huUBfIDTkNW0xfg6BhbpaFwHR05a7S7KXY8hOMeIx11TBmcq2plYoISMT4xKeEby9gIlh+8LrjMde2DCOwy/vpNEdEiLWA+pTP3Fm7mVtnO7sKp4ftTkLteihwCNgCA5RXov6SFGXtcfM2YGrXqo3EgPy7BQR7tiQLydXoOKUdnTwQru96iSPgaB+IHiMoiJw45q2m8d1EqgIvLAfIzJ6gjaJ/fxrTJbCobwP1k4VS4pwQ9IS9+KAwQnXWYlYUSjnl+K1vGXT6gi72xXgUrWT1bFy6PBGcfpIlDpq7ONzPrxJK1c6Nl5QZdWHtX+XCndcyGcFVSc8cVdStTJZ7fyoxdJkImRKNUW6rnhId0gxIDvnQDysRxw/3xScNFwHpfKxtL24Cdqnv1mxUYtzL7E9fVYq4k8E7ll7//no1smHeiLpX9lL/XDEk/LmP8mrVxjv8qvRp9zhhnZrVmabKQbVgGX+Sfm4c2UjEhJ8KT+07ffqm5rGlAxDhfcSdBibsBVze13y0gjD8GguCI8q+DSlPNg5holPzjWqaSHbjpWOxtCWMPamvcm/WBmNm1jSKf4VmwmCpx586EIk0s9ckrnSTgdHruf56JfoTZXcuK5WfQ6zqxCWiwwP+sHAxgjn300tXwl3kk7ZLFFnVle6mx6C5pCSW0xs+g8PCY51Kse8PvMPx007oN5ZU81EvQs7g/2TzhUDA8Owxk01GU6efC9O8iI610OtFetIbecbssFSicGjD6gB/KYOoSVR8/Rf7c3uWOoAbV0oUALkCf8MKVasxG+iHmu51q1szexncLLcmafno9DQH9QSIf+roTZnH1Mail+6B2ncWA1UeImkPzRR4++g522motF4BV+2gaRilMiLPX83yzZu3ZUUASR2fWkoH9L1rvaaQl/6FhYLmUmp1XsQK1GOZkMUSf5huModJPu3TUzwJq49IlqAtINPdqkSyGvgiYqgDIy9EdWM5g8shlkrOUwMtAo3NO3IBrXKo63hyX+dGGSERRBuwpfu5nAvbmS010oKqBi2Nn2LNqIZFEmr5rQrq2DchzYvYvHtFczQCB/8krSq/3jX5VRuKGV9XiaGYDa3FlTr5awGzBfmI75dZjPTDURrqnM97rSkR7eKEjwFWQ1NhIVNhivRywGsLlGdWKho9Mjbp3ST/U4BVYnGOe/oh4tNN2A1ubgIX05tKFAczwVNetPIeMyT7BUjWmK9fPu0uY1r8meE7cVytjckvCbYd7ObFrLm9K7YQ4GNwitydW2LjdFR3GJtVNpRVUhAF13b+y5GIxGhVssqIHCANplAHSVK0ZKgsSxsq2+zCLwU+ycn9MhTbC40C0WFCK9NAdtlttgNx5Bk6q6Amixs7mjrq0R7Zx8EoEWJcQIbiq3AshdRNh4jY487tuyutmHuxNYncc7V9X6JwocHbooRP00I5A0Kfvb19YqRwMqMtG6dQTlN/f2YVKCvUzh/WSWaeXgfMmEmFTpz3pUYnxjXt7O6Rtao0PLzEsxR3omERnPJ/A7EQrrqfJoF3m/BmPDLUUXI9FRwYari8xhytrfzWUfGALsZtRDH8ApyVgHTmC160SIBVJLBs+xTz1y8uN3u2qFrAbz/D3cfdArKexlRyBIu3NY3vNBYmTOrQ8E8oF7SJg3ofYxuopo4y7NVNtYk7GHHLYuBGKYaTQspmIjzYNga8+TbCgRpb2iv5F1GF72Ww26d2J4ACRYkInuF0boZmuheWbfiy3S//c+Dhjte7txN0Kytj/WXybsOqwzbYVYooCK7Q5kOZnyPMj30wsCrNPuREGowD8uQgdiVe8BS/ZYm9BNkgLa79c7ElfQTwCKNtxKMqCIT40SOmrU0oC1gB86AcTiArgW4LZ0gy+X4cfxb0K2MRIz2G7RVh2ynRN6otr9WlECrDHvBKBjR4usZs132T3/09jbB51vEInZvdDtZXw70t2QIiwrN+vBx+pdFvUBFM3orNxQcG4KTg/0ctJk+cY20QNmCcE0mMC3Geg0FLos+gyazW+OCWMvvWysZfOAZbk054KUu7Gyjjs3sKUHUKzDTTdy2TmFMi7mNTP4ikZQpIrVGThvu/ajfw4EI5RnyIWZOadCN1sATdLixY3O+fxSfWNSHiORb51w94oY4s3v5sjZ+khT9Z0458+boOtiY/McsOOoX0DkVKZVw1iUTlq/XwP34yPoDJyVgTJFISZBeSzD5O0A4oc3haCWmoUX0E/1qIUgQ6w/QdKTuzG9tHYPjjeGrJCyHDpunPhxc93G3np529Yrs09zyYiHRhz0P5/7ZtSWaGN/TS6vtQC6LObtrl3x+LNfQyZnBlY8+szrrLrM7JggvGLSEq3hSQOM20GB3QJpQJpv7ouTeXaJOXsj/fszMueCnknq6pPidMa5sW/CVrepg/N9YjljX/3sj2JnsMa4nA2iBbpiz7JhwIHfqAPcK2sZakwTTypFFdY620Czkw/qnaKqFXWjWLtGDzwFdYehOSCvM7KLHuLnHK1SepnRQa9HdfUZwRGqNpD85b57hklW1zk5Q2Fy+LweMJvlZYrInEw9tJk8h/AF2JhnHxWDpZ9D4JZwqCbnds0aZ19B6ja5JRbmv7qmjpktAIRnArxAmy11ZmOl+NAFW1HxR/c9wn6P3BAiMAntSJfscJsY4f69iN9dmaVQs5jcOVfHcpQY7mKVGfTccjW5bBs3vUS3j/rut+K/wpEB4zijikngE3Vww1a9PH9UBfwPz/BJXR8xaG0HB4r9H6Vx1QvFFRBMgzrB1/er79Huy7MkGWqTHecSzOedcSMBggni2NoyLuGzasLEZYvUnG2ZXtW2Uo0iPC81OVPS+PPp7pSUcnp8RfooRdkL1hu6Q5w3YNoLsxwClDp+um9HoKcIwtg3YnZo7kV6tj9JA/rnJX99dVJc2tFUO3nLoJJbtQo/OC0qpxAa1jjs49bo0uIutIjuxAxZgbXqs9z/O0ff8Ur/SyrPTnRumivefCEgkOqhnzktYwW96mNi3kFXMXdt46NKfoVCXdIoMx7GMi45mwGXju8u8qStNH+9czoqF6eVlGIvJXc18T03sZtg07y+iWKTyv07PV1LJZEWnPKOLmC3NJuAmjBAQeBuvQii9KRh3lQzzAdiQzyhpE29i9P9nI4wHneKchL3y08+lzz+yXLS5kryEuCyj0Twiy7gYEMAZWi2CvMlpkqXjYe3Rqx5UxjIRKKccgWBunBdTVlKzzwGQX3BNeq2ELPYX3NdL9nRfeeKmiEG9meyDKbV9Ann4UAjG8ghWt+1eX2uLCUIwKr3KEabzyDsKmmV7ft2ddTzyxGJxDAA2rnRKL1AtVZuAgNw1kr1XLLPv0I+lIdf+GF1vRK80sabCx6eEWYk3rWKybn8gXkOP+tgBeNChQoWRcC6ALoiPa3aLYplfoajnJfunJ+xsXMY6n+0OUCobNTgp/7Oo2RDr6mqokXJO5vnjJSLCMFgkY7w561MVNixFVYSfeElvkdtpkKh2fnegnhDAWNiVmaNoEhpRg6+GbZmiH300yxdOF0mWxhCQtgvO+2h01RqRo+lvymvz33WNgFYAeHx7HNXrLk5rHeEd+HcWazPLNdEmJcKCrhPC0cDEyvZcQip7TWoK5+myFXd/nzg/atw0DxsxANJq6Zw/Yt928m5dYxw5QX00QK9GElLV1qPqud5S7icFTQ/YjjOZCmeoDAeM8BPqOmDX6DqvxuA5LkttHsxaMwgJ+4G1iKGhQG192oIZjGGsHWMrOtJ9u/f9wwN2bfcrnFKBJaJEUwao0xfBa26Ty2Ca4h3+2kOlZ9j4qy2mEA08izH9wiwcc95o0AcC30cIAuIo44zjrr4k449JD3JCjiVvxyupWainN21VlixiK8pTkywNoWkaQ7/9vFgIzG+GgR/2VwTQ5uvY3gwHE2113us3SZsb1lLhZ9A2ZrCdqYNTtGTsWLEDeP1k3opTd4aF5nIlazNizT10IGqfcx4PKVQC1ByTO32nQqh/02Ls0NImwRfsWGSmpismiKfc5SiWGBzoQABbW2If0EJkPJ3dlJ0l0MgNcUEyHiXunQXQwGKs+cA4iIKLr3sBO+NjfZuDx0yXvCjWT3HPsve9Yfdbs6afQ+PBh+ugIhgTm7/ii5mZfQyEXrXA+cO5xNoyRUc1d6B+9vliaLqixN6ld+EXyB1paK2TgMq5SlteakYM25RlTplHP4QRxpGzeAgQeu/2qRvWOCDt0CEgVBhiJ4lZ7oSvg7YRCQttwqdWzt1jg98R68OWfjCkIcjg48oDWHL+4eMuIf9vWzq9naUVf0Eh8KI8/1yy9h/6QkUu+U7k/BgNnZ9PEOvVJkMip6h9bXCuD2/BV+3MO43IdAywXWKZaEU38ltTJ1oMUkr7l+K0ouQsghN9Y/ZYWMHuMKxWyvDbCLg6VY5TatRmhGcHoSslOD38p9Nhbxx1yJ37eKDYDnt44CzDP/acUGN9OwTop2WWy6wXqN0IHILELTzxag3v8uieJ5tyLKl17OJWExZpPe5+7UT6kFfn946cyqmRQW6Corl8bY0s26rwrZ4Vb4QPOED4tbv7chJ4HezOZWcQGr/UkFqZJTBZR0tyXfPoOv5IHqnNmVisRirLlQwsl9+6Rif/7gswA/nZrgpajBHeFFSOgFns0KwuMNA21EqntOfCJZgI8QlqxDQyl6Oq1197bD+FpHIhADhwnt/X+JJu5UCXThudOsxKpUDHqnOplLzqNZyYktW7wjuZRLSkf16gaoc/rjV2v/e2aIgth0e5pgjsPRx6ITfrUMENINGgAvd5ItRUgJPxHw1H57ViBFQe5LGBnKtzk0zMuZluQmqDjnNKXDwH2eg4A8H7uswbpF650u3l5lQ3cYlS4RuqtjAyli8gr0rqQu7CXcQzUvftSSIix0qODXLXMArttts+xWGTGgla3HcC+xeC258E620xvwUDTWu8GBYr/tGXRQtMrpFgsZRkqLJ5MX5VhhU801kmDv3Njj9r9k4msLVjdgphFI8//UEBFsuc3yMBa7eEEsm8XHodoi+t0x9T/s41zjmJ8j/zCmMLLDHqvWDncYFZekQaYMvPS6YAqP8qxGLIAH4FONHIAuowMmJUD/x2PTKw6WJAyGoYpsy+8RBl0tNTakrWBqKwAVSYxLLUeFfT/u0CYIVoeETT93RU92F5Fz8gi1DvB9zCMLtlMtPszFzlfovyzyVuGKDYjGf2qKoMYHWl8et3CaLQ4RHHBeceQL1674F40VXH28j3RuwmUBgosIYuBAGsJptTcFH91jQNvOAzV0gE53W0GeZqZarkvyb1FIgKmVQKckiZVAGXnMMtQ+h2avbFrNaYq8zSevdoXZFxs/YHC8sVQ5mc4YYvmgv2N/zf7d6aDtcq31gUnrJWgpMAVGimACf1OB9CW+FHM+5F6Zykj5TVUrWKcggs+W/btMU+NTkeYPUpKU5qM4q66//xk0UJZ7cbRvJkXgHG0VgryLsBYH1GIFfGlCHJAQ7Uy3BPxBZyjR8wHb59SUe/v8tpxgmNLsY1rg0aKrFOiJzoR4LEsCHz8DJ82GYkez4TAioJGQzh/ygZLfivG2NWr9qd6aqSKv1nQ06Z7rXXV6J+SzQmYoR5QZkbv3v6GeE3NM6Mldn7gZkKz1d8MS8zRiqBrYLSndAFdrs/aBGi0yO7UURgUOZ+gVv7hzEWFh26P/DMgdUuJNR8aVwQGdC8V6dz0mXdtBItq7cOw2jlZpxrRKuGay58sBcC3rMo+GD5c5g86ROMIOcn+j0i2e7QXFyamBdWwRtXZpUKqlVUqcG3QKEUHqRL5jl473zjJClR0KBT2DCySoqI3SMBYw+fb/6Q0/H/o8I0nlmIWoFF9bv0gFa9KWajX5tVsA8ZFFV81c2zK5sAFRj3L7+dzxKvKJEtE7LuiOeuU4BujOlATG2dkdEIe3o985Vdy2JXzSIM2rcd4LVT7zWXApFf7MPQBwJ4rKg/YVE0fjyEycSR/R2y1yhmG5q94+y//D+KE11xrw3Z6+Dm+VBcrZzgfAOmBgmtyJ6vFDVuoK69Nv5JlOSU86aHRu+0em8Anx2jwDYCtSbyYfG4Tb3bP6HL3PLNrEGjYwYSk/Jsan3ScAkkWDooe0NOhbYtly7PwQWbtKDujsIjyUzF0lVGXBBDoiK+sBbJvwKnKS8GsXTMJ73ARmfoKfHiyGH1B0WLO4k/FQTgeanR9hmWRj1sim566r5znL1NQfcKVOJdGoX3q+KMnxAdRKQ5fNB3dBJTXYl70UlPZIecLztZlQhjC9j3xaPMHJCqhpd9m7y0WiHDXZNYCF1F/e0ihVyS6m1k81V2rQkiB+tygp0T2n7Wt41yLAfn3Qho9uIiqbwaBEDdSdvJcVJOTMMbmC4wNNELBIniujSyLM7CMd+lysGxdk22cbPW8sEiisJ0FBNgplENBooT82jip8cistk85jCIgBw/b7FOUoE40b5fcvMTQ+8oFN860ATFI5281yfiOKV5Rv2MK+vh0IcvOUOZr+6gvzMalFwLKbsZbQ17MeZlBNLBiCd7AMYZxIt1A9mPeLMHcNFSuYQ9C1UaTyqDm0W3MXP8TAUskPWEoJh6lrRpFFxKsyIzgzIr2XzUQyAW1KrUUIN96TeFnLICctVHfrnrPTQxSHgJThzD8bafs4e0VqxNiDARWvfMKSGcRqmYpjO7131tcuIz780vfI9p+0T7EeGiE027hzqvCObxD64hBd2lTtL93yelzlXFNMhInc5x1B4TN21XwLSzcLyXEX9d44jwTv+mSSHN2v0ZAXgO4rFGh+kvblrtspGOKPHLHRnfRd5HTE4jxJZbqsh+mD0QZ/Q8MoW/QC2Ml/1MPTJcUOdewqQ3uWt6quVyqDuUfGCXbnhK5Em+ndbgL0+zG1MDHgraRtYW3h1CX7CJfKIAX1r+IYKAiQKcjAmKI1DYJrzTTfzlTohGxITiHfaZ0UHJhLdSIOBj+cx0RWoE361o2HZBYwgp/EVtFQ5Fa0Ire50D4hCeOtCGsCbpKPv7U27GKhL8RH9Gm6EqYyaOirvXW8hxXmo26XMqGHl672XjTwlWxHOdxFK3ZSMmoAfZ9KwzhE3pAqALZOj6/pNwxktea9fkJKz0MdrNOULm1awlYfRXDW5ZI7nFP+GEGNgBGuufeuxUZfZZoRBJPnRzwKZHs2+vdSE/t931KdQz89JJVLeg/WZCAb/wvlHABvceqEalBiwnLlhU3yW4IbXctJXCCiCamUqzrGBJC3vLRMNctd4VHiYyQWWR6eBTky+ls+djmmpSVwzUW/t3R0vZwbHX22WRJEQkRgwsOm4m1LVI42lqDSOxuTkLI/PAYLNjOOkmrPBcUje6sSbv/F/k2ftfjVLHSTcJohjVBtYQ3qH3IU4Umo+TNddMkBJwBUnLZ8NcttTS9eZ3zmlBwCIjVTmeDa0lQvR6J06BUbQ1ravTasIiT0tlg9oyKhuoSCMiI2TW3LNr6ZCprolprAoNHItDakf5kyfpskFcT1zFFSs64KTRcLF1KJ8yHFfUWk/17wX0x1qk1Uc0Ez7fqaAHUuDf7poRBqzUzsCJbbAMv81jwzOn5vRv+cRIz9a33p4soUaZtCXgWphumOIeOiETeWIjWhyHBNRf2s79s13wsLreyFt4OM937MhdaLS+AcerKOnt+jPMUJXdcNiZO+ia0ubjvmQq8vQzJhpxPsa9NqzisassOHFIZORZT2FQbs+qstx9IhkZ/MaSiezhOleZHkfjecemPckIESevaiZCxsFQTw8Xd7qx81xU7MtREFaHlpQbFn+w3FLRNrvUCTXIRLQ2oPdC0ZH91c5WUq3Kp9akw9UrqRM0YGQ/cS5MqdJXyEWBEccyhaOx9qMO1CaM1ZtG1nPQ8ZPau+TQKU3H4lOGBAx35EGx+MSfaKQiDpNbVHymlthmhgP9dJwnbciSphCZNhCt5ezT4kgtGa2sR6B8JkhEozQf68ciE/fNG9VmiBoeoj8VCGWpTvPvKOZp1/JhJ2zZ51WTeEOVziA2VVGQ16tq9n+MqdyL1arSuh3t529eW3XIEpW6uN1jec8dhbyNRUod40GgpMkoCYUcd8629QoYoOhnCoT9GmcdQbyQXQiD9gyuXZas/OKIgTFjLbeafzDMm0ROfxLXKgMjn2D0TN/DgfCF45IqDToo45Evg77/mb63UoVMFkXM+QF8SQwqayJ/MQdLRlEirkR0egE0R5VZebCVQoxq2TyZPwFyGhezBJcykY+L04V20HKfiqK6QDqhswhLfSnuIYzGvWOxgXw7bYfKfXL9tiZ4G9ZvNjSLgUQoxEybPIQio7d+3kkj+s3WDM0NUpvNA+DO6YSF/syaLb1m3w2JzelpU9sNTsnwM+fiDzB2EC9ZSdpcq4qzLVJjodPxxahvUD2ALPVgpcytwntn/QuiSknn7QRKhU0Tf2hzHMYVLSeXlBreTsrlmoQ7+z60cE3j3EA/NUBELp2cGaQ5To2YetELGvjEruYH6KG2pJTyJi54x6m4M5vOAEInIrUZMNtrv8+cN7zStL/Y/xyDt2NInJh2JoqlFWNSAXmS7P7adofo2e3TdgRH5DQTh453qxdAFr7fY20LwmK+0xcldUk2Z1NuhwzGalM2JyDr+1uRXPz62RhBRJPSub+Nyz/73pvMjC3xAVFSwa2WGlFoilJVoPMwaE4PX6w/8CMKZsKEN5lcok8TQoq3aETNoel62pP9g4IynwFkWtEnzUkjwtBtrXkSuqUYi1Qd4y2gc26EV4OKdnb1kx20ONoVymsv98bgkDFE66ISNBt0PZpZ8DOckg105aeDYWT3BnHrc5lhpeOCEdo113bxImGUqGwPTQ5hDTFWizg8QxGF1CNR0GTNuqnNUfs9gKZABnIq3iX4qJTMUaVf0P8OuaUVIXPZ/VmdnZHPXCGywBZa93B0UF5AJYkPqTJk+cCw9ekQAK1Onv5Z4QpEZuRQBJjYrLMB1w32tTsqSnhq1eQakbShOeFOyXjeiDKlMLyB2fRd3Qu+HM566xHNe8PnLifDBKpdmJxjmf6luINdrbMtiZRpbiXTPjpBLZdUfk5qiyek2WrpbycMZACNXrSzzHtkk94waTotJEiZxLsHgV6iBVyjaTNE5WM1/NmQpKLnT5BiAb0VtI677mT4KNn9xTcNN+n6aPNwXvkXR5qjmVGVKkqFSahJ89d1OB5Gr8XgT4gBJzb77A+J9j6TgXZ6ITyUHTc4BPGQ6rTBkGKvpW/f85w0V3DKLYkKXPgsrjLapV/U9Sj/q4vBsV5yngbugTLR2/JSeHYhAYvkGhKQCTADyTbVw8zT73OOw6NqcqOaPe1tFkRTgjOE/VNJvaXwax97BiUrAUn5/Jpossmon6tW6twmPnwYIJ4j1k4g+YT3oeendDAHguGXDpFBV5KK2YyIHN9QTZS7eZnS2Ni9RAK/K74SUDszBSQ0Pjx0+tVx/4z3QL0LXiWc2XZuBYoOjjv0HS5UJ6J1MHsqC6hGjUIgJjVdc+hfOg1iAy0AVRRqOVLeBuJNt3kbePjtt95PgCBYEsBDS91uSarJWM5K2z1FU5Jexf+HYinkSsLxvesxfB/cjGF2C/RUP4HRVU6RvqqcTII/qN1lP2OEF0cuZ9/pYf4SHvKz8TVCulZEDlDgUQQCCMsVQSSCLaMrd9MEUOzVdyK0i4xPz74YNp3YvQARF0IMjzCwJRsupL85eVxu0rHKUM/jcBn3XqdhVF+cICaeVxRK/JcUbBXvkrk1GsIAZy6sdWtpchUWrpO4L5gSG7urltK67dw7L+0bLmN5AaOYsi0BY04lvYjil0FENGXaAxLSX6YZEUc2OBe4FPNzaoq4szi35db14NQE8MdaGh83mLIktBPC36kYoCWjKCesK4PU0lVny4rj4SK7rU8EVW8nwyp3ru4BD6h6uncFcnICV69PK0WU1+b4HQGmjfXqUXW+H58795tRjaQS9N2OEqBhwKnO9kFRKUJyU/DCFZ55GHhPy3XpS650ADWIFMvUpqo0PlspWLSrl8NFXEsifPjkKy8cTUPBEYIaViBlEIyG2mnoGbppICIs3sDEkTK6OtYJZaLnqlQQDislHyTWJFCvqgKx2bEZ1gxvGVeYrnAsNIOHOP1y5u4d0/rYug0/bNr4apmIRVfDxbPp6K5d3HYJXaho6GPcJqCDOA2/gAiADtoSRKahvY6NwDScdlPmPWfq7OW8jEvRa85P2dqkJen14qwZl/aHRrCvUjyLIczD7l1Jg4at7K2wCF7Wv6d8S9QdSWgQOlQ6uNwSIc+8wcmkFYJdXHi3a2tIUbXU46DiQasaoNfk3J5o8QHH8qie3Fhd9r/aKARKl90Cb7syRUQwCne1Q9HBDPzWpU6bfUGfcvsgWWO7Y0k7/9WDGtJQUc5YLQGON7Cy8d5iHSJI5sXG+KHSG72hkdrQpb2f36iDfswWJPLUZQBA6kKszuXmRFHdrfkHlQQUbpfx4qTmkv382ezChnzWnIOkYvPSzreY/j4CUH0idW9ec+n2eD4GbT3x/H1XSxK/BMVKFU/8lDYp3seVKnF7OT0gKBf4sckvUE0njbgPhAPA/0ooyJufqCrXvA00apWnnXs/RHbr0ikXRkDI6l/fTeNO6GawYAyRVyC8E9ewyfsmzW25pkutJq0XIzFdcAPnhNjeU+pvgmwKva9Ksf46lbMrTjEoq7YWiGAPwz2ou6x2TAFFFdUh0pXoWsdezVx7EWdWah57iGi5Fo1lZ/VzBrbXw2bpWrdqYWVbX68KC+hWAKzmNVytS+6oj/KbYb3EHZnpd4eVUF0cOxUaDaZrIoGU8D8ukfJeDQJImqR1iydSXAfLHdePoUdpP++aAmfKJeKBdNu9syISichzg865T4XGbwnD/4P6N+MsYqs0tW9VH/wrcMoYZU1EfbAE1ySqpwPCHik2x5sUWKTkxkzUrxgxT03shxfdvaWGWa97r/l6EcAtI59XPYsTNRlyuth3GLpK41EvQ66/bkZBwSsOHOh9ebviGyr1o9IILXHbdGf8bwVlXLw8jEmAjniH7V0yxPTmfaK22YKX/66DNcAuCoyR26csW4wyqc8gr3/MW63l+TgdkiFUea4WDwl1uivsPEPciMGJhS+sRvd0vn5J6So0Q9viMKWY11kr1ez5KpoIkYkfvBGsvK8NGnSKYmqGPFakx6e440Twt6XgiZs2t6Asfeh2wQHgugnZE8zjXxYhTnFFvyEpFENLml1BXEWv3fBjIgb+hmXAEJHzr9Id3r59wnaCry+PAPdR85uW6LI+ZlAqmATj6O9to2Ae4DaEmWqUEjSkoTsvekhfjwLLWtJxGAASToigSRLPgG2dlrd184YgIfR/quq2Xib1GbDkaBNEK0rJ9VpKHx8H9ghjIS5yK8xXgFKvXnOMoX2RrhZ550jYijUqVrRBM1sHififyilMmrg2Mhav+bvXePjOR3ScYCSGm3DE6Kt67dUU/wlDEaPqnxUnQY2JlwrRW541AiEyDyTem7YV3GNl5hhEDAxFpaLkxfQembkgGbrEp0HIp9jHE93keHFDUAJjMnaMGsblAFISSlMkIxGNsBIenTY3cmdkDfgcyQEFPQoSkiFbEs9TiU6Q8MO8WgkXTK+v1M4uweC0Za6RCfBF/u4LO+aEVR8POQ5/7Lt+EB2eAzvYNbN7O6lJb/3qWqJ2mFTph3ECBFbUpyVDrqCyE36+urQQjrnaUDib81m2sk1TJciBeqhdagL15MxZgE3z0mrGJuVwkWicm8krqm++HryEqXGBIKklZFtK4Dje3xZG0Pa09/3dOM9/UygcCz++fx15aPEFkT8ZmdF4abXw0xvukPyABCNZ4wgwA6NNrH7fcgBifvqAPjTVXG4tvcugtiLfGr3w35KQM0JvC2Fg5m+D+BCAfAm5cmv1fLU5b1zOXD1KkbSAIPEpIux5LCmBWhXnXOVRoWJHsiYjDj1psTmArGOSu+aHMc8gfTUjCMu3jBu8ZPZ6h4Vbg8xzrR1HmKKRZanCsR7ckagymy88U78rx6cD8Cj5j/dwwQanwwTo0clghVQQBxGV6Y8yUIXC1tSc/B78oQ1gPVjhxTMZpspzNme1NLdGfZlgCfxc7wD3CtnIVqL+u1TOa+Ui633VHCS0vyh9ET8uEVaPpK+H1tGOx0gyO94xrscODU4UeLeFPxS11lJfdivE+mZe8U+WoC6nllCfWhe882zpW5+a0DgyNPYayIUJxuKHfOvf5xB6ZRwOzSv0u+Hq5VpuE8IpDn3WQ2s0rbBDUQxEZ5rSkco9Oj2vrJ5rqizrpXl5pDju2NYgSQ0ofDhcKDstLPuUX031gW2qdwK+ao1ha4WbtvoOjjpXiMrGA8cECrtVHNpSUJnzE+Ta3OVTwdAgfGHP53ykXlQMpOIf/vsrQLWboY4tC02eKzRA6rKUoGREqiwELnPAhrDT/X4na1T1LEO4TIvh/uyqEurhMKDjY+hX64nhNhsHOcLOizjL1e6D+zTKCW5CUvo9+K8wh0SdIkEro8uDWjsLIpVD7fBvUPwSdUfTwmqXHIP1lDD4UNeh/Gy7VSfObfdAS3U1zZmy+wjjidlE5Ay1iVtjyIYMgHLiSFo4r9zpHymcFs4FvyaHxMcQv8kFK0ke+K10O3DVyTqScWDC1IROqmKfPx77CmSklEgIeIOT9ifrORDBD221Yb9BHrKRGGEnklfF+ADGnBCJ/Bq61LTd6jstFqtfcn0G8cZnk7xZ1OOV7MEhLcoyj1C7vtQPxP/I5BHNQmhDCL9UwmUfCjb5pbgAZHBza1cavl2j/veJFhZcrFpcYV8CL+rmQwduzEJMN2iI6jUM182vEhsEJMR4csZhdaSUPTSXI+Kkl/OhQ7uc7NfLZlMJHv3eJLC2C0eOdzxPTwRb4eg64pqjLxJEJzlulaB9RhsDNai26okU0yibvkLT+N/1RizOXhafaDp9/6KKuBloSgmZchE6F04WS3jdq9qQERjfqrPlyBqRs53FiBxC7Klcac+/McIQQ1+cGutrC1mKaxc/a41K9OyMlpuRPaAtRYoX59/e4fvOcWW1tG+eDIxVbF4BKqEvxJf2ikZIpprifAZM4iQSXPIKOV4xn8+mDCNI6BTQ7kV1hl6a+e0iquyGyZt3YsG+GNjS/SxoxAwkXyxCbLlSzzGUUb0In3mra5rjX7XmiutFqX1lgpI//qCVdoKUIqsq04yNr2qoCG4PD7PJT1n/45Ui/gZPeXuT/UtJtmhTIs6qiIBwArg6CxKJkn3JJSkDzathD9O3EQKz1d7xsCu4JAECyax6zULt0On9BDD8ONbryxbf6mxCHg2ZnN+D105LPTk0lwShoYh2HqbbFfkM2B5vFmNQG97MJf1Gfa+sKQydRsaiUUgjWPRxb/Mj0tOPesSlzhDuyJkGjBJE538apW10yxiHXlgH80DLAfgZV5ovFcX850koreHDCq5uMIhu3RakBxXfewDFi5Ye8Hh+uYiqBn1Q1frfICQjFh+SzBfdNuc+O0yd2stm8LWSox6r0EQ86utG3259P4fDiWPpWGaxIgPIn3s8i5HKkT45Mg+21aDECZPeKGsLaxzpUsa+UZjCENLI4SyWzgyZfxhDYuoq5hfLpfF8PZgQ8OrzmjsP7P45hDAzuZCrYYJuthPEvV8DTMPCQXmdKU4wXdn0ZNj55kgSy0ek7DjvYZMs1HNXWMIwvCTPCABmAdJiyqxOZAX+VZ/IKhOSVnDOVkMvoPhhCnoa2+TpFWUySjrAYm371gtbEs3jYl8rmCinFMAekTTt+0caYFZBclDn+s6HJfSzi32HC1W111VV+xG2Pirsk49num9vabvkXQoDjCKQ18PvYpXpc84th0QGNbAKDVx04jq31nOEFBUuMJabWSkscGSgwQtHKFvoB1Kckma6Cu2KL5h0tgZUqtlpU99fu6hgUGAULniNiB8BNlaYhcwGgCnT2158PmHc3hpHzX2rYmgSwgBhAaANPh+lAARqntCZvn+5/PfVqVHGZqUFwWzEA+w2FEov7GXScwT1DcAoYMoJmkdJiVWQcZ4HUtRIVtvhLEeyANdIqizoQi8db2CaRcdnRzRDyxWKcpbN087NXcdoJ5byLIzCmthuhgSljd3+L3xfumQD88Q46Fv/AcAAzlQgyL00OBXDFE11Gd1QHH+pGqhmbIPZUldNqtUxNlScdAnif9xFm32j41YT1KJiZ5XgUsVy42TaGw+8aoIQ4lC/ETQ16SkURmMih1oFOe5sHwZFN+odwVARMO4741Uhmvm2u5j8vsn4vBh1B6BuWe8V1/icUHPE/DoLugr57Y6ynXMGsgA3nou/zlcCdQdudN7L2TMIFiiMvsZKdNzZYF5tmrYH651fiSc+VV16nMtO0HIUg+uWPZCNIU5fNKiCM1yezJLFlJxO2W5smznTAw0741HKrraMMGIxoHFh3eUL9Xmi1h0DYMk6g6+UPxR4O1wujjMG7YVIJf7NGyuvTN1l7mHwP0hXs4t42c+BUvIQy6foyu9/ltMwTzlvaykSIhU12XGOPRYlsdU1gy2ysJf7Awjv1gjOMMl2S0ZPvMeAAF/y/46Sf4oYzq9az40i1tQp5om8YfVyYG20kac8AjwsWPb6wER4ascrVPImN7WC15x0yEBm10PuCgIL5tRwqaJsx3zAxE7XIyhqc4321pFg28huL2UCidUcfgMmI2i2xfW1XlXQFhOz6yjs+pab1U2jgTzsQThEXDzKZT8VHdP2AbiOcoCTUiAF5Wgdzf3oydBndMlkcg8tWRinHeto8REpiacrrZpOETg+rqQ8QZEt601I2J0vcuOncMvZ7ua3RpLWl7gkhLUkpa1L9qJCpc4eKJH5w80vaDUrwGnTV5TzuKppr9gdbNqV1XrNVTQtII7lXXVXc8ooEhRi9F865AeMTcjqtLTpG4OqLiSiUNWay4eMRax4jnF1g8FGya0YQ2aWX5t5p8k19/WP59QmWrtR8eRpetT0fR7rn4Z4Rqc0ZkaMbOWnOdNL6EpY6wKME1//wBsxY3LcWiJ6PmVXdQdOsHFleUTystLLwDQK2ng2hH+3+67cowMrSPJyO+tTnN3ecJLVReMSiqNq4LRKkfYfgJ7KUSzzb9CV2RKd9gBpaKwcwc2odo5iQg8+ojLdTtHW19zbZfsdksetXfM/T5mgXb5L3jP/EoSac646aaMXh/OB/C/x6YId49b+X8qGW9H7JaBMycy7B4bZRueYk3Tgzcn5p5iOBcvC0R7vp8lCKi68RejrjrOWtTiQglnVoS6VUbuMLGfgtXz/IQThkdUzw5bHm1Z8hSNmbvujFNI5j5f96q0cPMphH50xvZMswFGiRFN/cQuO1ihZulYOFSUN3L5xEy5DMUDd4zCJDfmNMh2teu8Auu5inMubaa2vDtMgeGs7cwLBoCMt+LZwhfiGAo+snSNXchaFf6lKQ1xIBp3eRiLTcDltFS+r5HzsLJlsSTN8Y7CZ6J/HGTHDBsGwpZr+VVKcaEln772wAp4idnLtIrBPEDahBS6v7I8jVG5YpTh3Zn1SqcR/OW+eJu5vshy98LO/V/dS8j3/ISpe0/drTL6qKTbfX32G9iQl+77tusBuxvZRKY4yrtCqstm6VZ/vRKgI1Z3sJml86mUU9bTo5mmGa0aqC8CMe3+AIyCdvQYutGNhHb0vgLg3BxUXaDrprlWWebfQZtcUbEzLVc+ER8tZ9/0be7Nvk+UnvbkaWPHahbg/mfX8QcHvx61V1HJxOtiHPTIqcA7m3FsSQR1yqokDtFJ4nKd8unYpvELitFYvtXeOD5VAxa8nUI5lJ0IL65I6D5U+UHpyC6YvscneV1TDI1s5jt6pbt371mu3vUzsm1QVQBW+A4y2T9YbqDLs9ZS65wgs8R5BaTCqDAwe/iF2CebGLzRZTcptqsuKmDjCH/FUz09fbDhGcue8CYR1NA7xHbxoBp/A0n6dsba9vrZJNgN8uSmlk8UrYQFGTOlXANQoZN2MJv6/x6/xWZxQKzMtn2iUCbHSPH5txsRGzgr5k/yvlC1svkXcKLX0NHuFRFOWfRlBjyS5f0VGRDgRVzPGJRCXTMtNXcl7trFxSuFUnkuG50I/FpJ6oCTgekkPaOq52P2qMmLZe8/nMWseL6ICmFuZMpd/ZowgkB53Kzz0XXTZGGtpsOJFLLv+zif1tNLcxirUA1GI/K8o05jxuL5rZZqd50HiuSMfcnXRk9Xgp//5Rytu+vcDalPg8lUYw0tLj3wd00RWXlTid4iF4z+GX7OLOqGhfvpoh1pBd4MJs80HCgS5A+a0d12duxYQG2CKkyd+St6oBy8daSoxzKRy6R5QKCeljciy9SOEUc5ImNvMs4cmMTuiS20n70NjCIBWY9mi3UIHM0IR6rQtFhozmiu+Z0w7r/fv4lJDqhdtanX+TXLrjVwniyq2eZ8tO+YRQO+MYpJLT1/lErMM6lXf4xvKK3oa7VQA6p/WJXtZHBwCfOm6WoR99PXRrHAcn8N8lbAYj2EQirRbaTIXqzx8rVh0bJq2xANE2k6GDCgrPlB0OBI49NnLgyO9E+lE0xnlUNAxBm2TY3TvkDGbScPPc6HdTKMswRC1YgyD5fauc0B4OWVaJDk2AgCLA60ifUTD+JHkJE/QWsmPq796BOm15y9SMl8ddSvUhbvfdlk3QxYxvv5mdh9wbEOyIcOs0m8dqTgSuuGVeUTCJsrC3wnBUj1/3abfFh5JNc52P99x12TgvmV9/9zNhMXIZEFolvfVCvPr1/TxE7UNbD0kSuA3p/TNWSO+jPjeplT4JVtuLiTG4hPQO7mHIin72RJet7tm3Eue17H/q/kvrEFcWfuNsKWswyviGNpb5QWHKbxpwd6+epH9LdOY9qxyzO2dlYndv2bFQdxoOSQIfvJ86+WSZmhuSs1O1fgBqktMmoOiWmRvkrzoxe7kH1jHQ6ZPDrIRsCzbMzpR4dWq2cp4wi2IDT35ki+ng556GDv1FmbLDaqGiB4LGLksyG7zd7F1MPoT4jw/kDBGKcwUGyiWZHLhbtJ5phpEgoSZWWhoXbv2uNVMxmi1SRQPSGRyP2kf1yjObj/qD4hrpqXhKN28+hqqSxBHRiwEtKhQAuNGAowzzEcs0uZwQLjHCSrwmYnmltR+3s7fyKOKzjrXYdYce+RGeexSfWUODFOGqsm5XzMljNQHvbM7KGRFiGNHeOsECsd0PeTJyrKLRxjg+oAZ9hE1dbZlAooaWptqxu46FK2GGHlf5OL2wt8DYRzHonYmQQvCMgQDiXXxQ2htwYuECcSgPAZs4HyekEqmNUaxPoY6ii238WEy9ribN8qM2Oag3iqD7EdtSwQOYGQgkZdpAqH6cbmCQfHuHFDSRTzlsL5A8evHvyZR0dp+hyatKyDcKnGlRJIvO/pBKIAxduAmDcg/cREoZE3HfACRGCJD6wpZZzTAFor1Qi7MK4he0na/qhv6qBS0VRm6Zg1ImCdHGXcNzHOwsir9H8WJ8gvtmRIr6C9d+9nhY0g4rfoQFPYTcIbVqG7YfmsfFbBm2AF+3W8dAgmoXJzs9L3o2Ogk0CMreJ2DNM4TZDsc/+4T2A0ci44zg4ewfFmW7ywVixD9NvEvYqAzEctZzwKlbJh0dQqMtXKg3z1hpop88LOTeRfP3+zSEe3/10moWLWx3/dybl80mBno8uG1wtHPqqcIrBfCuX0W0QSYz1Pv1v8fpivXbCpRB3nhktXRxlDNgsPuWusfcOx6OVNcld4+khGsbV9CtUxBApDT62+YLQfNrok1ZlNQ93ylGSDAD9ijeNpXGtPuwBkvVCZPFZzcMgjoI5mHmA0efqZYXo9L2xTcxJJqlgA16yu6rK0U2NpzI05g7JK0Q5QJFX9mrMnOlfSjlfUIF6AOZsTfiWucmYS2v6faU0sdOUQK+X4+DIiyhP4lIUf0ftbsKSew49d+DK2+pDW/EgzYtUHN1pX1sqo0sQlt2qSlD0MkkaSaq1O/i0Zcid6T4l+DfDnflTcfq5dGL+LJXHwxZIlGhXa+Ymaa+hBLb8DcNBGoCiOLI8QYb9o8qK6Y7WdjphpLEQihWIwVFgQT2tlZSUwGcO0QAUSxTrJKnF8fi0Dcnq3ykXS0yElgPDhNox24IRw12/AKkW87J91/uz31oek8CVqjYTe3DUa7k6+gpnLwnejBXxjC45kwYywsVfnw4f98OmTunkb7S14mhUwXGlNQp6bUlWgPUvlQbnOUD/M6gNGe9hJ756UaVDnjFmN+G8JYDSWNf6Z1EXoTsDp/UgHgPr8EHGNwfdwRkjGoCXMKk1o/u8GBgDu6uCzRCoVOqYHP41TGX+eSbiCQPBj58cZ/wZ1dNgljAwI5MlP0zT7cLKfZXwuaPscx1JbH13aMLk36VWhFi7jSzBKQW0Wcat/NX2PnaU7VMKq3YWmjND779nEwc77+KlV8ggfjsLn6usl7rTpGn7uqWKFR+iPkPqLcLqHi851x8EWxtE5MpfJaMhRr+8iS3dgXMr3EOrbFeRETGY1Pd3lzPywSJeZjlcCxzAYOJMIF54DwB+yDR6MBBrIq79lJTDUD2MsLL1rZozUrU/kMMoy3kp9CQs8lBO/bZrcG22FkHGxL4nkjKMQXPGT+WSJmwm7kd5SzhTeH5tEN1bzlBYIa2OXgw5q6aglnKkPfCQOwXFgfxwuGt5KIP/pZKiaO3C9C4Lr2tWV1hyREe7tkh7FC4PgTonzBXi/goqlnHs0FCHnZL/rDlBC69/rlcP3F8b9g5NsXBu1qtaAN+wirqpW3y65VzzwdpJDxAeHsas6w0fZvHLFM7GxNKe5fIBVWtF0JLwgp2+bIKgSydriGi4F8y843ZqLzM8sKpQSgXedwKYB+TKZavFSE5FHOd2FSK+GUniCaILNmIaiJ9ojAE1qVdRaGBKPyIyMYiPi1YCZjEZPY2BJ7DizNZRFGJ8JihuEI7zQAc5G8pelNDYC5l8bYvd2tnzG+39CIW8qKrruOZKPHmCC7UnrJynSCoD/nnnasCM4UXP/UimBABtv5J0gXpTnOfA79fnaSB3I0MJ6JrkdoD3DcZM/KIKcr4EJH4bVEMP+TvcHI6tAD6Ye5W8bEeCc4XeAy0Xy0bHEDEohTXql5yH6qvUmalegFB2kdeS/E4jYugKbB3CJp04wvrMzmJMxxbgzLMiflTRwKSSsTQLqyi2piEljNQUTV2f/H1/R73a/1AUr4A8HHTvOVZc2Wl5rQ99euffgo+sbVwRGVvL7RhInwMIjwczBNLBlxfVnE9eHPLqiA0XR7/vmQ1Bb9Q0Kb6tagSXZ7LPDwoHH7lLWTR6Fg5+jicKa2sEAfUSVqRoUM3MTHhYpdpzFzDWoB8b6bl1RH1/iUM6NN6LzPNOP0zEYR4APRlPYYoNtcWoOs+jDTA5qCCf23fPXbnB9FS3VyeRRnvseYl7MlkOpTbEwXYqVMOW4WdCoRKxE1LpWSacCUgL8UaNRxBO+UV2YL2HPyqil+YpKzR9T44lWr+sOVlqXsDQSytC7BKkLaCqSfYYOrUrjCHNrURZLNYUU+Kprnry0fs+ZaCWHj+F7kIBqpWQWvaqVqAo15YAsDsDhqVzKRAZ3RMuFdimaei9dWW/WqKy/w88nA+jR9HgW/ESvHiODF9ItydULsrDeGWaVJmuGFXlDiLAsLOhYSeMfPY+kj4ExmxKkId68rShVl7GYbp/i2gQEHPS5/iE6YVXscjp6L5FtH4uvq8dQdZuda31avD7rKxivFrTWJyUcwDZkdDK7gpwYSRhHbZbI+R/YwmBzs4hmyzbiTBOGrrfJSXSMj9uMuCQH8d/1XdKArlldtAZ3yf7w4iswpQ6cWXClL3t+zIHs+rIdSdwJFbDXlTtDl+KUYnedphVBGutTtLFwlcsBjmltFO0InBCdZ2g+1iHOizgsMJHi/5ddG5k4bjJAWa//qVd3TCDiZLB8LlgzTLE+y0Np+H6THNmuIKYHOapfDPrehLPVwhDnTR9v+qufDC3CbFACwNTZVlRKYtK68repNIMIDZdn/DqG9n6Y3rucVNalS2lZNbP0bk9//vPKttek+qYM4Mpl0xL3bG0yb1NTZMVJuOmkIFSNRWrof2dFYZWXZ5sgI6jy3cIlnvXEiZySHp5F0m0IkawT6m/9UoLak1GrYtYPTAwQABuHrZ7SCL5FOI2E1Rj36r/7cIl1ycX1MVhghqFCCiR27/1TwcbnRaPhEBIOSPr139mWewCERiQUFFHFbw2OylBXPs/rn+c2a3w1fouS73soONvt+5q0axjzPzdc9wKfCK7lRAKqmhENi1vTgEb4ZYQcv9bniBe+TL9adjgfg1uYiGkuK94bMLDiPJcPaZV6k1hOZzj1qPZ1DqAP8lZ4NxF8nfeSKTJyB2T/U8PDKa+W8mXDz7PpXwrVGDRl7PxzUdZBtTvpml6903B2Rx55on5pa9bNwzOo6RjNLTPxHq2GsI429DP/VzEyyPJFKeUJ8KlB/3/HVsXUFL4zbN3Jtnyf+k/rKWF0gstOVBq/KI9ORXc1xfecOXSY6+mAG84XCTWemqmir0cwIbeLnZB3VOmr+01RRPk/sGIAH4XiKr/VL4y2VqDIzHgmV/q5UCbEc2elb1/3N8SvYRJXTD+Hc1u6vvLYOeEsM9N60Y01dv+wsdK97307hXdS+3/J5p83NqY2JANk54ie52eh2UUkiebsf8C0KynJY653Kz/oZkmoYVYYMEDhZrirr8E1sAG/wwQkHSnFAXFo+lY7sjFhGugvqMR7FNzVRIIGyqcm7nLZEk64xLZxuKKGO3D9uKrDJiqcuGM0SAxBBfiGjXWM4KSP69AoeMQ81pAaGLV2WkWJ9/ZR40jxBnB2xpLNVeEkBRIAwhnZ1vwhFB461kVORAWCEUV31ycAFlMN38Zz4PvpHTX4WkhkJduQPPQO1PUaLLVd40HyfiARI9+iJprOHpVM2g6CnwPxo+3lKjmgGSDAM5HWVKE+ScjtpmZbzJFBUY58s0C/Wv+S5Qt/QuQ9Rkl5KBxtXmxYnjXm1EBQnbgdcFf+DDL7vrjP0yUauEsyrVDKgNiK9X5r+WcIul9KJBh82lAcl/zBpypJF63UdPA7CVxGzFRv3Q+kpoBezV6s16JKIJ32uIzweEYfORRYxqbup6F6WiOAuVQLmCi3mqUnH5ErPyycxYqF++tv8vXm3/jU7g44pyFvY+0ymrRnu7kv0f65E7lRAK42Wqyf63Te1HgZSP9auVSVAobE1WIdqtKWADnkw/77qYOzgWTrOB7+4MlhtosHrAFrCjWA71kHnWyHzpC4lC+BhmKF/5gm4V9BGvw2n+EzJNWr4b8c0ZaqRwaIpNuNygEIDWWSIa2fYwP4WH4+IRVGvkib6ctyW40aF/j4PO0nr84g/UDx0YUipdcmsSbNHRVshMotNaMhi0pROEwbwrGFXDCyELucUU6Jgun37piHSdqEEkwkM8xWbWFV0WxsDLS4+LpVO9mvvv264Z8uAE4GbobGZCN0zzA9M73HiQdnolCmUnbA9b9mbnVwqVfKT6zSi/MGwrlQGckAwx+8VCZ88iGZgLDfOVVK22oigvJbrXfsqZI72394Yd+H8k2yNs4+LAv5Oq0B4ifBpeHcT73ZJtD5EE5MB6l1x3d8+RjiM2cnqd5lPm2HreMuxhYUTwID+NnxUesZLxrq/+3YNuzDpOf6bIvRYMDHXFofstmEdMscp85klcS0TAvYEBcjMhgri7bQ1cIylr+p3MR5ximZZ+OnKiWNzdKsAURsdKAOVh5Xx9s2a8DrISL6+3uBo122Sa/KxinYzeRkRBmlPmdHAGqS4aLWKx6fBYl3CVOfKav5RYHhbhNM65mwNTipf1j+N/rgu3D/pz8eRzRqX/ayYuqT3/5Vo1QWDgf2gmcyjDwnZkQi/f9/L0cm0Uns7Qj3CZ82xH7hx+B5k8DtOf7NLL8OMVa8kugUJgH9oyzxhJDYFn5q3vHM+9UzYueAvLsWFP9F+wI5r/SFqkvC0biFTXbACgtsZ7eFa3irz67sxE+//YuHU1i/xvG7Ise8LlnboN/OZQMjL8RmjkW+L0T/6eRmnnObbY1k621xCJOmjNhn1gmtdfVfPqcL30a5wbjO/B7kzk8H2cFOPuPCCBS3h9tw0HK1OT0sl2a5jjYi4TBGpNR931z0d87XSDWsbeyZ7CuO1r+vl0uA+otbLgCHj5QBD3QkdG3v14/CZJbC8AFuK6YIFNcHbtbkmGXmzFXx51fZV16aAazONAXLKKZg63IcENEaxkk8WZ1ICB/kGy/q7zWEEKJwreVBYP0v9Gs74iLvVxbZ91G7ySiOb1vjoOs1ub8g8oaNkLZe+vrkjXU9omlQJstkZyx4M5kC1Jb0L6z2soQlDDvNCRYG4aA1SLUUGHz0SvId/IT9rfnVDTUK3+0/XPaLi3WE+4GNCa588t9PLP/ROuoYqd6slrNxawvez7jTdMZHD7yW7moSuqOLtAdCVveGAPLWUwC3FHP8g8dyzuQdzo6MRJaOb5zNtdaSCN0V7GGBaxvsDzCvWK5tb6Ia7Puzdutq0OgUlUICfjNsC9OrhMK70zko12vdCEHxK41gfz6gQdDvxsjPK4tWjYSHKqLWkoi9RnkDL7JR4H1l2V4ve6VPZAzG+GuM1wAMcI3bxSHibrocSHRIO5qMq6yi/yih1JoGaRs7j6iF1D/kHji3K73Xqz5aoBp3xWgpZMvyiq5NnaAmN6H5XFOmAJPanThILV6ThzwXAank15qO4UJaeFmDTyus4wH2DzTMckvDoUUbHzUGogTvo9Lw1k0DuKT5DRVoFYhCz8IHlZ2wEUEOEYOt+d1Ejtcxoa4CM6KgBXQKGSt6TQF1bz+I12DR8y/5C1872z/xkNR4XuWVf2p9feZbDWAqLAKlLoY8GG31I0ENv7UmHKaNtVgP1KgP20voAf20/9z+1RPI8GMIrXw0rnzSazxeUVeHCQiz36rsAF48vacapyVywBah/g9ZreV6lAOHyu97p/0ofUKgPqyyNr3ILPsol+zQ+CWDVFM8U7zbhwPuKc7yfaR24zPPfZn0rB/r7f85FSQNRmOJ5G+tVnH/SqCC01s5N24msTYl4o56PbGUEv0B3BnMA6M2Pxi3UMUt8HAXfrbfLrJIDs9BbA/XStQiqzYYVG1nX27Ahkm/jp88PY81QMAeVSwlYMyl39+af9TzJISAVFC07K4sgdFdAXk7wuYJdb+Q1ouNSwV0aY5UkBNmFVMc8UbCa76jl4J/ANDqdThP0btD+4mwaGKteoga7Fmn28YCQ9Fl4kXsKPU/I/czx5dFZ+yvaBsO5Fi5/H78X8Os7t6Ww+4rbg60QNimGNfYyW5pQjQB9tgj8vcTHDZ228iVKMSKo949N8CyCFOmy7+6dKUgS+NC5WCXRZ/+eqCqvmCPtEGt2o1kvwjZi4zDiym0DFFxu1K8VSSfOdIoXo9/uC//qRY8n3ZXJIbuWFGgiEf9tpBc/0DdamzBXFfo9CH3infFPpNPzS7WWSn/HNQ23fSM075Oy8iF4WAkH3Btr70xBI3i7i/uFwDnTTQgIFyhlm8YgQr9jOmctp/83ZmvWhwwJWet9zIyT8zO6SLd2bcYIXD9OecQW99FzEpzSlvZWfEO2rkqB72XCnVaIlhtW5E0nXB3B68JeyIqrR8UwNY/LQUTm9fQfNQOZ0Rlb8HTsOD6er4S8KGit2nEhafhEX72ZRtlgx8vLQArGyTRRtIRCIm/dpX0tVTDxeQArPiKsJZGPuleiaHjJofAgCYUcJaTsg058Nydt4kVPrrHIuGdbrVr0a6PgRAY5gfVmUmzgfxly+rg03AX9N1kHkxjf7O0smx5XHNFfqdYAAmC+FWiyRcuqMW6kO+q+DsBVmooxWVFWSanwlaZsYZMM18qkvefpEN1qDDecd7xw+x4RJXdufk5TIjgsXJU/y8IrkKQxNy7eISMQIqV6MF2elL7uf/F9BpyQ8hlcobc9BDqpZ4MeG718Gy07aff9XwqWEf4xbSSS6J3y4OJoInPjk1lpbZpg+fHo6RaVkQeA2SQHtrYIC6cGNNngcSfaQIn61aFv4wYXygALjhQg5O7wpSUv9ySZsMJIzlUwhi1c1CrfrXRUBIwI0hh3DrVWeaTBqdWjhh9Pq+gcScMwsrpfTwNdyeH930+ilKXGxdLn1XNRC88UNckh2CllaBniFPX41MKE9U9TJYxWoOUzw+OKwV9UR6L8kfZZGL7opmPLw7C2SWJEpNnv2Vd49Yx7YAi4wWT0ajIPn9mSRhIM+FmS/0jqCRYHCN40BaQ0wFCZCw4WQdCLV7H4n79oU2dkKGDg9d01n2rRbXoto22ytMBpGOiylktA5ZUBmH8HFpMgt2snRMh/c0pS1D9l5PFKq0E8UlPnsb0n+QrUfnHhIYsWaiNPHruYVd18A1JxfWAxAh4OkrbqpdAQEWNdslBpgrX2yvZi4am5OLkFZdCc8ykD4QaDgNzI7XRnxv4Oxd1FHHvmLBDtwYQZggc7fXW0kXvy/g5KwPBXlCdN6k3WWfHWawHKcoG46PoTxiqv+e0uowNbHj/Szs9T1hYlR4FbP/KzStXC7Oe5/71JbGIw2eHM+ikXSAsioedgHEMj/vs1uKf7K+O25PICypPVUjBoVs4FlbaIyFpCdOg7d5TGwgWq2572ZIaSNWbDjYZI7NFJOpJyb0Pe4yj9WtMksFIUo2OjreLvPcZ20eY6Mt1msfZRc9Wr7vILZpNq850WQOzOeDj4Z5tOw3H2ZnFFpEjJYBsU+CI0SsXuUX3tg/gk0z8b4siK99wduH18ymPFzCBoI7C8N6g2n5ijah2wEweT1tAM0uNhnq7/56rLaRGOn0H/ZjDbXl+/dIpKaNKWBzD3C5JE7YWTYKNgULqyVTnUqCmsRT1UslVB7Tmhz/CqUIBEOCJRrZ/G4dt/+mE3zDD+Q/5jeZ6eid9i5/EUjawCnVLzysOetgVbeBxHOewTaV2yV4aarZktrNG1vGNntptFrmGn+GOF93spzq/1WL+B0MNhYJUTol7A1WBtSyZUqRGkR0WzzrztT50Wf99LjvLeyy8q+VCVYlMO/LCi1FYsiDmJMUIRfg3xqGnaf6x/uQr2J7Ja+ORmNRS98gYNxpKPstlPLbQGvtZiIgRjzkd8YSAGr7FwTPEnUlvxc5tpmIsEpXl2sbOFlK2oHoq04dtrk2uxeX22MACdh8/mGBHJZmfOsTXwc56rI4Nyzl9dCUXyJ0/k0bMoB5uz9y1yONaq/r1ISZ9SKt0qb96K1ynSrUmfLAcOrqCBIyhlwlXW88G/WDpuf4Q2xyEo6ZBG2hH6W5ageuanN7ztvJSCdR/rp+YdfcTmmZAOCjOnofGZO6Imf2AegQEesUg9I2G9NirkCgX0fe95uoIjXqCTA20ujdmVwa8CA2mnFeExQKF9pgtSLXFD+izBF8QrcqMs0SDs8BP2RJaGPC0qy0eoCU4dmXGB72qlMkUErx1oG9IyywdY4HktFXnfjK9zdzwFCvrSta4NNVBIY/eTZG1v5uhY0UBY2DPgPNUYKU003vg/T2JjH/uuNkCneR1DGJfOxbm/gP7KTSoLoUH8gLmrERtFjl9QBqKS/WECqwWIUivJR19Dp80gS8U1aw4r/jCVLAnHRO7guP/RQgZQ5ls+SqknwgYPyKA99VgcHK9I9sIofbZrYzXgJNygmgvBMocklGI8cxeu6jHI5rEZh62wKGmpjRoXrYxzIjmEX4UtFQI1ZgRKqPLycSiStLXwR8H2to6KvTsEypp/OdEjCZi1Y4fIje7/rrDVw0vOXSjXwoH3PywZdPL6aZRLoip5KiFQms27IcLh9fGYRdaw3DPf9rpA9LEZEiiOEeIyO9Bx5maqbfywY81zmDP2DNgJqfMbtjssmR9k82zUR0TMxfzA9WkImvvcC7QaS+iozIev11TZ5DC6TUv+1ZavucEDBN8C8qLvXyIrTc2XnFHVwnrVM/W/6ONf62i9JCFlxocMq7o4tiQhdQYYyvSPCThF/DvEJUhC/YQu5KSf8AlEJF+13PRA3YxZK/+3TWCMvbL0a4de2flJt19WKryo9W/WfjQgla0luwruOiIM6dX35lnbEqC8ewUm+OLgUvd6/KDa9q5WpZgU+HUr07/TRuq9YAKlj2XacB4ziOQLzd3ZOMLiX/J4CWvkmFASngbQnPBB3lsby/HWQJnULRTv3rgyyBJD/Asxh/byB6Gmi2U1K3OUzjBU4XXMtkSbjozFFYvJSitA6A18ylQvNLaonWEMqTNAmLcDta07gerYZNyzLNQFb502mpbB7CHwoenwtxKa8iLAiqcg4vwOQcdLX1hzE1v1lEDnMAjxdKqjKsnml1wZRGAr8IFf6Ay7ZOyKrd+67diphD0W2V2ZLWBbCnVK87FuXrfJmV0z2ZYBLbDJTXQJvmClxPszG2csmIkHPnAqjtgbhcGrVzJF6Joiqp5o55bMBragC8pb7xHg7NzheQfZOw8y841nU3+ICYs/E6OsyZd+KZ1KJVWvlXdpzf66XkaUc7GFFTUuP3SumX7+q3zzpPzlb3CvT4slD9YRFhat9l6bnDn4BsP+bRcdFYjaPZ69r7RgYPX3+XHAqC17jaRvoIuZnAMSzjN8LmH3MI0KboZJTixfsZcxb4GLx+b7Syxz3bwNFLTj/3bBgL6ihRR3QiaN7SiGE3hgtUoY27kmBY8TPb0SUjCPkOYw1VY1YQartNDv4MckNvqTpAWT8n/FoAo5JzGj2/z0lIu+NU+xlS5TI9uMckxu+oguW7b4aiqq/79v32BgEvRS4BlDI30LyI6U5rbKZL7BGeQ3zlCU5BweoXas2uwt3FybArs5CnBCtqJ2s1TwuJyM8OJPIorUyo8K/X7a1tGpwqx5H67P+laiP5EefzTm20o+FeUwji3XTp7tsK/KnFm6Kf/FYFQ4zw75GSc/DAXkUN0JHcZFlFLV6yo1dfozv69HYvn0EBEcHVvn7e+yLA6+oJ98TsBfmHJIYogvaPcdWKyBGEsmoO2gY/CCs1gcbUtV4YxbU5OfhUwemv48+QxrvxScFCzQGdl9guGDg+fN71X2aeqtXINN7XV1QPe3oAvfiEGXkawD9ysCjwU7dV2gyiXjtm8X3iB6ESLIOcRtxUs0HjKu1pLbFFzmFs/Q0aiDwp2yenxAXxGnOqovvkPUx3oKQPOedcWjs9r7l0eC5yosroRBDqIy8W0PgrRqw4zI99yGSdnE5IjIU0WDr34M5KCcy3bJtKHGKu7u3Skkig6d2jpPfHiWEypYofcc6XDNkjCfWp0cOV/iPwnqKc+LrGE3WMDAS0YkSAbyz6EQISlH/XuHKD8IUrVYL0kl5UnZimpVibhHPVUdi36QD7xZteKCjQJ9fQr+jM8ytuA7ZxcVv9aHTIhasDBwDnHe8/yBqtjEveVWdrezSpvmqj27M7xbO3on7T8PCCaTfzTy7YGxwgrTKDTlcwOm5+O2R7lk+EXb40tWXd4z5+d/zpVK5b2JnV9ArZFhWwA2UbqjcZlgC8T/Ke7ORtTSwp+38M+A3B7dndMMUBTcv5wWRonVppmCVBzn4AlYjO87Eb9cOEb8+7ptQC60rz9BSJwcXxhCleQqNZa3slCzVs4qTbX1k1AHz3xOa5cOiUSJXSjOqZU3AbZIUYUEAQz+479FycCExKmR6+e5rkmqHVmS4N/u3mVHI4UnCi2grrd3ePWdfshOIWKgAO61LWBsJvQ3xppPCNKun6YU4xMKCz12lGa2GmlWNnJIzpbChiXyL1NWqy2ynURCPEQLQXK+5eBOZLMPedjYiXi8vZS5qiRWQgPd/tk3S5sJ3St8H07yp6wyv/3oi2dY5PhcvA++aXtZnqqyhCcMtQ9IE0GTlvyxUvtr+A4TiO1uYH4nuNnaiX4tLFU/SQaSwWM18DaHJvhl/t+IiNZvQEPakTgAQ2QVuKKa2mkJPXzkzEuu9qit44YExWyrQHKTLecY6Dn+/eB5XCjrdLldzPuKca3eNWFO9vVs3YzBe0ivq0sX9/0QBOMjztXGykeCckPHaEv32F7aFcaF/nI1s7CIEEvI+/KD4FyP33hfcD2igVMxIAfnBw06IivDSeSAAmdp0TZ1n4rvySDpLVk8iGVkI2Ap5oXKcZed+ehCxKJDL/+7wYGapwt2vZSXCPCgjXWkmdW3f/5ENKq+F1oMJ3kZj2P0fRbXpiqCDqez62j3q3y56r1wcea3zMXKQiOgcDetwE3HjVSsJi3YsAMKx93BagRzpJR128Ge3QyLz1xGOc9pH8vBgyG6o7COwJpkHD2TBApGwo1pkAvoD92//uw8z04RGz5nT+QaWrXj29yt4jnJtrlNYc7kUq7SwvvvqigD1D0GRrNIxWVqMIFjz6cr0yJw1RpS8z5l5RIo4dc93aW/vmBp7E3ZpXeXYiFu/V2bB9kbGZrv7VY7LsMEqiAiKKpaL01B2ZBKuwQfRJHWag29kAbf1ERQo/xnGNy4/tmoiLnqAEQ1D922YxvkBsAabKauKXMeTu6HfC1Abeu4/EPk1dU//PJFjyipO5mWWIQ4cRuR+FEimwg/nNd+sTwpNcgTZmNiiGfZ6zdj9Ebm2VJTTIS5l9BopkyiFYVKSC6dIOqMopfEX/u9pnWa1CIXIS27j/nFR+3wPAn1pz6YFvBpQtzjXlzxgLB7YvldshGjjqYLVh8HcgBgq710qqSp7ae3+bh103YnqitRfSBaca2EcSNYFVaKv61CCSUylzsBm3TPZJJ7Q0pXAcdVyGixxpih4NbzX8Fu0T/TSbE1XPb/FqLfzP+vqGqVjqleDWLNuqTHZqkSxYeZIUXKKY4Y0qZ54AAZV4BCuAm1+vfHWWD2+//dubxCB2TAebV06f2alG7GqI0wmyAabwLa5K8L7jqQ94pKe4Sd60x83m7KUZRePZ4bh6syMZziKc/bOQ/QkIXfWvWNco37Erzkb6KG+0E4RMBDiXKBOS+AAQZOP2zdLryRM53G9xfCxv3YhVIi0QzPMsK+lk2vQDk3o6LzXZ5Hivbb1OlfVj3YhwFk6zfO8bDRU+6tEGTLtFOjhJwtUXV/KejK7XqIVQp8w01GSQ1+KvClFqoxBfpWv23UV1mmZqc+91vGcX8K970RHY5PIAtNxboEz44mxC7B8JNF2WvGl5pS9QF2dD+CsINSCGbSyQoU7EBEPFVlARwcKxmowQWh7QzYPASHleqfZHe5ik/MUNjE8Lv+6xg+TIesdfkR++bwkYmLKXItEUFv9XWqMlGxnAlw5FYBtLsCyfjOQzaIoNbtt90WY18HhkWBZMwt8fBv8ZvjzV6T4ZACU5o6ur0nfy3r55IgO960hoOctIDO38ouy6gikdIHG428AaAKaWLizZO7qENCsUKSH1nqJvkBrZAvU246sW4uywBiMsj5KZU4W4/BO7WNfNSjhJbH79Cf/MKQqT0AcWkYtSAw2WuBVuxTAsqJsZhYSf/6VaNSGlotMnWfLOi3ycP5kOsaYTRCikhlA5d9ymz6/XahwYloqqp4Lsi0fncmawjfZ6UCzqsWG6c/0pojdAd+g6TDMs3FL/I+7z3/WiVaJyKXFW2OkgqG4x2VhlSe87cT+wLyTj7FCXOG59PQmzPa/37CBF3E+8eD3Gu43BdGsZH/8M/jykUuqaICgPdz8EOwbgIyqfWUPAIMkYLHWeoaJKfYLNEtpbvz5Yq14PoB8eQrOFT4SB+BymgzvlGulK9YQjKHvFpTL0RpFOYlUat0Xi+JQPGYEdX/2omrJ+x/YIXvsiCFbS9GcUEX3hUm50rUPAAo+0lWPfpVYse4b4vX4p6svj4ncPi+3eIL2a2dcb0ho/YbO/En8dOjLywaOA9zz5a/coelVK+GRoZ4o6MKeAXd124DJPBl8iROKTePwPZ2NGFbGt43V1EqDR8fg5czK35way1p9CLv6UDYrA7vnpu1zYWx8z6+63KGjMzIthhwuY9inratetCppXohZPUEufVWgCCOCB706UD5NPb3+CDvy1ALXF0Xqyd0gy75pZhX3GE4TEH1W2xw71i0IhHbbA0s7+gQlZ5s+YZS2j0Rw/1ZyIcgklaAQTiZD4BeMpLbWNSwUCGoxrTj3HPLJL8LhCGVsJIlMBk2mpVrprEzsW4jzWdvVDjbpUDYljMn5azZCoEkP3cTVN/WHhIU7/xZzIiN8i6+70K32jnCfcJ/aBCD+tFPNtBGu5Yl4U8Kp+m+3EDvWCkhU6SixW05YBi0I0v1KA70QZRBhckYcSyqNCIZ7+NKtdrHPsaKZUXmv9ixCrHqk7X2wmom7TWCHc3CPjnnD7rxw1eftY1xmP5G5ywc/upeKKeqDjup7NRqv+p47+OrA0IR5UCSlJ8y3LYCpVlA6V/dAYkcfWvAmsCwdeJOvcLwbpUynDcR0AhbvhydERSzt7Q32cWi8KJ8ssYJ2Q/MgZzvs6q88SvpIE83hxvXr+wlY9jZzXQXYxlKowbDHJu8Lf4jt8mA7zE/6V6Sptm7KnWKlLghwfpU1wtrKDqU80Dneh2p8cdeOQVTk5lpY9Bl++x/ZDDd3HWBO2gBbYi6v6UJmxQHPahRv0oOQUXOSdnqDVWccQmLzA1IGmW3CY5+EnlE52M+YmgFu1k8wCjZO5JznapIeqReVgt3g2k6OS8DL0lnKKy+8vgx6+6D+k9LR70M2YdzJUKf2EI2QXZ+PCOZDvpHpzf3czSmm4b9fJ7PnjssCa4obvdzW+ZnSL1K41I3MADbzKZ4T5UDJMFd6o3/fmIvDbe7fJtuUR4p+ZKcX0E4bZF/wmeKKlLdIn8tmozeD8L7qvvoty4bj9SOcHfdzkP2nGx/7x96UEOZ+TmuNHlcgJ4AJXjWs4EghINhTyYYp8XDPWdeZYAYnC70JajN0+9i54zg+qybSLNMiWXI5abVbWEG/tLSRr1yaim5+Za0QzJn8CuDqC8LZKTn9AAHL4kTxPQQGT813JP4mMNECowMPs9xkm1JYGWkXIYocEN6GSk0D+0K8A6vTRzBR9fBwOfXQFR491p2MNfDZNzH00HpDr1uclzy+iBghz2EPwjet5FRyB81XeZ0/bocElb7+++ghN40epPCxmxIZ8Oaw3GRQU4UN/UJkCcczoMB7emCe/YVJauoz2t7ZdkaPUKRRyc4aXIJSHlXnMNvrL9mFMryGVjlhE/EZGKG59xR9U5G1VQW/LZXK2zQHF4JLNufBBy3yTuIHJTcG/sBDgSIBVp9PAwAGNEWecp0Y+CLwmWbiDqAlfuL/5588tI5EXcfnNaliOsCTHcKLWX1MPQZUdPzmme+jQOGbwz1qViX4KCggP27wH20/pMTQf0oqJ5QulRquL0hPnqIJAj4vUhoXpAfZHOraxsNDiO3j9UIdlZAbJ6CRwhn0pzMREf6E2VB8lNzvlnMoRepDA6NIsztJjVFAsQ8avU79M+G4iKzpq5agKjljBaMi1fIlm+OsXsGwAnTX0fe9fxiXupdeoDq4Jpd0+ZWIYV7G80Fv/KC+r4bVO7fazAhh3+DZUQbHylsUMab4s0Rbm2D4ec+ZI42elFWggx0E7rwQhOVcdQ5VAm/da5l4S2pwGuBBCu7yJzjmhF4rUiCMfvWENZyJrckvlZmQu5HMl63nANcup7LTFjx47uc6eyzJ3Ev280dYXtDljBF964y1r/Hy2OFA+Cg1DzRDUS7IY6swSW/WN+YC0jOgd25MYdUS59yOtfsqmFJL5QiFoetqKSKAWpjoKXb7BKYc7Z09Sxt73+QewFcYg1kgiKnVVm6Dt0qcqh/4Rhp0my52DUASuC9grNG3ZavE4hZqbItmm4GlXi6du8YkIqLzMoZdiUei4RNiSlF/fZUoETl2ymaQxXn33n75bfVkY7VmK/BzciaRv4focUv1LQWOvqcTnksxtdpVadfHKS74L0Hvu3B/zHRwaRdpKQphsoRb7xxkYzSpkC8q6E1obDPNrKbm0Patc3FGukRGq9LFp0kVBqentanAX/9Nm91WNv+YljksTFSh2i4aE+CmxB4fEsKHrs6HelOZu18nemiYr/jJFhzU1PQ5eeOkk5sSUlgX5iQZ2FaVFn7IwRsTYB3pP2SKtTrgoeuWvuhzx5LPO1RlSpq1qmrMo1JG7axHT5XYjiHwb9/YCzcZlikYnliaogS7RiKpgquRUTkghJZm0AFQ/tjKV7EeQP/8GL10mYCjlyQ0npyswlYftTWEo11s9/s+MFyJIeSFE9rSdAPe5gUi3fpSz5DNAb7fA+aKnJr+zv6hEyvldQGRr9IOpAioiMvLnsTNBggipGjML1bGIKXM+uoI++0HT+Xb2Q8AAMYdjRsmM8KOeHOJaXqIVp5RMVKHvAkPYIVQeRyExcWCJ3+mLk7P1us+VfU0bSUf7e4qjmI6IhlOZEN06UwNOr5e13W/AE0Zy+0tj998r60aVhlNKqFa4yzA4HKs52KWjYutzltgVDK+/NirOnSLLlcOWQrqRYWYHrurN1knTYwkyPgZ8nzXXlsa21nJgATBj0eyHny4Hdhr299pPwJQX9B8Rjz+2eg+qdhdtSw/PiKRYLEsVp9MwD/ThxRL/bzE2M8MybWXN2Shj++m7ShtXZRlQXFbJ3wkvmf8jO1bkFWwwBqvatSQ7ywVHv32PbHvqZULLHqV23pmwQfEPf01k8mzdzinT7ayEwHnFlOSWS+Ojlqbqf9MYzGY0H3QiyLjeVWpvAfhtwT5RO31lbOTT/pE+9VdoavrlVgx1CnjdK2xI3PuoKemRzLUvQL67cDV3riQte4nT//g6N+FMMk0QfbQHLq0rEMnmx6vLDILCEGbomwFDemHs1lbC5jcBkYdOxq3I6tmXXMqGp2KRRfY1gVCXagLeC3ANmgnS3TmnuGoh9aEonSZEynxmVGtYuwfRd1u3TgLQ8f+G/e4FHqdO8/UqIcrnecQBhFI4ZSnuGKTVbVUreYBmeFiwUWogne3mnrwk6XjP5u4akCdH741KuJ4gaqKNmKnoIrSE76qpq3t4VRoAqXByvdD28DaSzG7De43C3kCT9pI9Za3+w8dVIxHzwFWqnsJ3o+L6ZVTwYwd/roaSeVoFr6+NYtgxseS9BXfOQbPwnuwoMz0iDCft2pGPzjJAWdFYqKmrjZLFH1X278+NAn1tEFtl55Rbq6TCvVwa6HUuJGky6JhADSPbYprvG+nRrqXSyAuFbko+eXpGFp5gjFjwZbgjQKRFMy3GRshgGwMHuxQ51Z2aFLoFEtkv19VvBIFgyWWZhksf/YURpsdDZGkwqsIAKiLS8dvIy0fsY549wC3oAAfadHzpnVzlLQ1guGTlziI3h37zGjru1smK6sKPlH9W+02oSPkp8F1JdX2c1tIVroDFNUHM6DNGQ55gKvNw+DFhKMmCVl9Mm1bRoQNt5wXfh32suvdYHkN0SKbi0/ALXkeEz9wKrLqL3tXQY0Lv5doLj0a+JsYbRGL0jSH1YPwwRsp5dyU/XYFDDeogLF9VKZj2KjG3SgL9cQiuftfb/4sQkWdf9bELkccczE49jxgF6a+5plT8SjtuhuhWw3QIrIHoFJlDIeb400BFprAv49lra79PN00sT15nDbGrs38k+AT3fAJj2lF+uFdZjzwnCqmLEeDNIfa0vNm4AeDc8GU9pyiDmspg/H7v6UNTDkQ95DUvTcJPbMKN0PMYJ9khEufQ0DFX+xeCU0NNtcpmzlNOV56gg5sab/XeY2ZVYu257+qjkgdrp3ZiSgXENmST3K/X1PI+G2s3b0NL6qihKwJS846iLIJngePtsRMANPbK7uVAiLUXW09gtzV9C2+HoEDBhDLkaxLgHJhy9EPrl7K+k7TY3k5mOPJ7jmk89BMQqZF6c5x7ABO5n0gaX3HIGT09QomJoyteiM8mK9EmST5YpS6ZlvdRBA2QnldaA0pg1jyRRegqBuR1zMnPCPB3YKmBsKTkQXEvioBj0KLzqoIWwZB6M1IcojVAEjx/h3tmdmB1TRVX3pda7lwfHkhUr6orsgv1E4Drshyix7ck3xhrlmV/S0Z0X2WeAwliFRzhi5C0xypprPZOSILFq8j/W89kgVR3OpcXP64S+P18WogQL4wTgGjXrj97uAJx8X7a5+iNV54Uq1Oks1mXG232axqlp53v/pladEA5nOZWTKQLsjAJ52uxdhLzjcDSUeuLwiQi1sSUuM8ggUKbZ6YUs0ZHAB6RdctXc3YpSrzvO32CN4WuezDOGqZ6KJ3w78nj9vh+opdtUpCfMD7IFjrqn2L+HHZIaR5Hlls60dF5ZDj8wEETYBy8T6hz8DM7HDjYfQoo0h1GNBXLHt9IeI+xFYSFiggfh0sfOfQfjxD+A0rx7QzGnhT0tn6CWB4p49l4CRFlla9RVJ0t0N+M67UXV7zXIPxNg2RWa6zII/JLDbiZU4VRgbPqVey9ltaxYZLVmjAtNbHgEJhO8KuYQUBgHoYY5tmE9K9fnluy9/FrXZfMSGlwAd0bkCLNuuulJqTQGhgMCXJZuI0cGRctHOGOWVf/JeHE6hhNlV2te5FUeJJYzME8L8LiBGvvM4iqjeXQBBq2dNeo5SESSAlsEzE7Ox8bqfp89ieAIzFfRrzmLnVGqdeOSCBnmUaJFngkRXV9eBB3oxyS7OkWcdZoZnd3AO539khR6WktIpSx+CoU1vV0B8VtSXHZ+L//Y+0ab8sF0bUlvYIQQRNdUmv1z3DlOnvEgwDsSR5y03d1CLLkZtJsnoTg3mvg8YAmHbL8Hhy17MS9SYiNtPOr4PJWlp7fxttfhC54Qbc4QEDd8I/3xfcH1KYCD4EFYmmVkbzld94vHPUsAiIG61qPdq0YFdqITZJTuzwkhMYNYiLHgFTsd7VXZLEBvRMp1NJrq3jzpg2xnq3G6mttjojU2hcJFRhOc+TD8wkuGR7XuUFT6RkHy7N4D0UACFnlE+/JGB9bsijxYorh1+CEO+Q42lMkGtMyaFXa8vQ5kF/UT2j+dIRqAIB0Nzz62dCix4bThyl8Fn/H18YtMzDaUUpqCrfOV1BDBdYzhKenBSMesRaq7ZlL+1ikJTSYLy4QdSJN2AxAQ64PtHJkHWAvWYctyLxUJgBZniGL+YPnThg7dNeLb164yQ/KisQoH97H+Gvg32uTHnOao/CtyEOClleF51FqD3Al4Lirv7QONKQ53X/OeoQ+KKmKkoyYQ225D7DDpxEmr3Xt7aUSArICHW3VrAITTdrC1+/jgufaxjMa1WUWn3VCC/BCtqQx1NzvA9NApyxnQgR9BndkcA18SDXwAt9bNIGHJvlFC5jly84TPNleQrgzf/4WuDyjeysATdZd5mLZneSJM7+5l4J+h+Lw3uZRE3JRMS3k1P0nJv1js2gGknjC5lfdQFZpQPq4KZUnlds9TG8/A0JJ+8Z9oP++bNlUG+B/WMjFkd7srkMadJfRHsXElatVJmHxwZTIqayvuaCSCQ65yvy1Le0N6XsnufgoZ2/L+wkQgEgNgAYfk0/kf1Q8wBff3FkpobfQi7f8ULCz4kRtzY9kNeMldzlm0gZP4iKAtsrobPjip+ezCLqiIZ7i8FhNpmIzEfWWplEAGgrliwxnnXmvQF4jQ2lO75mzL9Wc+8q4jNCtVtWEy7sqV0DhH4E1Y6CIH598s8EWBkiuSPUCvkNeMSs3+3Tu+RFbNlE0yNCJX8GC3GleaFxmUyq6TShQBrDyFvLm8cI7fioU5NXJ94oFv091qWV4bzYWqlKeL0dQEmAvBlP8GJo0aDkdQCpctLd9nWbItCznxMoz4epGmB+guVBK/J5miOkRaAb4FNndAaioR8CLj1KvpcgDuQEuzajOx38FtJILTbeauCnLmdiqWky+mco8S3mzS1mwk1lpFSfkBgI2psLWUUOTOBhTM6FiH4kayuQAMb+RdxnC1DkCOluXCOd1zb1aoostgcSEOfFXfKZWSsh7jd7MVfNPLxxcvD+D3fN+I9KG0TcVi1+lm4dvxbuNvcv2JiDwDLZhEaoRSdYM6xw4kGjYHHjJJUh1GcmHPzuG7rgiDr/LhlxyznNkLv+azotEDg9KqFdF56+ei2vFwHsxD0sfFmDn53ovMxtpEVI1r/UzvOE6YifrDhI2CVyaDHhja5n91s/ZuE+MiSr6OlrwP2IGBWI3ZFX0YXm9/ws864GtNlPivByJL9wJWx5mj1J+Yj30EE93hc12Er6sk71Ur+SP5Qplpu+Davvm7l+XXXghHhewKXdoLQ0qpj9oh9XJjQidTnP4JGMb7t1z5lz+fdx4pBZNvKThYvU9e1ZMDAtGbILTWNnSOSHo7WCnwRBOQCzeJXvCBz57C11q4NAqe9XkoB70gamC6rUbJBWyirL+NlJnApNBE+uqR3Z8Bpw2G3HLMiE/rjf0mUyc2MXr/d6mCttKHhPC3BpJvgyOrQdtEVKScL5sKmxb3noM+5CYdTQaRfNaOotuhrPBIeSpgML8HBVTDUUhnf7Wrv8vmI/VtL7M2IxpE7/Igt5Tfc4Rr3BmmH8U+UhFfBkC8DZnup3JFz1FvcaoIJjDEQyTlek3YK7HYmrXPsiLYqW0FuOegIwX6pDnbbIJ0V0bCVL/Wf+d4RZDyKlfn8jF+JdloQoxX2OI2+aNxLjr/DfUA8Cjl2n76dSxQowNE4CV4e4d7F8hJaYHi0WtGFvStHA1bQbhBkfUa1qc3FCCs3EztCKh16jo729WfiW61srvravaOdAkLeSy0D+vjH5uGEJl7VDJ1WXZJDpSSRbpyKfjVx91aJqRhWCh9R2iNZ1Ic6NGYjlp+WjV469SB/boK2SIys+N3Xv9/PIjVdTA/ZuATugBV/66hRJ9T/CUMl5vcnIEFDz4T6qFn1xr5XChMQ1WB9nGtR1EiyTTEG8hec/q6AATM0nAl1b0PKuP7URV7pDUuFFRtz6Fs9iD0igK98zkz2gWKtTNb8apxajErRnvbxBFeFrwbRSHvrZvP43zToy3v7d99A/GXGUYcYmZMuZuOJV7QdrzFez8wOWoXBDBBE3bTfNGmToN1HLt805efxU4uU+2AlwscKCiU6kpKA+87x+oGUXKNfkXKHwxCJWNo4Zohu9LoPxp+IZS1ReTXQcN1ju20+Ou4VS/hdesScnxWDKkBYvZsRH3rT7/7xEgWEzx8JoPgFAxrf/hCwnMX23bJfTwvExg6JzF5dS0eERhCVUmhg398gLNMo2LfXhpc9KSonFkj9h8vovbLKLQzVEfktXzD/4rCJBmCq9fR881dvIsObz5gwkaO9GvYfWKvHhUG+MhrpQsv+qTIJwNgH9nrNiLjvSb/Wrljq77cmOXIYFJrPZahhCL1FOdK23ofKQPKButr5p7bdfNDyhgKYeSK+ZWp3gK67eFYupSgmodPRPZ9a3KBx95ksx3xdBY2BwWYpljL64mRZ8f2JyQ2EL47r9JQPDC1QYwpd8DXmzopXerXYCNNgb9LWP5TxGGamngMoN3uHhHAtKqyDi0vqYS1kZRo4ko1ItozJ4h4ZdgNuov108Q2CT8n73Ga6jNsoTCToD0isslrJurOSv892RFa4m2Ytseh2bDgtPE8ZSiisPmLmO8E26b4h9GMsrfTidHTXFKS+08240Xg0wpzGFwtsb8BUpEyprBlLAorOZTd+kYyAYjJijQfVhJXoJKfgA51xe2sJL2X5QrZSYFRnwsm6t+sLANHL/njGQF9VK6OBjjccUq+BKhmVU8/JMWrruXuXiFzW37U0r52EnceJKfaJXr8Kd2xXNp09BLfZsuhQSN47ACJQ+Ve9byLH8FWf91p90gm9G/Ee3Z9woNpLXXgH9lsxqEpO+zlHJ5G7tfv/Hrpygm0un07NF0hYkA+Bm6cGUrr9jgeOapUbEYX9uWapoGzEOEvd8mBFXydLvyd4iL5JIz+o58ooNVlIijvRCo1w/Ps0Sv7u/8qS59kjLVGmryb52N6kPAsdaSdvqhC/sr6IJoGLltFmeTPJ1TLO3uUBy+r0F0YHXN0Nis6rsgdfUtAcPjw/ze542Gc9m9JJKWl45Xf9/76YA+i8G7xtGDpdvYQckkUxnLAsaxzZpy5gy5Iz18bj+tPlRCzDzcbuozid9Np50jnWEerpjC7X/3GooH5SISlAuZz3srXn+P0B9ssGH3npq/Z8mRJzcKlniltmKyqTHjgSMbv02F52fzneIp4kwpqEPsIKY1W9Q3g74UIMlClhuAwZVBhNDisIusMFs8BwM3JeJRWre6HU0/W3UMuyIQpXxt4SoREVy8QLt9zW7+L6VzeHq2rmSmvKm8krBYVhwUqyV94CSdrp5VgVplnIOooTeyeA10eLqDuroDYjkIE/CwZCro4sLP//6xsmMCT9Bif+h/27YQpIgC0H0ikJqW1a4NktHExcNwat4VfOjGwCmYoaiUsn1TgadT5jWexGWSQ6vfJKRJ5mqApqC5iweYg72ueUOaFbLr05wEwUdF5CICMZoHs5V2Uz0FVmrwEVnPLIE5UqsOqOz0izboswHW/5Y3YOw+8xNxHz6aQI8oXYO87wisKymQkZ3dNHmF97/sdz6FpD51HA3VHFijrWkIozPidIENWXYsRdkyx51ST8+njfyqTv0ELy1Zpsw3gPx0MtuBIn9JBOiV3s+bI+RYBVXpzpxWyMH/N3Cr84ViYI3O1oHzUxasbv1UggFpm/tFMirM/8UWVhVWvBayrnAKre8uJQTUbk4PV+bSAkrWQWgAX496AlAIksPbx1DhsnSB+gU/7sRe7uEgaLM2Lc1lj5VKalOLOyGfo3NQFE7tWc+l0jRB0cfBJwapImXm4CzOVlY3bA3UQOsMH5OtVdV4jV/ajTbp5Bu7Q35vMUBbQr+XIN4eBokmbTDgT8tIbKZ+6Ti+xeuaJx44kO6CHGzkpvn4tTwFhI9UBdVIZT9uPnkSIjX59a6LNVQ+RIOwlXfMgV5/+cwN/FVkbTiHpQWhPocRFe+L7ii9GeiEF7AWwWrPX9p5CKFOWE/zcj2lubuZjtZra6zBIWj1PQvmvw1XkeztLxuu4IG5RfLY/tkzusS0l22DgDbqNjC2mA7dvciufY386vrleAzk7J/APylI7gqzrwZ8HSkQbb23bxpFLnttX4k04tUO0sXXF2KDpQj6gy5T5F67Atv4jqXcrNZ/1Aasqxt4+mUGrPsR7VVu6QNrHMqyLqhDiI3vdK7e28Pcgsi1KldL2i9LdlZZsmcJlt1YXCI4JuDJ1y+swCW1Bw3YfSxqYSszYeuVn8kp9ifyvSe1IysdICOpdmrVp99gSQBjnninDbuUefXJJhKYVnYjswekfO14DiVOz98R2l5IFY1czW8iUfVJeyqLNrM9Dw7VdYxbk4U815N7dgBz7KmGBI609jdgOkNlPGm+n17RV4hky4yZ5IvbCz98UKkE="/>
  <p:tag name="MEKKOXMLTAG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ZLBIFgxdsLbn1/lUYeJ//1SWVX6cZUgLqB8IsK6jFbbgXqPhJR8MRyZWw2IQ7Etkf041VMu5bHjntvcMUpHgbNIqw2AljPuEyc/TpzvO4q/Hy+kuWx8LViy7clylSVI0XW5OacbDKrZge2FLzCsXMv6k0qOHXG2XANwvLQiS451bZo+rv/rVscrE/M/My+rcFyp5KqP7W/d3Sp7jKcMcEvB8gCAsJVafmpueAQSEGiY/0lNcFbjYDOJAgQ0/sRDzQvwy7r0vFqX6EZzYdoqJosi5serzPI4XNrl6+jFqqy+f7Rnl3hpyL0yA0sf51YoE2kgvmcQK1YBJ/sG1wiPlxUjm0FWEOEMmkdgt35IClmWJTgH5kMPVAKqxrUao3CfbSGWNddA/tn0p9sQPA4yYmOoXITxwrffKXofpvlDySqB21LfkAJEEvPk5XyY33S6sWixf2Uecvd2x5UlELfTBsYLjqqDasrfY6yzeUsBVPhqqkQC6pRLG55bMxifixHKskMhz6FOpI+jtRWMzgUZn7WdF8rfarGr0mvLeDevLfEXwJ9jfoWy1jVA03B6PWZO6hnP5ZymcWHLzmlIDOXII5YlDZNMqBZ4v2QqEL3Qi85XBapsD5c74h5q0DTc2f4P5evoXu9ykN2z4laTEmCTInWtjhyTpCyIt9FDcxRJftPHKhA0ZcJPEInjriScFTNqeNtM8j27tTltLm1abGmJblj6koTnScIxgPfjLa4sVyxj8kx3jEgt6JboGo6OmKnt3NtyO+4XabmbC2+bih5tIwG8fy+W6+LQEyMaMRJwHAf8B8SyA8E0KGLz2rN5dScAGOqsHwprz1iELJrNQawCw0Vaq0GagTwzrp/gtfddlftjHChCMtcSZUrvPw7ZKeZG5VSn4opnoj7Yr6qVsegjY+s7Vu+hjp/DX1lEoirsrjx85bUiZA5eQktowVpb1DaLwe1yfByJlWxjdt6dXkjlzgL+D0ra72dwPn41LupA7Yo+v2+CNSRgqZSjw89hXo6T2wedQWM4l0T3KwVpZ0HTX/DIT6ET3bqZeskLU2YiMdzqEA6JOO2Iph3uQR4MmD1xC4pry/aVwvK9cRS9qfhNsetIcwf++mBSZ2eafwsvVmY8GIQz9KqkYMIa5zDZZAWvyo5dkb4eUxD+4pE/kmWcBb8of5wuEuOwcOqDh7KFovmycsvocer65dWbKfMMb3mKcfaI3uxXPXVI2+BNbQ1/3aDk2lJLiEkWJTwGvFXxYUBHEYAQMkuSQnpMnMyvuNoBE9uE+gvfYmFSuHjpshTPs0KAm93wODMp1hbPzeSo7k7dXsofEMsP2GYodVOCG9kRI8Ghl1MOeSIk81nULryJgs2bJXg1Ag0oAGt6sY8iblSSZubi0KGLWqYEbvlZYY5/nfcnqGElAV18YnLtVIBpv1DIGIOgRT9PltpdDZmjud28Xb8q5xMhZhmnJwuVKeA2/Ox/dRTtDjl8xPpWH8cy9PglVzVbU2DEhchdHvw5JicYjb+3dF/MFJ5PVzUZQ+lB4Wy0cm9Hu/11XDZyRyFCau5tTbZZvZnFcfSLdupGgY7eXcIZNqeH237bHPlsCbtYKtoCa2azLsCUckPtvJvzdoC92I4k2TN1CAkL6t89m14hn41bCZAnGdSXBApnV/q20wcWpmBqUUwhrFyYG8yahrrJaAq+hFVGgnAv5G5bLhPwNHfdUOJsAojfB3CeN2F6FLmDIdrLdLOPWIfh8S90BaMJhJPLXPmN0WYokVDqAcphPaEuwFCyEuv69U6ALNZCe/yIAqU58ihutrUBVKqKbrrU246D6Ldr7YxJxk07DKs6E9nW+kWoshUkXa3AZp1iyAWVo+c1Ux1qwpdpZHsCZtDEkKMpZY/C0n9V4HBj7aeJTpATnPmYKBkyZ3+c7SJh2uwX05ml0LP7tbB8xBuncNE78hseCnSoQeU8NQjjtvCVUtC3f3HJynz/kokKxLpI6T4QwJ1ZdZiwIOJKBZ8pQFFTZwriTp+fqAv/Td8EjB/4W0eEULTcioD5bPFbUPEynS5G5X4acHUV8t9+Mvx+rHElB0TObLKX4E7N8JEpHYw60asbmst1Dsas3BGEwZwGafolgu4UqmO402aouO2vvQaxWTdrEJ1IjwAEPwhMIWCBDehsAD1o4O9Vw4AnwgVweg2kGi9OLj5kk3rwHNY8UKFp93DY0VTYmNd/00CAtRog1hN0XvlFl9CHLrZGXks+KakRE2UqL78buekF0YqqbXAPizEHrVO9sPRRSiMskpqpgZFNkIKj5HY6u/WfEosszmTZNAV3vutA36LbZhlUwPamqHWbWdt4H1p4l09SIeO5R+nR0ZhZCLCnLP5WZQJQNJE/qlhfTp7sgoWskq+6t8Dwa7R/sjMXmiJhYzYRr0UEKawQnkyejAGHWw9lLayV6pLLrMU3MH+tAc5+YY+icuugWkMKyWEQZXuepDVN96JZrv96vd0Ni1bevIo/0GOcsiwA0LN13169E8uZfnKlV4MiXwXYHP9i8AlTJ1D46VrMbftAjB6B3Mf6OxmCqzywXIUK34bbr7L2OYmraBG8IGDUEouZQNkmESmnRKCB4aU2z1SKBB2bABEXVeO5n+tEJmbupXNVpy7nydYLL2O7rWf07Nfy1DvnuPQtTT9mIv7rnJV7b8GT0yvuBbTTQDbyMioVO1ksObfcCbytg9fYi4O4CL+E7vOAY0eoogwq3QiEq+N6oqnLU5iixFvqu7Sk7RHcAKCxBCWPfz6n2N+Xjlv1O9mzo1x2/jg3sHUnxNePLQwcbX3ykd1/jBU4CcCJ7PEPyWh/fbOjBm/VUKVoVdBgXarXfIRLoPbc9heyutyxyHcjNSmFPtaYGEHqylQ+QvCk/69zC+xOBnDI0ZWzq3sv5ksQU0M0kFsdqOHsyDjzyVytqL+XNrr7cDDpGEECEDApJ4jpQQt2n+HDNFE0t7b68Vob9gWF003y5C52XMOFZYDTIMxidVMySOy6zOrHWuR4DZ1ERDUD0X4UyZHqYL2U+8MaFT4nt974tpC6ceVwBQbob2D0fbTj8WvphpFVlL8lkpX443k+PN8MNgscChJgTp3h+qAijwGJdpQd96L1vgZBGKfOCUEnzzfU8qLx5vRGwAnzHNEJQqGwP7VahMd/Z4SnEyOBoIaVxGe8JVP+P8ODxgTT+KQnzZpLJFpUH8qchNxhM8hMcwUSEio+Fk0lW1xnMWcTrOZVDnk9qshtM4+ke8tdA0CUvWUoQxnb3K2CymjjNxjDX2zobaUbtJ9seEPsUdYOisgWe+cdQ6Tqgq0G1Uchzt101L5bRyHOim8uaXH25ASEEmct1UQ+XnnzetuEpXpeBkeNGcU20uUj0dPZmS2hZK+ufyvfZLisPux5lUFJ1reaHVzNCH/KwFyDK5qpD7hm0EZMiE3ukL7sz1a4G2f6QTfvSakWR17JqMf++JWtm+0P/BTM4mmfDWBowkTwClmuUkqe8WvyTn5+b9rQ245qRrUZImSD37jqqifDMDon69yLFDJr6/mm4a3/uHMWAVjwXD++GXxXMsnAzIxxGGEbkb4RrMd1S/35y7hWX+ZJOV4s+lJBgD1T53NOe638WMUT7s0N7Bh/N7go6zslMPzJc3D4NxPf16vnbT5O4sqODYjW/hRJRluV8+SA4XG37jWzTaSv3secaU+Jou8e8RZnz1+s8muv1kx3cDoYWqU3g/ermDgbRIiJrYpq0sN921TYJRSCCkIFuFB6gQqsDpgI+tg5SFvN1ibxFBilBQ1715sC5aY+aW2UWgVZsQ29XLOVbfth0k94TU2JHZMn6iY3wrC5mwKHH6FcQT10Q1we1njDGexf/isl9mKzOoJog1XrR6vbiUido0DhnBOg/ISazB5DnHOoc/7y+F9RTGtva6K2n/WzXZ+xGyLlYWYDq4luCspVpM0C4x74ALP/j69JEwh/rl+f0dSTK6FKzlfZKUSWVlRS8+5QB/I8IQbQMlEm8h9DtHmzoivCRK5DeLg1pFuwbVeem66sRUzjoZNyqbDR+w4yglD/lHKQn08KLCdH0Va5/3uXUT4QICXbGD9YQyTHLY7AMpSml80alInbqdjMkDwXwFFIM6zgpMqJ8H8vauA/UwGNxqF2dXF4mJHDHs6gL1L4WS67esfi76eNaj8dmOdYbB+W8Jg3ukQI2z1n5L5gsMSjC7wImeZ5Dk5HL5u2uo9IBKhpYC/N6Ne7MIofhAhyPPkv48Simud9xTqPaQxQHeOAHMbVBVtr9VRjyCUDfUEmTSeLjrmcBDnNB2lFMgERJ6M/x1Mo61VnR2BoUCR6jRjE4sVZnw+9TZ7Ggl7kkttU6vhjLfC8IGJV3or6JmHPkkP5W54+VdHVzwsmOYva0ypM03ajjjNi4lC1gJVD5XgarWC/sDr6rQygdVQt2gofYAonbES+hQM8nIERLsJqJAzw9tB2n6YnrUywD1YBpl4ETExLceUnS7tEarEyyiPAQi7KjlQLTshN7MLRlWpKkuuUyx1LKFap0A1EoVx8JP1yzeZoxrX1h6a65JjnpXHQiSM8VDGw+b1kKw6lTzqSa7MgnUbA00DBKXAP4mFQWO9/cBD0SvrDMVclatGTaELQomw/WKL7Bdj//Rn/QdQ3OtCOIbPtn31Bx64gxBOOoQRZPRuSKIo1jzDEiJ3TB3ebCXajScBlvFqZhP1Yux6qnbwpUOM6fnv9q2wsi6LuD7H5xD7/gP7m2S7i5fjbtTt48Ir0uAV7zlaQxNitEmulSy6Gz+vKmZVila8395wfwDDUq98gapPq6ESHbf+UcsLsNc+FBeaT+riyDJKYd/BJTvAWPJbB7LZMOqBAVoj5D7L3YdQjg1PrQ4H5LquzjCnqMn+oF/zYObLSzZSFFjdpr5U+m9f9m0HMAW5v0xInx/oqXZmvOmPrv/6yRPEIWB+ehXL9f0Ii3Ene9argvBh08rjij/oG9GgDHT4ac15t+pocDHL16UcGD7aMESXHkwOKJKmz7DGEi6Em43qRH94IreLFXymnxi7CgwssjTpLNLfzOfUpTsh/4niTD8txnJZOKnbRDau9LCDcHRvu6CQbQju5JDFs+jR8qk+Ryzgt2o0nTR5Zm1KnoN5vVBPlZ+1oPUwYVG/sdEojY8ase8ym0WT2yfr5yMN/UG/kCCQFvnrwQ1noRruAWVp5MBkMrx4gtjXee+cQ+2XTwcphf53oIzpM9un6OciGABd4X0yLogb1OgS2zhkFSgyQyv1NCmHSUD7rFLMYp9t9IQF6G/Swa2jyO2MEeMoLKmO8ABDgieGz4ao7GR8iJYwBK/T+/566RFugU/1WEG8D/Pl5sCVyU0Z0BJ+8H38b5g8xzazPCtSjVEpUAB8UaX+6YhHhpp3ZRjT+LpxF88Ztys4kdCgTqGC5wWZIASjKc5UeazpDuK+zIcM4P4LhX4D0qjFvJOaBw3ZyZYgUBSYgiu1VG+deNpZg5j+fcbIs3U7U4cu+b3Q6Or4fB9GwBB82aZOCbGoMXZsax+E14uqy5WKlLO+9y5Py4Pdu2ShdKBxgJNntJcYq9p+3OTBC2cap0/kTYdtx52jbUAMp7bNHHmJcE2PvhwAaJiGyscWBbFjbv1S2c3DPxVvhXkIDw9BBW7xMk+1ZCYDGUmgAQfUGWs6BVx6wfRPID6Z3R29LVWedmO7O8tMh5QaeJH0Xju45jHczEbS5mO81KWq8R4OyjKCO/86cSsql889iou3bsDDRgW2aWIgnwq8YN8oMIxeTndai73Jqpo7PIZF/Nd9Yj6O9Yzksi5zlxuOxC/DTEEcSHouHpQYQzjjblW1/deql4A+rpUI/dggHzo0ulpMZKiTh8wOwxQdMyAMkOz0XlY09IL5P2Cx8ABFREGYPp0eWFk0CUXQYT+X460T4L006iMt6mKTltf090gMqjXEN9OAVf9XO3qdWgvBtsWX1VuSL+hoXs2LFVLzQGg8TaLs+H+M3IHKv+Lx6ajlAcsyDpGsDSOihBhEtJKxGpXapAO4OuQJnLeMeq9Nho68V1SJ+cNKR6yhA4vklGe8W/k1ApeWm15DLH8i5HEjkaczvl1r07AmtgsbD1V75Fg2t75K93rEzN2Qu3sbFb/XoD1wOKk16NEmPrekP1DAhMV4LE0g9uAXtTH87wTrCRQ0ckf4bPBfftLI6r5Wjpouny9GR7vbtCR4bwMl4ezTWgaX+WJIfSziagMadZr+ucaE4dVkK5J7ds9WjjoRRoIew0Zdv7GmnPt1VGovlkPegRNheFz22oUWe16xaO8btvoMxetS5S98pYkfxHfL30G46kT8p4ETCTuUN9YN3f/evyE8zoVgPFJ8XFmnvZfyU7O/LROVAJLzuLC2rzRB4M8YKl3tIpFHwK413/YV+a/+m1eVS28RkLDgjElhzmmalFhff7nU+3Sdxd3tvViQmMHgaXE+twB8us5NiFtsNdvkjek0wwsR3J8sk1EUvaJ2JT+D3rskzMlj5mTzYHfW6ZIe+x3b4D9+fovdnitJVwxLfbLmQ2jESv0NaWeU45zdw5O8ED95d1JTzmlqnt7lvZjvpEghOABYfyIp3DusMAXfQ0UGJWx5MGY1Sw1oeUvOVhCLAuJ/WSxXSduMnOH7bwsRtQp8SnqZdHJdTIVNz5J0oz3sjylUbkA6lrJPWUBgcgoxhkSf/y0W6KeeHjx9IEcUjvz3J/NjMpHB/0trlHRRNcsGF/0CYR1Az8RW9wMfBVc3zscpJCh+qZdi1zMnediNHXBOY1/KaHpEvIiAUS3qWZj33yGn9i9Hfb27OzGlNWV8vjqsyBzsuSFXRTT9TJvGZ/qM6+nookBOzYgeyPoaH5KKXFKqDAKt3n4ekWGe6ByBskDHEqtRNAQz/4xxvjoLRjPKtmPh5lHVym5Gg/TS1BbJFqP5i1O6eX3xW4Vdz/mN72/zyWbwIzJEhR1LJNIC/EKh9r2tvkZMQwFkmKQ/Ap7jlBbizQg6yjng776SYp0aVM4f26oOd1Jek5IxJo1vCpOZ43XDOS6s3MNhggwhlB4TBByw/zoPBYP9khQrCTbdUSCbgTJ41s0po1zIHLK+uqxtrNuWaDGL6JSlovexHZfU3glhpRwL+snGM09Uhb+JWwaiKP8lvcNPhSbLlKFCz/6U6VGWDs5AV6RV/qzVPaFX+NvQzTf0Iy6RLLkiCahG4Yr6xdNBAG3Ch0MenQq6Z+uxRONf+TNkXBDgggzBt3PJrNTJ2/gcZcXugf7rOPrvZEHajHUO++P216yXa6fpCRicZz8kkLzo9XtP59l4lygFAG4t2gug4AqXx1ieY0t86a6NX7ouIsKHbWTMKyHuaoqbfweKTWdj98H8s8CXPCrElMdf8k/onW6XKuqkDKlvLtG8rbsozXzvcFUykX/TRLjAK5009aovU3icMUUMO2lkmrFjO/tFs984cIVT8E4ERlA9BU72WIoFCS27dvgx17GWfJyd6OCxiiNklMritTeZRThw8BzIJTy+rF8UQaFHQWQJtlxFXpyPQ2OVzdmGPVwOJ1DCkGpau2yiUroRN/N0TWZbVQgSRBS9pa8AZhsZWeaTw9HNDTjoDwnZFzuL5gT5IPynEBowJXSDhBXJ3FYyVdTeLzmkrIRQ5x+u+IukU0O+k5xVNBHaYTzjZtM03pdFMXoXdf5P7xlTkcwHl3tcm4XczTy4HfoMAS02KOAFA0SXPlrWqZQp2ZvAB1CB3nWyyndxFugmNtEtzp+mHsOunKNuXxKtrJAYlQwgPt3W5ImvYSGFqfxcW2mhOdSP/T9bB3q719DZHZknPgzVorsJPgjVvZmzZYvcdJwOY1RsbF9dYKLqVz364E+zbe1ijzfsp2ybhfxXt2ded580CB0JxFeMrhdXCNKTPfr1WT9Bm8xfQC/SwwMmVqeNW43i7Vy39gGnz7mleJc+eFv5W4m/DR+zUTWo0ROL4ZROO745FNm+KQPe4AJRXOpj1GKFornhQ8rWVN2HG83Q/L1n5MXy9f9Yss7jVEfpzi4zadlXkOF+dOfguy6MHqM0Pj+WQWSNq/6wal/E4JEUe5LHjgs3BesR65pIuemVMqhsD2z7lFBKW+Qox6xpm6GEaz2GbkzsKIqv9c5UaJMK7w9ebCHPRprlNjGSmHIdmQ+UFve+pTl6fu7CGg+a1hpIQWMEkrXNbFbDR20WKjUo3YmUU14/SIKLwChbUZ1OHdKpei8bEYu9SHde56WPmpqX+JmukUM8TKZ32FjSNoPl9A1bw1WH55DDpPHmrkoPms+e8lmM9SnyA9snKvlTITgEqN5yBT0OQ2RcGT/xkTriVVs1feELdDwuGPZD8+/5xNJRZbbCR0LvIXU1lzP/KHTbCWlBjCAm2p03NxPbdAphj6WNxpx3Z7NS0un3MNdJ7xyrM7qTFVJJKtvzL9tyQJprABF5d4iGA3XhR1S4EyyVa/bp0puFXS9O1TaBqDs5pSjnlYdchnfvGovOmRAVYbjs0B/sAcUOYmtfEXmWSc9NXnTga76vIgY3WeCHZ7udOqvsSvdLSJQMos39OKfW4PS0VQ9XgyJUjekBjmOM/ahWXZ9ic0QccDqyJ5UsCwBgj/TqRj0xRp2G2252cBqI5jtOXJ9uSsKz5tEvtJu1hgxZHsnysOnsVyZzeMAXXcHKcO2WPjCww7rtXMa8r9/DQJB71aTlaAFfE2ngE+7LYlcUqxK6CoEril5sup8AzVcC+/o89xGd2qK6DnUR+ABaIJSEJm6n5kRvlNpmkx8YzPu6tD/DDNgQz1fzYa1YpjyehlmHm9/nUt0FWH+josXGWhdac0rdPkoYARBoVZnLVqc4zGnSZE8aNqyw78ff4ScRGxT0CTsCItS2GvEOIDGeG8ErVYkvxIvkWslzcnehrqHG8prMwejxOZCIWQ9h9DHbxN4XrcBaDgbnaAbAClYxlHbmrNLYRiG9c9V1j2WQnlsPt79WHuyyVTRM7uA8Xti/KogyeUMd4N9/qOo+0QKiTvWBe9G1MmR9dluyvKx6z76xER9XK4WnBV4Fm8SV+4EXLAUIZnITTxuNNfCKCjgaga3O8cnW5Q8uK3yqB2INyHHG22yJVYmbN9eeMzfLOiFXqQWHiEaJmoGVJfIwRRxwsX6laO3N/0Q20K66foCe2HnHwKZGj61E4BgGEGPf7TEtlOFh5A5QXNSGM7wZRm2tdvXUgQDalYf6Ge36O8PsQBrUaEJ2ZPm8/yisCjpz8loNz5aNL6wOol5XZwkRpnESOZ1m+8QjgNlI+Yz14PDGGTOiZyqtydE/xNaJIaRIJR3yv9Jiz4lExk5tIZjacaiaUEE7uH6FGFw3YOlwFOcppNnHeG6t5Ir+Qf2NbiNOZvSn/XvGK9FxBRkBSyLGN2V8R0Xwu0PVnNt0JVl3dDCdMeAg7j0aTQpV6DSScmMoSEl6MeGJh4ubsdTnils+X4XYPmGtyTpK+0IK2Wlw1JcVbJ8Kwk4TADaI8d8rrsXc+qM40TJmZpdwNsBVpjPCou4VWEBUlwn37PF3HESZlUkxPce1Sza73giiqYbuKM99L+/LYw2X81AQGshHc+JAeWfbtgpMaMSb5gvPSEqjTJ+fn2EL2KvU0YgICJV1ddeACVKlb5Xo3qDuIdSkiDdRMyjPQsCs33fn6bJsAt0GqSHPU1x+Eld3P3lpTNbf8YTOfIGyjidZElSHbr36qMo1oTNpNHzbwOcYIxaeHTNrEIO7ssTZhKB76fD1D04qYBBildExk0HBGIlaOh96C2MhOiCUN/XJiVcjed6lRNBOiNPN+1EN9PlEz0UtzCFC6BVclCip52e3vCk9ZpzJPjJDcQzfXhfZzgKPypRKx7jAwYBlRd4PGY+dFyu+6NRgJgN65Vf8ET6D+IFGxZMJEe4RP1mGaLxHugvwj1mK9IsFcE/G3Er2wF2g4PzHpY1JGL3PmtzF3t4VEZd+P2rXpSZLOSYWjaSxEMe3TGDQObR8gioXQfI42zm3PeFe+VHhpBNKYw2BdLWsdphgM6ddYLF8Ab/aFoqsaf2MNkZggBbDi7unyfRsn0FaIBPY90yOA0wDF97Gd02cdICNJRMrKvvur0NebyZnqh7rYzYl99okYneDGadp2eMeQRwYe5Mm2DHSABEbLDiCE9IR9G6k+Tc+I19Tsf37oRDwBdFrR6cPKjXti+a0YeeZBiE117qLIjDxs1+Ev7KGfbAwhZjt7i8nAfHEz2e2yeiQ+tUcJHh+vED0GkEKcvooVt1Mv7TiF+VDqhh30u8nxrat+9nNY2ai/w6nBMKiWOtWMywZq/YBeF2ZGkS5WsFwqkh20YuaVexcNw4IY7WowqySxnKUZj6tVmlEBLQFTq8XahIu3eeBuQT75B7ByK+EV5l4WXZJdJC7t5Ujn1IGDIIOSfz0MSU209Jjbcx9cY8qKwafLQJXbvTt8xuuXnauvokWSRKWsNL3TxoXhC47GHX+tHoRXBvCA30gYd/ioBL1yFLAghLQ7YhuZgtBPfSgnIot6ddEexVqtQsZbGzrHe8FJ9Jc9I7ea/QhN9zA3uYFSiiWjmoxLrF+7RysJ388DPsI26gzrGc2LIqIpai9jpjoFJpCC1olbgm1RhITfxxCYuxINE2jhQsJDNNwEcrrCXZi7H6L2E+fUIQ/zTymSxqVmggnkWnbvC+hPw/u6FRIYCWG4fxtlhFM9fZ1L9e2TKVjU47h4Ukd1vbc6fX3mHg1ToXQM6zaEcq+fvse3ovpEccbY/sehTt3FnaQDtXnwrKT3jRGjmETa/gZy6/eAhaLKDxp4Z+aPeUE1fLVeQQvFOfL77JIvn8x+9QEACgFF/GNT4T4PZu1JxW7nTM3a2xMDeqXDqR2wtyzQD5Nw1A5R5FtPWer6Pmx9p2iTUDPv/lounCNSCR4v3EsruTyJ90LrB3Px8+WxYFt9AMwafzJBR3nyu7rhw/wk8JPPdkEoK7UPN1IUblkqHKNfZyEDZXjn+6Y3WFr4LNz520J9aL2ZQ/e1XnDZzXFFerg8ry5vFoYQmlw3qJR5ZavlwRe2FuAQ+ArEI6yQwl+yI3E94S0AcpxnwPy+dXbn+FVV9vY+m8+hekecH1ZpjIPe0087z15uxBZqMrOTZb1BGADkgdDlIqfxhqHPi7zJY1XWKC6YVuxgifJeYKrJTawwBOf8mD8OUEVcE1alVee9xbrfBAffDGVsrg6A8/fvxFdDfEotE4IoiekrqhFSoRbqxs30H7hvk+GKb1T/J2w4XMxzGRRpJOloEgWoUgpzG3AEz4IlFAaKTX9HAED/voVt0wihpj7xA8/x/2Gd/ANb/wa96Z7BcvaN+rhXeApcTq8WrXkwEXXYlVWVz8sWrJoZWD6RYpUR2DCjlvQs9G7K7UGV/0/PxY7wC//ntPtX2HllGeK4ltQ4AyEEDuoPlOsHu9linAv54VdRlCSiMqUrSUl/6Gg/z1HUJ3eDuqa5rCgoXIIphIIwkQ0guBwJE+fkYi1IF6Ae0GndEwwb+eJRctbn2qAq/kQE5hXe7UKxa4mBpDzcfcHyGk0YG64Mq6T5Ml3YBJF2ZsI1LmcuYEZFDv/jyIuYKJyNCqCinqJu5RCNtMWSD0FqgAUBTAlrGXWVPxyGvYoZLVHByQNjgDOhdQLtr3xe1gNJFloCp7HeNyGRy9IE3yb+kvEloYsgFquw0FrUhyP+NhIgpqQ6mH4gIAFfa3WVtMBMvgza3Qo4OH4iDxDLduRUHDB0Reye9n1z+FFvLykwaQ1CFVVl0QqaapA+1ca0tDDwy/Nqni2N3MpVEsBMc/RyyGG5NVXHUMZhRvuv/efDSU4UHhE1I5bOuz1krjz32U3wjJE12ZTjldYz10F953jHr9DcbR2LsXF9L+s5lATfhPklDa8/mgtFmMP25ea9DLTLLgVU8Y/s/fpFp530FqLHXs1055U2NYEwuti8tE138m0NzAU9PaWqsDNC5h0BqE2t47KqXoQcgYZMb8rkmCJEcHm7aoenKxmws1ucZTW0Scxr26RZVTmCT8//lxv1TuIWlghQsI1Bz/w94lygvOu5dhwOxc54pLYvuV+8yi/0ToiQsuZ9yB+CoDVQRzgoxEAbm+cAUbkn3FUwJbC1s+Ym7KgcZ+amlwJEIU0FDVJr6VtWK48+smSBpbMWftxiNrWjLtEbJk2+v88xM+aV8W1jeD/jk2ziSSqVcu8dR4Ue6AkI3rjYmnQNVz4SX+hs4Zgw3lruMUduz3qLk//VWYy+QgN25dTPVcNhggUUSux/KEctj7DIpFcvnUQiTUNT24FvxuBdbFvdMHYDfnYbKcJZkX71n7dTCLfKOIe0hOvNjd5zHDUtaPDwmwdm0t0vIXJmcf4tHWtjLCBYUflC5JKDKzxK0Atdi17srsEjoL9UJ0L5tA0aZTYfdF1WcjNKR/nvmoximedZKiRxwHQXwbbWE5FlDkNBlHV5c3RcpQU7wxKlyL+GwQtrX3q9y4KMEW17Iv7BqiSID9QUAM70h/eT+7Y6RCvgwmS76cdlX+0NQaXo1yazjWzBLywRUVHiCbKkrLKCb0yPImSdP2d/YJwFNguWpuKuS42D2utaJ1AiawTqcyzklZN+qqoOoK+w9xJxd/7MtfW8/VBtvb93ZyZUAy+nxoTGqj5+SaO3YTvxA0wE8d5wfOo2xw/d9taV3OUnMOhjjsUMTg+3glbihgVRvT7pfjmkoMbI2t+BQ8pSn+UmylisFeptKTcNab3XRYkbBP+FDDObmXWIkIBWhTum9o4syXuFDJLpHc8IEBgGLdqhlyDWtFS34CeuZE4g676iCd1ZXKH9dua54za/+neDTfMAFeHYpA+zCydaUULjz4pTyjW4hYmb3dErJRvspO4O6V5WyS4sCks65raDWOp4dGWfvthy9MDRlqca019BMeJPfU41lTTb8kbfFtQQACaQh6S5d4snhpMJ+WE4uZMqrtWT97VfcbMNfMDO11vCwBTWAqzxJNRdOcqkikekzm4bhx48WapYC8Ypk6LwaY7Jh4+vJlqO9BXOwwU8t21UI0MzZPSZ1JeEVLclFN8Jpy1ljBuArqFYc0rsDCbXxh06kuGW5u6u1XuWEQ/IX5sZZ8njrnb7SAdF8mprZnOkpI2mhpqMsTegnnG3cuzR5XtG57fLUHr4Bx0EQGt5cYnt+mUGsaVbXrO/x2GC2SrvZh+GTFO+RCA0QrC0WXAZcWkGcSvR9/sqcB+bTFmX96WlIgMt03dVN7vJuFsXGN2DGF6vmEPwNr1ZebMKoXT5GFcLB5YVIco0B/U7InuD8EPsEFWd8oPSlzLioTAScw65QasykqcLvgUK17kgRaItgu1et+Q7pLY3tnJyHHplo2Fa+DeaDrFa3GYNez2wrloaOzpxBagZ5ZVtkusa7yD4n/Ds9Fvwmso5hV2zw/9wb/zyi7TlfBNdmn5Lnfiopfeohh7cWHvpDUclvvld0Wnk4YbAL5EDUCToMrycNjgxWjFa8ySvZqUqO8ilFAxR3JryLurcdjOOB4aBV4cwGqHXA3mFju+raS+s7oIy0TMk/UNtKcTOmPaFdQcf/XfeJha4RCRZaGF+8rMEcT+3vfdfK8rZTIrAVghJPtYiR0jJD69Hd2a/Ut02/Y2u0C2Vx6A3Dk2pR7V6t5oA0Ho1E7WIoHJqu/p8Hcj+lEWBnH/uJUCAZCvitLPu26PWBoMjR3lN0bmnSSGr3w27lEvkZzsIQBq3wFmt2FY2mCAJ308W5blc87EJ2EIs8ab3BsVIJN+2UvgQtq65lpr3u5cDx/8xjp/oB4geSTdsYiaHl0o0QbPDZCRXwzEMSYKoAzrvnKhN0Ci9gAdI5ZsJ7uuydcdVPWVE1PH8cnfbtldGmQblYZG2SSor4nbjJ7eydfWhmzL4IkDhJ3n30DGYjJoIU77Ts1WjHvdfq09lSWxxbPH/lXcUGVyD56XgdRFCJ/44Spm47UG0c0gIhJCzOZ/D/3oWckcSMXEVmKtCFMFxjXOr4wq/gVloNZVWgqg5ZlcDOmIntfw5jqTtDH1oszujTd6bhzrjl7XD7JwloAss2Nq6tvO0GN+mWYLXNUpTS3csa/yQDYVh+QktdGf0PllEX1mOQQi79DyFyh1xUPoREas4Ud4gTuy2ARlUUXAPzF70wrE/ykwZFAzDS7uF634XXPLid8L/vcbg3b+UXgvKtn64tSjABHQHa2A3toj5xbajfh0PxiRnB9V5tYPcT+KDod7ZmJ60xEtRQz6k3BUfLF3YmLdQxVOE2jqZbpZUgeFQIGsnU8tFeqwQe73oL6W3u9Yik9mHvGETvftP+q2YtwVaXEM7DW/3OH9nVcgbQaeLLUDMUbx3/sp4/2uKNGU7dZcrAVDYyQT9Dutq/C7sf7VlXOpN3hd54JEVUZfngOlg08lV52AadrhJCYv4EogrdbgZbIKRdEGbQ0NGVMekJGIrJNRmyNCAgXjZluc9/AqY5BBikfG01EnAqjpyaRpYX3TJbtJQwBcLkXilLlholpk1dg4gw683jxIJV43QOe9RhZ0+WeE36wUUt7P/mLieRWedR50TMdxsba0RTK7jACJkLTZnMT1E+QKpK9sGqf3cG8ypwst1nbBXidPC79rm5+EprWKrOj8Uw7vqAyF5kxXd2+qZPEiArmbLoUJJOq8wTJmr8Yl3UY2UzbBSYVPYk/mVHxQKSY0VX+PMMuGATn6zPT8Nmd9PSWbgiVDzpyMuWxO2kNFnhgYrGkeZ6mKI1WrwAYbM5t9CSSmw82SAJTdSyIjuNmPFAT7da6Ybq3TVfRarwEeuaRC9sJU1PK+WTFyOlOWLOqd6Dh5/sDWj9NIgmQKJis67nnIgp9G2ArFlOGZ5AyLkhq+t+O0JRCxMJyFpiJbJhjQ+Ud6PHomoLuiEeEZHQM/vpFwf4ZloCCJaWRLRR+eOjjaGcbLy6/XihhPgje5efjmSm9uc3WdLSSZ4bg4VXMz7o1Ww+pOkH9vSIFE/069TlbIwSgtwiiFpPLuFjHORPulwnLqWgPR040ZWR6xkSma6VhliqJL7W31VYMOgrYR7iiEQUX/npwL17RKFzU6Ly+vCUYJHT098UVfT+NCppA1olB6MaYZdqn3TL5MknAg/nctK1ItV+NqyqkjhkviFqS3LXvhv2vlCtMf5YSrF2dJRIA79orBUokSGiyY8nj1LYUKFuueu8+FxWMVnt8pyt+jKDfupP4KqSB9nvXhVcRpx+19s5e1sEEW5L5iJepv8qSNxxwJ0912JM4g97tABgsv7dFL+50SnhnmSwRTYlS4ZDC8KMzZBcJU5vmTDHXxrCwuM3JpACAKvH9r86uujwMzuU0fI7fxhLgcvUGTrhshj1hzV/vnEIVGHM6mZV4tsDebBB2vDRBInR/5IVNmjivcD/IyRwQ3b98izMzA5UG58XVrcCXKvXVlb1S6X2fO7S4nRF5UBZHoOQPTNesCPvF6+G/fuomoqgUPJEzdRAdjiDPeDxx4ZOvjMrpHTNXDoQgBef7gVOQJzTE93BTxa8gvIflc3KFBc6yNU8uKyhZTYIfED7n7el5Dj/U7D7EUT8xFy59vsw7fQaL+8/3yxBE4XVM2vfkSi42Aa+YjEbuZ5kpr0C3TrghqvHGLUbvk2mbOyntpxE7jC/rTfoH5K7HsNI2St8pYDALcswEwNw0ko21rNYdbETLX1kkfCSt5tJguyyQeCnYs6EKvaiN+v39f5wMc9lmApBlhDS2S6+/62zs4a91hcmIO9iBliFVeGOnoZvan2XpA1CFFpf9o//q9dHb4byahEA/IeFzUA/U85YnG22XdqytuNJOfVSeUCc/MnU6Eus2zC6qy+eQmOpWjUamI8wnj8AKErtKPyhDeAZLe41tT9GQzY4FAafJiXW+nbZhErebc3qg1WaFy8RUIryjpxEqdTowQP//e1A0pFH876lg2WK40CiaLbHCUpIa45xoMvD/27XSGfEr3iaRpj4NgrsZb2OfvyGYokNUGLBPp2lVO2ZGxvjUtJX4zUZ/oA44j34vlQSdq+9VpKUw/kB+Sql/0QLoOsVrZI9Gxy8ttVznLbQArVVK4gSke5N1XZXChHQbqIbFlIiRtXJ9WRGix5FqDDbak0acwkI/Hha2WIgB0j6USwMIdC5+EPf4oavNMV65uIvbF3HALdDZLMqABb3TyoBkxTQqz3MOl6fON3SEzpo8QeEzI4AT3AyrBCj8X8v96sH+zeTLeKrdGtoDbCXvrCgb7k9zegfe59mF1Hw7pL0E6yzqiJ4GlhZdbULcks0QnGSl7ldRXVUaDNBHFiQQ14D9622FZuFbg+8ggXjB2YiE+fCIbOS9GcXOGdL+WRp95VMINdc3o4OUfsrUbdz4fleR3FGsQJVwMK2+pjCZemdfIn1Owr7zfngMorYQ2KvY2H01f3f9+R3IhirPyFk/eQtCL+hksW2jJRwU3qzLrdvtfdDn1EoSqwMlvV3pTJaZpxnbjxUAAEyHrgJ96XRLS0mj4V6rTctGJ2Fuk9+XsjzBKp0foEMwa8vlhQ+NpUBx69purfubhqvn8HqTEXAO6OuBBZ/luwnMRamDJ2LOezyl2dc2x/WqFZlbhVm+rKbyQxrG4hwrOHRXLIX49NuhERcGQwNUjttEmeA8E10VBR7J4JNc24cSJngsW8MKpmKeXIDwAkUoWe3yg0vDxgPDMmer1En3mhaSFREyKEyIdN5tUwBSeTaQGTwUTij5l5648NBXFPYUf93WcgExpCbFLYuecgxwO54i+R4f8K72Nyz59MeGDvb1YWEofHPBn5Wco7b5XUNZuUIou3EVxzxzjpU0YMdPHJpiVoeMJJlEsOyuOWHFMM49PZAjKiUzJpMgkLlIdIpSCdsT4BJQN3+N2eIaPw2jNdmgJAYl2MvOmNlsOzLnDTHvjY9rArLI5/MBUcuSRfUp2KNezJkJmf3VcXWmtqW8tkzqLycRPnmyhQD5zfG67uwhAMnGNzUK9wgPka+vg8C3XDGl8JB0HSoKDs7q1dhbC2WLS7OP8dFLC+/uCAVnKV1WWbYEhbrfo0i92gxSoyA7amvFTbLO+VdPHXMv7cuxkY3K9/mW8YomKWgXzCwAK2Kh49GPMkNytzMXnmJ2mboaS7OQcqJWBzxs15Az5bzc3dKDw9ap1umSxMv4WWfz3ixfJTaMvboL3fn82yYvTCnqNvKBok40HoFiIBo1QtoVobziGp1UgH097CfS8QHdAcotBMtqDKzjW9nyP+ujuuC1Zotgn9R4llcLffOK2V3xA2lv2tzGMOwgUf/vfULuTj/N7cXTATwWnlkH0uYKaP6nsobMrmWPrRliuFsCvIHlTOLFTCJfXTBnd2N8Uc15o7jRGuk03A1fjV7/4a1dWqmWoiE2f2tXSq43qyYzPwfSIQ8yiIWZmQLAReGOEl6DnPLWk+SX0VuEwe+aZ+IlOXBtTLLUJrhVEaZMvRsZzOpjNX1ziv9Isy3KHhZ5kCXfXyM7T9kS+8+AkT+LnICNjOQnOlgiAUTvrR3PkKdWr353tvuGq6VhtBhhP7A+KaNn5hV7WxpiXIXQ8Cwp8TxOCHmxZlvrlFXm23ylFOerJvTIJgh7Nanfgh4v8DodRs4Mwc+ecn2UcsQKhB5iPyfkA0aUgiOHbo16FUouk8Ji0VopV2xySb6A/NMMDoOTknxdF8Jw3rCpTMV2YpcXKTS0sJtQd1nnT9vKN5bHnobEPZxYG94zBb7Xbh67A3EjbzJUPJlkJTkm+SsVpbXLcIlTeu/NiJV8eJQdxjIW16lwoKyEDJZnOJn11obm689MuWkHEx8dvxMzhrQc6KApiQdliJBLWTLTAFrusO4EbOvSHNyK+7jfcr6YTKHV7E6V4JQA6f8j8yK7SxRsoK2qv/hl+TD1r51P41WGQEYALJ4PP6z9a/Mur0Kp8phQNzVPWpozwbUzbZw4Rc0wjPm88dKMoB9G+1VfvavcWVzxTvG4T0yHIg6Tcsvk84mNwoDNewv9L2B791ersQH451vfakS4varZS9uLxW2+FqozExuMHI7S0PZgRJCDUtxMbcJ8wpnEYwfvQ4MAcct7XDwN8+FLEYf0RBlwoeZ8r8317OjuB9EahlDJVs0Zpi12VKLp2CUog+jUSSusyuIj64aZdSZYStIKQ/d/IL0wPgU4CFoks26kz7YFACy2u4Mc8S3axE2eNwm8XXcMtQub53yxDkvG7WUQu7cu8/vepOg0NRLSsyS6wrT5b94vljCdBuWqVgA6Q/jzwsm7M7h3H8oPCpef1club+HCT9nvnltLdJfjbT57EihvI5ivZZ7XhWSJE7mZZuwvbxUfeJ6P8xDnzEVmL/7DpUiO6YLFvXStDfQlLcKrDXe8dV0hdNrDzR2Je1klzBj3rS8fyqbfKiTg20nRtsq5AeDpFhkIVmm1022qFhboRfsbQJF+mvlrPrZGgNQ5ZILwvVacZ677wV2M+zp2CLgonhVq07XwRAK2fzulW9Wh3WrkFkIkqyu6TTwJYrhSw7fRICD4E3HNCsg2n7rCOCD8dEDidDLdGiQGuzC7D1U2YFUUVLek54xh7ikTdTjvDwGukXewSpjweRBqxMSvUehWK6eJoTQCdUAcSIVp3/XWg4yDXz2KhUbTe8BiI9IvIFqLefGeLqgJMOoq8HMSOFQL6kPNpQVYKEbO721yIIGfkfQguixn8rB6qqGRZfhqK+CDslwDFnwgo5+3IYN1sU+Oov4XYPzUsEp4TsMwRCrsXVse8tbDzylHOf45FR+fjR/qk9Zy9KtFk/W+Dv22GqbCyY6O6DmDddh5KSp+pQxeJrVZ1uBMSMHzjhsd/uxyvgLCkzY1BDa3qXYzR6R7xbeQF/YE9VN+Lpwu7F2Xrh7DyPHXv9O+6ZrHs7WQH6Pxv1C1kP6GBGuUJc314oMTLwQjxZtWuUwXuXNq91MsknfgFGxOc42mhctc9coXXrAt/1pUFJBGvWJdRdfBicqAEBgAYtUFp4WGxuA/c3US34tNXPSrs/10d831yYnk00dlz2uRdOheX3952yHD4o0Ms9w7w7CQr0NVdssMKMAc4eF0y2cVG9YsawsQ5Sy2F2veP/+SkfIiy+yuicde+iMNmZm9Nbl8ezXU102d7/il9BNZXuhM7mJLKTa93H/5j0jGrIXivMeiLezfBDPRdZMfxz0/sNYJJxu7S9HMH4tMOglE3nheqQ1JE8kGo4INKNyV2Cib3jJHkanw3S0gctW7O0j9dKoNNSzC1FhA10VU1oKsC+enLvViYZ1ALvEcdAKXrExkIUh8Ene2SdR26dxTvixo7uqm8kw4QLeYgRyelSOx+fSric9N2Bi9oW5cp+4nw/Rbhm14rfzXTGutdvvbPbMWMmOqdRpW+gmNId3mevnxBIAdkhGIhWx30NDNHjBd4UiQnXWQFRcbgxgjOtkGOC8cJ4tU8GmtHJsUXVXNCzUK/iSXF4nL9m1tiHFhrFgMOBg3VViZ4LK1Zpcog44N4o1ADjhp1Abp1eTubdRCoecg+WZncunMOS15iUbsF1evkWtAWvxzhRxQxdTb2pcCJmXWkZgBFHChXqeYXk5IfgP6g6j03NKg2CMXIsLnr8wq/03svCuVzRWmhJhTuF2Q3aZPGVYp6ikY++urAtHbn31sqT94fpK2XSOMaqLj/keifaEuOrnKUQFn+WdybgbgK2Lshlj7pY2v598HkJPayloHYx847oOSzTdRPAF01yBm375g5h8jORUGyRtxt2TODoQ4fShJ43h6+zlR4O1opQ5Ef9qGGhRqMCeF0dcWkbf7FMXiMWGbyb2HJxPQ6ekM0T1YHvxOYGJ+E7gbhty/1sNN2AxEo53k7ErCoDqLAlEsG7S2iwR7rz6IcCBv4tOly9ABdozENs98h4N8wtaGF5tTSaJFMVyWr8Tn90wi4hZx4tVKsYxNfoxpY6KklyTcijgXM53mX6hYSxQbmIF+6K6DCoxx24VIyusi0t/tII+a1Ilaitv3Xv7qquNufyAw5LFgosBOViTCjHpLbV5XS/IiuOuKWYjvFlxAOJT7TI8ZikJ7ITpywVpURY9ZJJ8fCC/rmF27PZxZpHrX/Os0z/qRXKewbo4ayGMLBGun+wyL22iB32oBPW53i4Fi32leGQM/jq2i9whfstRkT2hrP2Vp/2PW667xJVHQ2RWOzWPZhQz/n5oKyz3+PbItNZvRLI17TuIhSwJs8ce6bcCoMPgtJxG++V+Dm4s+EWFcTK2dgu95B7IpHR0Gkm71mXuOvmBLfUJTOK+MhcELhSclMScnUxi82mzgcdKrwwURmvEzQk3vQhs0ckXfGj7nisx8l1spxbafshq4Pr9VMOFlURKf/pLoOzKR++412+8Lw6UHWk91Jdc6jpWz3n6tqJDlxORwauwpsvfwoYCFtUnLBZfnFCbV0Eh4MT5xOY2A2Rg2st3QIh/EOAP+LwvDg4wPqXjQx7I+ItDDd9ekFcq+bzNr4yAH7AbBuHynH+N+/JNWjjJA71/kWx5uSyCCUM0qaYOpBETHMwYFowTwIJY3vhwhrDsD/vgrFCPBhi3ZWHgaIA5dMK1/fHvkF7hQ+B/RS7oP7s1kOMGMomEtgbqn2U6NBTez27CG+vYfeFnGh/EbLeVVKxIqjXIdvqZm5DtXysEtNhKGRctlOYYXgy4F+7kHMKQYs11KWizI7LdjqcTOHCmu6kwU1UXiRNSg61OwOrIl4K24zhbNOgaoCVrqY9akfk4HgT/8Pq3xuxRLmXIZPQiique8uPp3Ia87/z+t409UEnyp9a+FTz0LCmW4jKPXqD5tWxfqZD242PrWdWNS+jNhSIPzc0Ab5NhmJ9oRw9wzamG6FIrTkmPc6oNGKBY/ZXXK+tGczzgcOR8xfkHTEbaw8VSSJvrWwrLAxLZQDgKybszPTFHVoyDBJ6DPONO7uUxV+zM2ChiMCkqMz0E4J+NUlQsubllaF9nKLoj28AqY4v6GOJ4J5a9Fb5k+RStGH21hX02aqVn/ZfqpIMiTpLHl2KAWROZTNSR8KShnP+Sz+95qLK3Ae6sGKa1nr/QAldIO6zp66eeWpCsaT5araMHLbo8L9LZ0kifj37H01f8QwRxBriGXOpvoOwklk9lsw4hST+tCl8JYwrOE9E2k/yOwjWOqAcsbZokqpIh6egam9n2ZoC5XItAdWdM6wSg1E2tvnv6Q7U8wvK8WCiYlwSFfnDguxlX3hsQ3dxBLc8cS0IhfJPXijyHYv+HFbbEsrYWeRqnpoApc7xhfLCNo5UieoBwrSDfqWgVRx3U6RFlY76t04hVVV5ZOSpO7vPCWNwibQZCPOAR9gBBc56g2zyYQgf5bbSMa+TnMo7nzr6gVKi8LmzmiIrC8u5TvVbpyZjZd9dDd/v85R12MPebD2IAyQMdK81VqjOD5wJLl728Pmg65fCvRM7Z5Es4NRLAaQM8ae49HtxU3hPcEH7Su1LcV/hTd6c6NEa7VJ7iXiwazWM4/c+q8Mj2ewJmMlOgCGOGhUOZuJhxnHIdMYCVOgI9+osZ4un79U0ssf5pmTLNba2sE+ATqpHXwA239zqfQeA0pR8e+U2DmwobmjtvcDzIC03PoQuzLRUqQSTGk/2OXyc7ATeUbh4kua1eAeb3uqu5EH4xpVEH8uhLbqfJOdb7aLbHb/5/xTupZmYQTT48AaXPiEAsNoRHxZpK2oGMt0lFyXL3SozDetcjRPJx6vgpYcpbN3lin1yp4KVqIwlMt6B0aQEhNfE6tCaH8wZxHC+M2qTMklJL+AWLNRW/b3v6GF904riRbPJnKIG2zMcNoWQFRTq44OOP2PD91PSK8FeOn352wYFt2ckSv5O/Hz7wQB+ND8XlIPXWUikxAfGBdWM/eAUk5oe2LeL9MoravJ7zXuWc8H7pfJm1RpZaIyxsLxX6SoEeHHAdbU3RVEIS83B3PBUJYjfKJ7jpiTL/6PzJqlloRAgQL1eYNh3+ZY/07xoc690dWttzGdQpXXdt0LfoxUzDIxqOGp6iOvjbZXg3d1Lv1sPF3NRJ2dNqhp0g1HLN6NTxd9+kFPxy9u2dVMnV5eL82QjZg/MkNL9XDQQTZ/2slx2l3Xgd7mrnGgqVMV00h0iBQrZkLk5XeG/mIr5XgROMtmS79tyBX07PtjcjD03ZOYCTJWYMqdkKnMJW14pmQ7Cjg+gfQulRN9fiLIBAWvVj/7uKPFrXZ9Le1vmTYjJj75FKcptjGG9gX8eaMMdKbwRV4OCueC0L2EOkXQmdFj49PZIGCcgbYc+PT46tzAYs4vcAhxyp/NLSYytlt7iY+phn6S3k4op23OkbII40X6Gt5GSTAGLKNgi5tAzncmOYigxK7y5NjTjs+/7JeBOKXuutTYDhp5n3VNBv7VNt19Z+b59JsbpozZwGh/zYDhWSby2Uvoqa5I4/8VPYko1pSNaXLAkaxxg2kthKn9WJCSXmqcUm0W/wBlTc9Y1Mq97wp2Yt305+dbh/2eAJo+FkKzATqUaMqrjjzM7HpUgoxXAQ+kg/DVV4V3ex9yHS8mIJmOICBsmcQ1hQ1tCdVwH74L3nxeron5E66+4Sg6VT9BurlOrSSxyGj8bsfMvvMCUSnpDJHD6C4bpIocZAPljHF4kjk0QAEK81KGvGkm3XUTYRS63Fp0+NJti19nrD/ZRyHe6a/F3lfiLbcPo79/XxUPRvwroYNrrxv7RqM2384Dd4Qr59BNsWWjxPvMfVhq7mM3s/PW59yD/HH7PbkKSjiarGT9yxhwwjrGq5/zLo5w+DwlNtp+VphjSoch6YvSRmnRDNFB0p/e2maw58YoEqfUalpvcrsRm5CRKAvNjUw3CXevF5v6JYfoGYiJQYYV9RnT7/rfADzxkszwSS4vrjmcCak3R8wghvNprfEtZk8F/zdhaolq6GcM4EFTwTwZooY5xc3yeosIGRtxSlgHgUPD+vuJ1cALnYGylZ5R56hC/SS+dXfRMPRst9bwdIkTGg94wdTMdPtXbVrewoEGiltFGPt9k2L1+6OwsY0m8jK3XbDWg+VyerxKyRGcjDLryLMSVMZAzMmnWiumSWCyyILDzBl7jLy/pgNaQ1GfUc8/7ESAJoQHTxULAazEOfOIcv9+YmL3XSHqEQQGhZzAULy6dJeqNrPXjRb7tqOMcve06uvuKFKiXwk3l+RhRHdcNMSZJehH1XmGyaZR3zXvvQr1zsW/V5zrgQP3bxKxZk0j77DQhuPv940w+9mlzwAi5zwOJ1geUWQlyH2FwE+/qhhzOvrTUSM+jciJ9szOLc9SjYg93I8XHENQUTYHL4vnWtVDCJkuVhmO4Rbq18YsFK3/WMHLPFoHY2mOvDbZLOksoV4K3nchO5KPH4hNyouzLf1z3oBkJb8o3ZdpSLd36iYzkk9Lf4tOz4KUlgvKi60CmXokeYi5Zsc4WJHqlZG3hFgaFX9M02NDNx6/PmMC63IMtbOXvZwZD5JNZCET4ILo7RsnVcsDowvrEhY4oRzkdjJqSM94i18ObXJxsHt2wgvdkjb29uYH2IYPrKAFx6k0X2IfR6Tx04nfGOUeT+VeeiESHvHG3Qj3W0oyWQBWkZk2eBFVPhIaV/0V9Xyaxd/r8r1URvvhsPnJ+IuMbXqMBsP3IDEZTeMHPxYzWdTiSz7w5wtZnJPSzQchD2jmPMmy7+nJ53qO2+1PAogoStT0VZs4IN3TDT2b3ZbM55ntkV3n0kcjKFFOPShE9wowBdCJvaZArSx6mY3LMW5caglBHARXSeGfskG22uXY1jeU5zT+TqHdtC7GNI/BXOhffRQyL+OHA7S5ZzmJAX6gg6/INClf0lZvpjIB2AqXK9bf5ZcT14NGbFahELoxnbBzspMICPoB6NeayPJngW6tqScnQ+4DnTJUfdA4UD1LXU5Q46zV+Mx2NdWkSkeU/zyJcLYlwUELxhBWYm4yYeQwVueSnMR0eb3EA3IS+FlHAV0dyAKTV07LuTL3WIKOFBWGoA3Sif9TPZCn9SCRRLduysqkxD8suwcnErAlWsPQug4z43Qz66WVFNHsfMP2JKjmeTThfFO+dnAKcR6s5UlBeKeGg0hK9UNpJzqEzlAO+hIyu2ILZ/C+Y2lNpf71GjRmPkzIR+uPJ5gAPTX4qjJaxMY1iULxGtwaJ9OPN2LLmfscvKc2WX8lDfnR1hFEJ9fAkUXIkB58tSFrnG9yQBaJNsfNTy7OGHmQs9pPRu3S2k0nUVL7KoX0XaeTUm6VPnUuj3TXKeb/K3OYQAWoKm1InLqQ5j2cZ/tdv48k35KDfQJo2azilues6Th92AP2ZgkW/MRTH9jEdWX6UZnOEG8Lw0sU0Bxb1Qx29H3sN6rRpcuz71nSlz5DrMIi2dg4vknxBWHFGRklaD68bjvCZjk/nAUDDKpBvKajrgBLeVGskQY1lNzJLP63Kh24h4swYlV/vR4i2OHdNd5pOuZlZ9D+3irBDFIzp8Ea9slJePYK9ng8+bvNeGlzn0lHVfZuceoMyn6QMoTaxVVFiGUKDNbehHg7FxziSqwHvm5jJ2nliyy0PwK3H/+KzBuIt2MJUZgEY/B/YeLl6nKBU6efnqfWaJ+LEGjBGwJ+RHEfYdZapSYukgtHiZDHBw0sL/GUsRFvLik6HnnBWIajK94g/m07J8oegIrzzSSaBE4Dr/YjS0jIxKUYD46pL4CoH+OyUaBTAG4nMLqvMPgqa7UJPDBU791/cGTtQ7LQdFcUNxY4gD5sqDjNLuung3mWk8MFSXRPyH/orLIYBiYMUOdsdHhdUZFJtZLrAqxC0wYBdd2a9aR2tMerFLBzi5cqxm/nXyTdHvFrZAXaKlVRk1uuZ7j5oTdmFBWFuKC/JMJ2/D9nn4t/9l2o9ihlWvhXIv7Rm7V5aHD7EI+SYlck8gl9tOwMOVrUIhRPfxT1rZF289W8ztHDOmxdMJq9eXwZ4k3ArmxT04vdFnu55XGc+H0qXL8wFTHIrRl9xUD3n/jRF1khjFa6zcGhYj44QCfZEhV6sUfe6Hfvoe+4e6bx3XeVpEMWM5VaT8pCCbi/j0pC2B2wD0zTBAs1gZt2mWB87RFLKT3RSwjk+tfIYxjFm/ugVjBgBSSrx4fyuF9vT4Ewaa5LdT9BWNOL5jvoe6BzXGd0OxaQI0lStUjQe8A2V5D3YzM9RAGuhm+2AcSo0qMWKd4DI7lU6/rnRnSaIhh+vX7b6T6dMWCEFKh43woeKDcS4Jh3ugZ7MOa7Tzrq1R4Rl/RiLGCaemFRfWjWktpj+UxieeVioIST/qbz7h8QTV7OCWsnIE096pGKflXIkvDUZH3IDqSvvcIcKDYw+7HNQ2rfvfdg2nI8oijHc6Ahk+8F/OR3M/YWWwItzFflqkj7cIHXR4uEGA7HpTr7G08EmBsLng26TxeBUf0NKx+zsjEhq7GTQOVLXH+laAr1VT023P1wZKCE7tpPhWsq1C5N8fjMNpAeCA/XLodVCHKu5rq0YJrh+WaJW0jAx+NQnwk9kZJXswIabaXkECnBwtSOaR9anFpXwU77Jq4HtoY9RtLbj7Fa99QKy595OPMEfbjNH/wEdOoVbiqzu9Fgm3MwElOAR1DwZI7nae582qnZWIexMlbN7ryXdi9CClUFasjL27cs3/08DcIbWA1iqCCgpFWU9sERR+Obq3HtJPH6ZzxpjHtrEPIx4KJWyl7JSi/DUyqYoLcspt+D5oXiZ9MW01Ggfbd7deKxWHGQ0rwCQFSMe+cQXoxLku6KwBctPP+9g7by/Up46JPaM1TFC1Flm0N3WBz+Bi50bIKdfhbw3MaAuWxyj1O7U/ZIP2LONh2NWjvSM60tN27PxQ9MMnXyOPBYdktd99B5MsXYuxp1V2GgxjxT6fJCcIuM0qqdzZbOPK185twaBJu/gJ1/M4bpWO781oFiX1zlg4Jx/Diiw0xDdPbfvHUv6ydm04ZUp2StlohSNAbVZk75VOA0otxMlY1Fc+drna/qyRcjytitScfXFPqa993J+O+mO3QWbEOy8gtubyK9B7Pw3BENWMyRGKZlOBRCc89YmquvdXodza1CCh8RoP8BaO5zg44zPxT8lVSJdjjvAZhDqjeyeKkMnS8aRjZGjHxbuYmyBfacYcymnrJKe3IYnBBBnG8UOtH3s7RHO7826FNZO+ulx//gPIIIPzexnY4VK92FllJ1DWEk5iHOSHRyLh4EGdJwFVtcQ3Pd0ruCUbBrG/xb5ChHMCdbhJ6zGRGzLX/SgYk40+DyaVOIURY679SRiea3VtbVsPerYWYzoVrXpnkWSTibJNU9zkQOZKw+jqHYpSdajYkJ2H+fSMBYq59EeLTO6SHfvGQOoIaR5YC4KhH0jAq4+GFeMIWUR33TzraMaUS/oHEmr0oxFlUQduU1umOhb3fa/kAgsZHRO6em5otTPeKlO75UzpgfhUPwb3uKWmptn6lJE8XlwrErRsyN/logCoiJTrBSOhT1YRLEIlaAmrtjFa0JEev5eqYR72sFBJsElFacvY+t04t6PE+g7yY33hQL9DGwoeq83P3RD1hE8WcbNoBNGfEJZzr+AnM2Ua2107NKuX/2n5dEe93WgW5j7xOriaUBAuRPjsNAoGwU7OpQv9KEamZKLpMfh2b2vM3B0GKzBuqL/Zk/RJgwFpywQBnzOfo8UIgH9lDXxlelS1zKedqtJCM6JlIRor+kUjnLLRfEiKgjPcJSBL3anPqhcxHubRYb8gR3RnL/WB3DdFUKv8KMUTAUQ0Lk0r5ml+5YV3p5YtauOE0H/ktCl2dq+V57DySAmwt5X9U49n8qbEpWnGDWcbXrt2sKt41w4yWvr0iXC3lfzG2G/vHT4Rd4WIHdEiyfhWFF9ntZFC+TORvrEfEShfT6h6o1whSGOY8H7ccduGYRZrA/RTqUAQSxlEieQxaYOhNnBIqAt7B6txTHtgF1wXXvTm9dIlnXOIduNusVcSCx76uEZ0bcdSyDFXFl+ps/GNtfvR6/DpicMWQJDYi4xp95IWd8Nrm6HcAD7Zy4x1kNeiaHpEOi72SbUvMp8VgSk4TkfP6k1zdboVdLAZguce5U3HzQDiL5avq02wN0vha4c/TCgYNlaSKmruSL13C9zEgQ/5iDZWNhxTK7vCbtyxRSmtBUdtd7eHcICHYWsA1//3SmnaaF96Qbzcs3CTELRzBDym6eet2cBHlyS3zvnC9gXPXVbf9QQ+YOoVZgV+m1vS7IrQdsIHRTfm0aDOD9jE1q9P9bSLMS7KUJklcYlDxj/ySirht5nwi7crtTJEl780BbCHlwZX+CRci197pEYrs5cq9eAGpaeILmihC/50YHdqPwWFCWkGEzj8GEjKCW4a40Yqk/dKv60LGd9cVtyUye4p9wXJnNK/yNAxQHT8sOFDKCXagU9yhU4ez5Ga9DNq18w7/AjknJC95VejPHjc30HNNVjbQIeVOEyvXPYi5BgNfEOdRxlGLz9iQWhr0KfjGHVPVYtoblm5ohadazMHTEiUMGbzXjWagRIlVksPfrjOVP7nxj87K014Z7UFDp7bY9+uXuag2MGx1kWaC39LOB2Js/EWT3IxN+i8FrlrmOD1DVguB5I/vVLdhtfZb8Q98Cf2oP2+qJMjRJpEac5iZhUjEEN2Mv6nttKODH90gJkagdspK/mHnX4BSEMAEQQ2Mv6l8dd0EvhHQcxOwcX68Ezim4gXb/OYWUFoUyVym10LINMd65U9bvyDXaX4iA+S3ye4O6/KsmMGd+1TaxWTysY1S2Ak31UDCUofkCJynO/USsyn87c0zNLqEwby0OE5mhnpTzSbtZwqanGEXDRMc0k+V9feGVmluLjttaxRXYZXuUjrE9ma3aPdLuKmppZm/FyypQkZ78qFedDz9x1rQyas1aR3cntRrzlP7npcit0F6keg9ky6ykmRH0ofeZdRqDooTooEjuPM341Q6BoT6dMviypteJEHhqRt1fpRDB3kvhD3Fthwzpd8+DPfvpL9HARRBv9oUkgElpEjfwGBAAQFGAiZWFgXZCkW8SixQEcLR3rrh+XntSw/ZAVsp29eP7XiWByQoHiJL5va4Mhu6LC2DEgIUx1gDMdxE6PJuNk1k1/4C08LHnbZUKr6jm3TsLgA2VORfeJyxzOgTPg2on7UVbKb3IpgHrcRxr2FAhQhZwE+xn4fGLyYoSLSLPWUIGBD6Pt2QtleNtV6drNIK79yTHOz3LVcX31t98et2KyZ+PxvmpV6yJRIQfTdTV/xVirFuZejHRhX43ACE0ecItjIdqw4lP3Ten4LiM0CWj8XU95GVVxoo5QONlLFRj8x6SdZoFCfoPxqnep3bCX/FclQ6vyJsrqJia41G0qTXLAXKyhOoKVHlf6zY2wvLG3guwl6o1iqfJKsiCUS+SSql5qvDmK6pZ0Rp278XJnY/DlHdSqOG3pcLHdCsxx6ucwo15KdD6JsANm3O75t28fAs8kqr7RPluayfcsJIS5B1RNH142oEFWURJ/wgThvbECHv/Nhm1bCdZxeT8JuPMuWOKCQ/EhtY59wVR/mNRNyAWVmQ1Wbf9tRsMfOFi9pqFS5NgGSZgyAA8CPWegNILIKIFHNTD/Q6ses/C3gOmGkii5/yDR6fKJ2zKBm8ZYwpQxqP5iqdO+Pj6ws+vvmVyf8qeNLvUjn1vE/c0o74M6E+ORBLEQi5R1lJS2lmWW+fP2TALBQ7hXJL/ywQt5D2byseeJluKbSuXdwzXWpNlRK51PyMQRnKtXf+p2M9Sgr+iMdsJdy4h2WNmHoHVYReaB2DI/FQzT5D5eaF4h3J98inD4KaQIP7TQyV6mlssHBqfqKxkwJHeCoCS3zQsMwWYka19iCtNhVXFmXnHbvxXVrDdrklAhX9mMcgDQOPDxxEH3LlceXvTyVlHwy3Gzz0til2j7d4Uo7yLy+t2NODpwr33r35MSQjsxog/mt6sS9rajQ4H3wiMGIkK3yd4fIsfNUelMAAfB1y1LoIHwdZDvTtRe3bvcyDU6FJ5wEI402MTFxXnZTTpH3pbxDOCPwlDNfYoqicI5tec0k9az8toM+JjQ/nNCj4A5xa6adgjClXNJ504pb/7N+qRQJMMAMuTfQH/De8PcpetBj26275VarBxBNFLKBquDsaeg1T1+KL82jNO5RxpcSXLAK4kCOwDndMGlPG5vGI7lFDo6z74YQVZq5TqqV6hBSNT/BMC3/Xt1oVf2e6A/EXipuRB1S7KH6MXo1BOsfQe1/79rgF0GCOJCOBaDjLwL6UMpfG4BLVYg7MEcWlRgbtzTjTx1hhMm/glv1PnoH9WRXLtX0GiyeNaIZHcjH/fcfy2eqVJFrSR25ds5GeFWr7iJhYGk5t0wi1xSEWQaIBUrwc7T6GksQk1Gof5ne8APf6uSYGJ7E+OneQuN5ZUrZWmdFo9qRHQgtR3i1+MD+pySj2C+9q5+zdyJdUwFg2xEjyLIJP6shYRxRvX/697Jd1VYXFGZNl9coOjRUY/g3VGMc5n7CpXxTTjxw+nG+SAtr4NMCMhARhiMFHcMJ6Fs4aRbLhr4zJ2UTLjdULjBD1JXGY09apgHXV+rKwQC/eCYATtdG+z+mBIU355HcUHgDxMAA8/pNBEjiWiozrHKY0CwfftEfMbTbLIyh0GPQW/9YcC1nanyRFCQ/pUBMe+UX0dYghYu2NYg7i5vNQTDYAzooXo9jb3Yr0Hz/CXDj9Sm5cVTAlMCT1sd4qQZmAiHPUOlKf27clMS+VO49mSXyvYItqOHKX03ea7CNBACGPDlQxF/SHs07VthBt3QN9EEOb09JFHxRNmgqpWjHOBmDZNC8a5KNRsDArGUQJadQ9SeoBQGMjxSYzwufqzePP42VB8JD6qxgL3Ubz2XB8n3x6r4MBHlsmyNT0MrKYrfktLqixcZzjr7PNXB4n8Co+PidljG1uIRBEQbeH86hfrwt0A/bHkLSaOpvHXzaIZLLYFTTi+vbRiX6wQkD3kYu6Vz9RaAXLBnDIPzmZ6WPtrijxVvko9oNgDN4MpbNlPI6VKON6LKL99ZrAsOcPuhXaiMuNh4kiyixAwP3i+oe2sDQX0ZRXik5LleKz22gF+x8JWLEeP7AxwKy6sbeV8QObyPCR/qp/3JMhjLR7GEe/Pc/YualPpLKrWz4Be3fHjXR2mCO6ZZg0Mlr7WH6uRGhEdgcmuDS+JQ4yQJU2kmgr/EFL+bX1AwtRHnrYY7NOQb9WmS/mXkMXlULwdgP/MUYdM9dH0Ocyblfc7wM1ZI0QS2kkPpcVg5tLk0go9qqOQCviqhe1Y+5kttIM/kt3RjDSqmqHr4zT6LhacYLcwI2+nx2Hrhh/GxJGEo4x/PGbSFIAPiyvqUaKDEViu/wIDs47z9ScOWSwWG1I1gXVfFRNG1omXK46rTfq4GuW4NjXkCS6ge8AjX0bILxMyP6eJwiY4ngi8nqq4wI4cd4yO2Ng/kNXYbZQWR7P2wWY5cuehOKIZ2v+pJcB6wvFSomTQep0l2L8fXTDEtCATS4kVKWv/90HSTmJylnThft60wOG+XVDzRYWyRqH70nI9NyRlL7WenxeZN/nyQw3nFTf45TxYeInlUniMMtcgVpr0aGB61iw+Mf5pDoDRe5DE3OsihhFzxe4tdsAM8aOsgwosxryknL7qEcE0kYnbpDsz6U+R59RDYgV/2AJeO0JbiyP4FMolSudGwJ+sCrwtlzGAGifC9Aj9Y3E8dCHD0lzPRKnU9Kqe+/L4leFhkMaMjoQYC7k7vx/IMdswD3P63tM0WUIYNHQ7hZ6Q8OOSk5R5m/WMEqk+1yrVuWplVgYLDGl8Xim5O8ur/Z//PqmburncE3o2DlBI0ZK1YQzQLphogvjdDgSEv6Bi5+vqvIL9TlW2flMmBi/fb7hyfc9/qcCEVBs+vJbQQ3spuwRDSyPApvubEhvuKi4EbBvZDZ/9CY+3fUGZoZ4qpJoS+HhI1KY45GB6l7cEMieTWFha9AaC7XXIOZ1amIFZdmXbwz6rvWqBLbm9ab9H1GXwr6gic5zBpG/KTfHW5wrkc+xio7eUsK8zKj4QauCvsVRfnG/JSr4KEwf996Hgt8OLsgKED8XvieQPyni9ic10UmVndmTrP/idf8vUMYkRxFiLU/A0wU4cqmzm9i3PoP1xZ3bVrw+lyMUizTXFLlFcVuZ49+aBlPporgfrGKrUDzh9CFDYBEm/RkqrCPaClhtt73tbmR3FmaTJE1Tlcu/gIzxZfydI7Lk7t2dJ3BAapjy6MvnH2G3535igLZImyK69ZU5UeT7V/1cCrYj00HOugBYzAna0hFX+SrwJoFfmyVvVAY8CbWxMOGtWbYopJnVISTo7bcygFAdNXVPqX19osBbkGjQ3sBPrLtX2i4rVmfy6pe4sAX3QplFmHgs+mSR+udUsqUDoP2X73lyARmxyrieHUm1gYYuq88kqUfXuf3g7ldvYRlZWg2oIMciASo+wL5HbOPa03hbutDSrctVWi7vq7yrplIJgrsntslB4mq5eD923VFVn5XfRJ2hAbTY9/tPv2OrnTLE/JekKYKbKBFDTjxof7/l1cURSYjJvE5Zrb8de1DtHgL3JqHIcRrbA/ayBoysMKsWMGWeYHAd6iCNLc2TgZfn4R7zM226HrhP1TShZte8FyYm8SiKZvtX7jLlDYQRZAtN61K7UfDomKDDHBG9+/hqYPuVm4kCkij5/I7n5A5fEA52artdcx5qfLyz3go/iYTZGXscSPn5Z+g2PCXh9YP1UddMF8L2SGelZYiNQZ/QRo82WI4q8jWOyRjInMza3WttQwg3PgiMlfA1Xpx/zp/KcaKLkBLx8nrE+ZfVkTU9FnQV+GYdCms/7SPdeGaeqII/9gnCGxJD5ind9volspn8U+1ucYy0FjNN+PMhMTViToFpXVUBIHsCTKIKSnd39csBBG4Z3ncNDmYsJ11hrp0XHhGB9OxP2hjM9bx+Zx/qSKioalEZZiyRN/WINHBcRWgrV5hZwzftoUa85tzVdflq5g5/axyXsaFi7KF6i5Fm8me/4ieMQFKCp5TkFm6Fc2MSocIgOPkaiJmmOyAyEAk9m7fFIPQ0tjgQVHhmG5tx/uHDvX6G7Ap0lhbHCfoVhbbvNvfJjOHQWbwb2I7o5NOwO14oIetk7k4nv3oKBepdOv+9+lMdxenjKloqlfvDYoCtRhjarL2VC8Q7TSqSN7td5MSYioclVUfUNSMbgY79CYFZ3clfKamLZDsQKOgcLjezkS4ZMNk3pQSQoWupC9g7JzLoJVXzt8tOrhf5SkL5WxpNXdi85n6QBtx7+IShm752SEcNfrZUAt7RFsOW4dDYQE2Hr5wgjrWIbl6U0G99Qcy2pLloqomnCQRH+bcP8NTyCAGYyz4DhkuD3wU0WBkdViXbAsanohfe1jI9NL1B4yOc1kCe6QjKdLMbhFBvnbSjSYKhCWtqfDeoJfoB+ySyuS8moizDNXYFA85Ne+zRRnupatVbbk3rM3NEXZfjzLzXu5CjXLHVA7wmdWOn+IM0Mek5LPidSefdyE7276mwMJQH6v/Sf2Geq5gxTJiY+br3L5Q/vDv1yJ5PNrv25jKRTN8XCajfnOwPGpI7LcPYRFs+HJToOBN7DsEPDNK3bpU3EbTnG6wvByk9t0OKWTgtFTc0qjmkYytXZVhq9U59MQxLybDXNoYMENMXg9jITe/TeczEp3NpWx1mCipN6uANVjnrxooOnxr2tvHhj28Wf4tW+MF+8uHxP3TTFtdfBdBLo3rcZBQAZqey7Bycmdpq2jSXruFGtoRcpHRQ0WNKxU+C9KFu2hotaamDr+u/bWoYKynQEHopUyBxjrSf8FjqeQDQNK0hRVsq0Nzbt9dclmyeA52KaGSxFsTWkVbIBfHcIHXJsj98ZHsVfnGkbLU+l6gGGMCQC0+0JUxUzVomeh/3bEAb271341nHSzuyKu0BQqc27lxlT26PuJIVGADIWWabxWbOY4FcMrnvs2KOoxNr3yzQR8kvF71ZuvFpYlNMpls+iJsG9l7aCFJ+R9KDjZFR6k4PisuqqkTU5dR7gfP15/aXa1MLWtIig0ARcsI/jwmo34eF3AfZODI92AK6uaI23gapGiWT2tZDVC35uIsm87MKYYs/QPlsOwkjZhEphkcP7m83HqfITxaS+0NLHE+dOwY0kpsSnvoTekIc9UACVqKTHMjX0TOzOhMptSOElZwnXY28Bb2lDdu6j6Gh2Oxak8wMGATjZf7ge02qRFM3cpGFjYikfGEeZ2FGLI12pQSSNJjUaH7bktbJOtM2mLAj3YS8H/MNtrdQDnBL6BnzbJrQs94DpfPpLrXemUfGpT7ftwQo4sYbF0s/E/czImG6H9HgFlBdZrdCFeklAJIAn3h1Jp53vAkrV/qoEYbp8GKKhUb0E1RXXtV3Lo9nj9RVq4fiONmkzKpRV1Wl9oAtSHMyY7rqH8Qic2XaRWwUkZJZc4jkrianyrlHkF59uHlIsle5Ry0pWOlme5b6Ko6eIiBSSMR354Kkx3gc6bsUQytD+HznbZpIQa1N9M6ra6xLYYNbB56sYyQ0U1X5z3HUp2vjk+gNGQ7qngxd/pFLbw6CYEejLX5LzbFt0r1OL6cUuFc3HfaT1d0hdnPHT0/j721cv5ifbbMlY1+ZsuUsb6yB8UnnQ4lkn32oHrAUYUg5310HUKox4YalffbgJIEqGN/QI6MDThhHe/Gq3puYfc8rI3kVrXTOb3s60dneLATTJ2+tmstRXdRuQ0lgIIYgTcj+jAivkuQkm9WYsz6FRREglzVy3L/mysZPKu9VEunW88+xeeVD72/iNFm2QcirTM5lpbTzxXFJdev5O3zxczLjT1VxrEMWQUF9BQpMEZ6MRjVapsnvTIBQPkJVdl3Dy76pTaCV9YzHA97N9Gd79Je99fpSL69tUGlQGTB1L4OYO3YX92CRdhoyKsoLokk68dUr2uBNI4pnzfm2tKjfLwOqSyZOVJGh62xZCwRTGOWqI/D6Bd2iHfV7oY3pTBuayw/LVj3dIZK7MHoaO0lddFCOQrinPjSj0nVSgzSIrQiqm6UgmSoj/OKZVKDjj/BmhXW/iOt3F4yJpfCfwO9LGYyajyE2U42fjOytO8vJO0T9Cj0O5ZtkjGVgqmp/QmijUGtGNLmlg9WmYj8FJduzItOoAuigO2Sk4uwytcJbnNgkBMsX+mJzGFe9DQDgBTspgAVnwn+nDfD6M7GiTz11w+FTpXLKQcdsqQ+ECsWdJ2B9Lb6JbiTTqNvOKn190VWE+kMG8qcpV3K2arY0PTGLvEUEYFActzMni1oDYBrYjT1C19Ia8ueAyB/xRhst0H9y6EAtFD5BYPUv60k2Ikk1CZf2jSHormpobeOxlWH67APV1kS0oSLRRYvcJyhzIP71cTmNwlN6eCRkMbRV0cmaMiPPcgOBWkFMeL8szr6T43wLSLeOzD6QebgjLWEqjz7TUBjOKR+srpeMYnMxP7nVDrbtJ7D8CoBw4Cj4tpB95M4uUH95/gXjjOsFMGoUFZHI+ylP1kOB/QHCIjHHM2wrkDjyNKIHmd4Z1qnVNxAj8cUZeUbNNTfdMpv7U9bkgwy+57WggjVJkuZj11rvwglml4saUrC0HEvaOKho7LOdOx+zlviE3NqGuhm1tA08oWiCUqqGj6P0CRJdctC5rZ6ojtLrG/2FKQFcn3LrniTrIPXkzJJvtccdhC04g8rs5QgHsxsBX9XR+1HA1iMnNGu5LduAtEctiQWv2OPv5dShcFXLleaYshdl2dgVR6b3z9ut2EcCNmMMJ1Kqy8kqJJWj2W/MeaUhT3xq+WrZ9YtIntV1v0ZeGDA/TIfKwIsq9O2xwht3N3AMJ37gsV6jpCEibkGizhlf7KnaPigoFMVAoJ0ADBgY4QadR3nxneWfIUKRv3VBJJTt7FEuo+pLzMdT4xOm4/4Yl7UQ2Raa++qDw9JMz2PdfY7GbmObWyHWUYgitQH2TIs/MwFTHinDrnCPHt3KQdR+UfroeFCWWD4jS1OCAwpxT+wXIPPWSGiKucFwWTCJtR0S+QWPxXylZrnVYDBOFAz5CODR6jdBnZxBnIGiKo5FGqxbK7rL+koXEAMZ4jPo3BJEGCC7tsnHHUb6JrvDmzdMJk6uykilZ5uTjLlpZoUbYthqaD2T2z9XooyILgZyefqUjsyIBHiwDovUzjnBo3pyRW4lo8qJCdhmp6QXczaAJfaVy9s2HVqqzJAlZejCm4ZzUVkRqDuTi53xi4lEX+NGqb+jbg8uUy4rctTt+bLYArODghjlxJjb8zGz/BsxJlnR0hXpTWrP0LA0ZGASnHAyroGfOrYP7Khbev3UT4nP4JEwFf4lH9ynOuF9GLRe9R2+ZgpilZEyXqeJu6X8bMJSweUvMJhAanf63JtKfm+Jm6p/fqmPV129CW+gm7Fgj6mqzJo5GsLMkvVmfnjgTi+BoMpLwz3ijWFkTGaWC7qLYbBk4XQPTBVzT5aWawbKKxH0+u7hbn9TBVtpuhIXXPTViWTTZYPAFM8CZTB45wey0s7rNZAp4VtvBaqUTB4RpDZJe+3uO4JnIy2+iDlHka2pWwSzfdG6+DFM7XLco+vlm+vQ6k50zDYjvktN7Ahqzk/z+w9PuFhlyx7UoTVIUrxapoiAp1+ezr3SIOuy+Ye+/XDQdOFR7eefHr+AWh+iOgI1NtCgkJRk51DIIFQ9doWYtrQ9t79BHGxo038Epof6iAFXEwGCRRAsc4T2QXxp6bs5AJepzzFXLmb6Di966pMUIAviqQryamrNmN71KmK8OfUF5VT/IXl+q3s6ZOJZNPomuHQjALzsPwR0KrZ+ewIkIgv018nz/v2NMgkvnGjId9WLT/+ImauKZAMuCcU9Rxpxa2EYcSFfTgJ4RNeEaOlQh3r+DFbxXvxMKje0SSczG3aWg98/nuFPLlZiu2SpmhJdWNr9cCtpNsOxGEDcuv7lj1gKHfPcRCwhr5/X1ajEtZueuDmXwDokAydmFDTPQdD0KliNdfxXMOdr0FZoPD3AbR3E6p/wSaW8OdPJGa/4L1Vpo0AaOVzkWqcix4oOYC05EZJxE6pBXRcLQ/+XuNhkUkfJgWv/DW9TnKjjg/zCtBBqbWObzzoJLZvwwNkFFgLWowwDiSMbJemDWS4HblS12kWhim4EWVlHiP6ZzlYOfo7+JVIqxgWQ8vJYMKiTLFp6thLpESbix8M9Dy1cu9YC4eJIp+A9QzWxRCjqyQb7Dyx+V2FVdgPWqrRSw0La4JMUsA95TiinXUFYK32zGZ4vVOOPUPAU5IcOJYSDGl7LjH0xjImvdbCLv5/9qhyYsIYzFzmbHqovtjuWHe5BWHklvADGwTJhkyz5PIPCexpk+kcgo5v07cVrJkWh0we+Yg2+ty8yTarSa444wTjRogQRRml4PSt0xBDGuGUcpLsMxEdQIxTgGLIi1OY1G1s/wSFElF+9TzMD2IY6ynqOnfJlNBewqJ867ktJXdH+nwa4iqAJWFLPrC6z1ixK8JDN8hVQhfafelHE+pl1NfeO/coAVw9ZO1hAOYf2qPvPeXRKWjX5QxXacdgk+zgAKOEKrg6GfGQXwNDdFuhuKKDPaqEaLKxAuIUo5323lPBI0HME4ZFp/V0kzom7TUU4vf/FwMxS1C7YeJjUG7skcwwQgGxP1kHgaGqYov9dCqM/GaCTw9IFjDgd9pHD6Qdy8IR1RG/ywc0WWfNVJa73kgEDYoMGoHiQgOEjFGQ7kpDJXCFTGL40N13codObznCCojzbwbr/GEEMtEVN9ZRLYjpA+diaUtnFxWJUtIvyJPbksTkWHoatDxbm8eYhPWcOFPZEUpkW+02Qo6zwVvUnIg+hlXA+ftG1D1NSKz7yrSDA4wL1AI4+COWcmGcLVPUxNv3GqPPHrQL93HKGGd8mckqbl9rNfM4AXSf5ZLVWkANhshBdi+Z9WtXiJ5p7A2B8JfJaTYiju3Wj49Z1MTZ4zaX+y0lU1susViF32w8Two8M97+brx651R6yAQptQM92iaM9dB4ycLRHbmjPhvqHJMPFlPrGpDtAj0uayalHxs+6QzkpXiADEIw/CBShk1p3xlAKYi4RG2KzSZ1rgHxhuQMqAW3jdhUyTcUnufmW9FBRCFZek/+8C3sOXr1pAFWwZNe8fOGIC/FguF568Jy3hO67VBvvoJZd0vajBjbvVSvJG3XiAwBBwzorhyxRSpJhPkYY/ppCKdvYdRJ1r4iTrPm4SfhxRakBrXLoX+YkJr5l2ShShUbV2EhFjS9XIGsdnyO/wvQy9+RIoRKjCTPdBnYi3kt1b8j707og4NcHGlT38xSma+2iXHJ9C4meVFQFiacYFtnKBlWpjynsaiqmu4C/lMvNAmUm40qruXNvCuKOJYh4h/R+loI3FwbvzE1Vt9U3CBUHj8EPJngXWJ8s6wEy3h4hEJ2bK7Sl7FbLKEez+GRQU648OjCPd/VPGdx8d5qVvm2qxLve2AwcIzY0+fP/cj4DlnK0bqW+mjbk91CqOJ/x7YDpTzgkDmt7RWE7W3EJU4fiQEqv2h2CEg7r5Iyx/Z6aVKhhS9Y51kSufm4ilm+fqfbbfYtY+3zZEWNECFW5IYnYM13JhrMyq9v1BZcsMEJ8ygEtoXc0jFWCw/RDV03GRGT6MEs1CoU8KzqFJmN9+dVoYrwtd6i0NcAET1g/Sp6kCLKp0xPx4WVCsMgVPpkOn8yr8mi/FrLIgPyhNGfD2lb+LiJf6Ob4NokODQ/ox/ymK88OtbGvsuw6/QOk55gGX1UPgZtvj/n6gYuJbOQ29u2d12aiIotLQgD8A7ihwXEGBMhtXAfOIiNYxQogGVOQFEmqD/rXbKHpDHTTUcLDDHXHXgq/GKov8F2UNods3BDw4avH9ad280VpKUZNdHrn952+F5MmgD2SKIYwisJTDSlm86kNXCxHuwJogH2c73ok1742IgJvC6DKPXp/X0+KZv4ZmUqV24PXyLP8/r5mBvQLjrUK8kBqnYqpgQ/afI4cnI6sudobl23J8tijp07O18ym1BVzuyVLvNSVep2ZmVSY0yZdJQxMY0C+xMwqJ0AqydFdYIo6vqqifdWDDSHq92ixTaAHw3b6ZxP4896g86XYIVgQ8phxxSz/rjcX1XmjEctT9TetpF6IUW0D/oCdEBLcg1wFjD86EIPa2xmV4QgEjjeMD0FzE/sqTyqzeu8rYr3v0qNEtNhpzSAC2EldpMjdJngkvNd77f6duKJM7xy8TMv+0+ZDzbCwcPIof2eL+K+A6jRwR8Oz9T90Y7pOjEPx1Ae/CVa2bdopQ7o/ACl6GsTndCClulxcb1AgVPaWCaSODNlbeW7jr3XCG8E52lkaDYKT0MpHWCB/LFPKba148tvFwexiLTfLSmZcEPyLkfrNTN76s0JIGYhFH28AhMVTvWC041kRK4xl6IMJfz40fedOu/hJQs8rmhFU8lyyZTVrb0Xau1DSD6i03NwPiyjl6f80XLF5duFnQFs26SuDeTLU7es0VL82Cwnu3BQvtF0X+6OPIIQjojI6464WtAkSqbQLBeCXvN4mvpFFrvtplel1MxU3HI2jI+/JhKU2IOUEMcU/r0xLSz3/WeRnuHuWnZUAZK4g0P+NDQJgDc2V9xEhfJ4v8rMOfsolpp5ZLCypfFmGOnY23SluANmZeD58rnr6cPNSxr1B+Tl5HBfNni6SO4btI716fVmW4X0FR7ZKjlsdI/Tc7oABGNApzMSDCYtB/RBJMglJfROwMXYmE+qDkUpz6IA72t24Nzu+GsV35mWr/sBdW0jcpSDaq5wDWLTc7e7NXGX3jPtcghnoaXgDHg4rbX65zX42VyXqucE/vf5idL9SDzfI1RSaTciYyj6pEHLzLx6KfHqG2/kj4698ShclVaVQ98f0ATCMBpjCdQV6va5D2Svvl3fWURyr27GXnBTD0IP3Fn6fMwNFCTGLxCQsEB8r0s41lDRHamrlTQfEJ6iYFsRb6Ai0JRbwRzDT6q5Kbu2WNhAyxpJg+c0BfjuWmn9wq34lmXHu21h1+rj/hifv2Y4+1WjSl0IHUH17H8GofZFfEeAjHSwQ0nu+5HiiBssMei2A44IbFuoxsOoqedm8AznQid2XaM6+JtkuQZfsTroHXE1xDNvl4GLInUV4EtjZaOr1FqIFIzmKl0cDsWO1TwHCcp4pVYnNrW2VbGV+VdZkGc3R2Y1racrtdeEFjAMu2ArGagvnKsk8s0nCeUdNqui6XhagVvQOSzrx44RujoHSZpVwBP+ZglWpGitsqd3X/PCFoil8bqmXK7E4n8ARU0Yu0PP0049VAkb4GiaJHcthTIim/1shIbsr8R7FbmOT1EkQkAViSJOI9OpGe307hFLB2yhJqxPDqwynuNlpnOjfKTtu/0O+vvVKkFpwwUq4oiDjLcpnG1VRH9OfG8n8nnL+rMw/k1yoh/KQ14R89Q+p4jBy5vUgl4ROBZpef3TGimEuZxdFIrbGVlcrxexZj79vU27rMg7Qkhs/OKqu61FeLvnJtdZUxRpnIkekDs0iIdbQZbUwNbIq/Pm2/+xXssM3utjT7/wyJqwcaW9rxP8lljF5iTCfqKTS2fTKkgDEAS0r16yGkMn7/IWhG2U9Uyz7GGgMO4X30dQFlDGybzh5U3ylzQLpcmoRE8lnC8mWy1X+hvR+LmyrC1YGjt9ItzZzlf3ntZYemEYtXj7wICXQFNAwUWo3O7pZkRSZIUhDcpjRPm915FrVQF3zeIh626NktbRNgYkcFo9TGnTvSR/QsrdJW6IblYOARRYHjzyrB+fhEMFB0e+FqI2WNA8Pw6XQVOiIMpKWajme5YVAwSSAHME43+Eb1N2sMRvnaDT8ltpirMPVe9RJOgD6RcDc6fG0pT0jTe3YiP9KTOYfCzk+1BTPLGQ1mmCKjkc+0JuC/iXGz3cy4JchyzCQVM3zp2iurkZWsqauGFv6zmoIHTt7ztrPtRScTzlBP1z6D2kXZ+ie1d63KjTmFsH37fvfoykyNobvwBfgonT9SOWZmSeX4DNMZw6xjwJB65cI06l8TCl1/zGumcTEUqamecT8hZrBjArchyfwSrDROYEBZEf6SvgH1U12+PGFhPzzL7NCU+H4nTOTSQ4j/dMO2FCJx3/rPrhaKq4cWXiLaxma+S9xwsHt9BHLAforLAH1p7EzHazWyt7Km6/B2kNzZSgd5lmIuqiRUQgXx7BKWxeJsmau8uY20D1ehRc8Sz8JCOIrmO8Q0oqOwlnDn63udWtRY9LBYHg4eOHCW5LtfD8i9yNHb1Ye2sat461b0lhQpJg0J00f53gvkDaz4PR5uKep2O8KCtM/Hd+vmHwA+NA8JRbapOmjoAqoMDpZPY5Q0FJLqk86EC+B9RhXl984CZxHouNu6Hnzjw1D+UtEkGY9BYxdJ+3Ke0WlecvvYxElTv83aLmx5Ja0LzKy+mp8JLdkV5kdOiKuVk4lrFMRx6ehQlZQzVpKXqiXmJXyvn2kfkbEZ5N5s7EIEb0FopH9w9KdxPc6i8AEFr1xKRBKjG8wTnm5CxglQkqA16VEzRZQOddPmD9hYfXLIuQSb3kaFUpyRFFk6fTbIrfjk3WxZeChEarqZuZw92QDC08WXiFcJ5bWDutPA2eAkyJdPHNJn1Joy5ReShrLTsNEW7nta0Fvoa2zQ/QfSc/yXdrrbueD/JzraMnJl5rZ25VC0ijhK71wjnn0oPMEszuk33yenpjpSM881kL4BKJIcU31+ev6axERuiI+kN8RxnNrPsLQs6wD0GXHgK4OLIW8n9hXmSXq/VFY+qy/RvAb228qIw5OrjjeUIuYTumgfT7owA5+nDgFv6GnJ669UB3sEaQQD3snlsuqBWLB+FTAjPydtIXffS0a0riJIukQ4AtkG4mNpiPM/7ScJ40YeMTiFSt13zGH9sYQ5jFOZdU7mHBV4ozBZVW+QR0xgYuN3zujZc5Aohg3tlEpWrMWci68pvFIy75R/X+NOYlb0xGsPIqonivSYUGmK+UDxWkjsCT5AsFhwEQ4QhsRbOZZtH8qwF9A8ES78s7k6Y5INmE4sQXrDLCs6q2VVb24sZhxEHN4KbcZp0JLmDunP3/u0zCG2uN3oZoOyxDudRrYehsl7v/ryLB1ZFAJULXi/izFOO8+yzX5i/QjH+m6j1v9hu3cro6uwTGznjKS99hQ/k12j8lGVGloGx74N1a8nzGb/21TtqwKxb9Bl1vrf1C7/X9NQr127HWDeLw54B4Q6ERKq5i773yjkUzmTJD5TfxkGwl2DKSbbJT8+5OeP6YZT11+CU9FbpD6aDAAQ9YmhZrZCkZo6F4Mk1pu22+KpKp5eGDZUC1yB69sjSHlhmebyz6wVvd/lF6O/LHlAm3uIBPfC8ymef5Ga14TXBvV7o67E+EiEtMtWEiyjq7vvfeK48vA7FSf6PBY/gw6+3ZTFSgA7SjuMfhwyMRKAFqEhyAADNgwNDe7ZE0Uv6u7whOMg3KXNKHFxKb2cslE+6QoWV/+VeGCmTo190lkgLqNmdVtXwDDOlbJ2q1dOExyuEPFWwDLtEOzseouE2ysmoQOQYIFVJJrHjrmSdAA6N3htO5iZkxE8PQdVCjjD7NET+Ie8exttLsRDVqU/I8y0XevwzdSyLchUvJQhL4KxqHxye1ioz9VyTUqCt+sFWc2QsvSQfIWDFfN0yhutU+Cqs9BLmI3ehRAy9mUj5TX8hCaTXbfN6EY8Pwu6RAOXbsmgESJseLNapGZc2ibYHE2aQPZ8DnSc4BfHcajB7rj6LMlZ64EzT9MPAWNHFjJ50CPswPkNF+8lmy7dw4z0kHfzQ9xy9sYnYX7MFILxRIEDDQMD419wiyYlItrnvNSgLYoPddvw4pE4PwpZ6n6ppqyLkISclbgwRLk+hkQEG9KkrG27OS8hqywnOzK0F4PZ+S42Hm3jMZQSZdATi/cVxRQAItMSWlj9xI9nzva/v0X84rlr7e0DGTVK9Tj1xQshdMqBDcysEjwGbKcv6LMYr7r++LLm5e1ptH8N/FdcWrp4O9UwC95dqD3fwO6dr190WeACrcgei30QNgQF3AIvKmp6/x0lWeioOY9KejP8bEoAseCtQ0E9WDC96HhxLOtkEkDOjEFW76BuRSut/J9/lD11rnEAKvn3uNWnffRKF+OZxiSyuNYJm19yO0La1UcPrYGP2Jt9uzzlmB2GKb9mwB8PyfUiFPT1mCTwlDAoQsqFh9Xawh8sixwk/W94z7RW4coRdCTjaY7EGzxlyOfOiDKaEIXefpsoWFwFtZAWhFHBU3nFe+1m4UufN/q5CO5Ps4kKMV71r1c3mCkm8aMQHb26q9leMs7oefRFlkD81I6Ks6mA2gJoNlTvLQ9X44xIfXXNJlCJ26b4iVL42cQ4LuH/MBxmI1aEGlcSNy/nfA5WZF5Ppa2U5K0BD5EKdbZ+Qe1YKxaLcJxVJFKGqu9fYVzHp+/68kkjwhzslLSM4oSXwfBMNnLH3NRYb7yr0Flkk7P2gyATGLA3YUuCnQRI+0YwYrlbxSnRumf9s3IZZ+/4PzyTZsEjbCHPSAz3lab2TQy/ulklv4A9k0odHsZlSvna8PoNjXZVs2eMpmYEtO3GNWZ4S63D9OqB7Guqkqw/a+fCiPfwpCeREZFJ5GJIuBG64YTIsE0IYM92aIIP6QspikPE/XesFPZrLDLG/E3P6GPblxACk+wXDYIgid/ARvVY3gyyN94sQdt1BkzdA5j6tX4/9lULG5SQ9Uyi1nIkKPBc32qqam4/q3Bj1/dmQeK+/dV84ioVbJkWi92ZXbeVCAwanQg8VdfifHV7Q9et4lE5+QQjHc3oZyT9nhRFZX8/KIDY5GohLTGiafVLFi6skOe8H8KMcx/PeKcjFN5FbnQiHvb065eDo3y7AAivoKC5bKXfD8OK4R+KJJDXGBkDj/EsHtirDcipdR0j3lj//ZAhkoJlHmLVxmYl71XjCxtS4BYmQvzRGW4L3FJsP3g+ZMN9KvqtfACI8LSU65JrpreO1XKEs9RbDfZkw7iKiBpCCdLkUbW+YO6LgUEDWDVAgh/pGTK9f0JFwfvmPDM8cmKJQMHjjnLpLVc3vPo/gXNtpLCF6yhL3YEdJ4D31VtMMePd5GZmTUo3FnscK3Rb4CcXLbWBDJDgw9FhkY+YfsDJ9qhxOzX7HVDJUJGBHrkMVVZpTSXG6Gd09xuyEirC5cNMf6WYygQT2OO1Ayq5pMFHVm+ly8laMXvlS+RZDQ44Psd3HXJ1M3W6zqTXMjUAgyaTFOOqUWuOInrqMR6x5obCq9WQ0z5169NiBPP//wUiPYsUU+bq2I6SsXRFwJhzIdLHePtp8q+4M7tdrMeXGKIS26zcfPhiuAjVFr58dF9zLPy80fgR0EC58i/WZ73QPKWwtaggdnjPM31+aSKW8HW2VmjjzxQK/A/Yb2jHx4x09WObJqbo8E0bC05iQd+2fApoHfPTr+V7MvLgRZHSQK2lyIHfVvm1MtT0NpY3/7fJ+Lxbrw/MAGhqq7WlU086RJ8FP4Ix9bEGhKPKZSV+NXz4k7cLXrg93S5DjiPZ8RQHRqMQ7a6qvbqBwTzvs482giayEz/wxnxv5otSP+MvItHVkXTpbJlNh2PMQIe/B2+gePJX81bPsREWjNDPKXQVARGq75vniGGoc6v1K0BnaIhF+R2/uFC0tIddDA9S6QS8irb/nZoJGED3MpbtdtdCopAWehWriI6nbQKZJrP2Focpx8pogU+N25rnCFX6Ak4EbKdDRccM/Y9GhskL2vtf02UFOPb/I2DbTr6TGC9IH22CcHCxqzWoHdEJbe7PMc5VJ7iJM5xyV9WnVNkXmOdgiM2vc7a0DRv5IjzIV6BS+H81Ss3G5grThFv1rmSKD51BBgdWqQ2+lu8nnmClNB6YCBNgCGIdOg79Oz/srBfYyJ3vcJThYrxEMmQpvjjjPSxYrxU4JArKbTsFw2OFU5hVs6RP5Dqk5nVm61fMuQevz75sIsT1ZenMh1G8CJnm36q9eU8v8Y0rMIjtIUII2JdQooi2FfprGwVBx9aW5ibggA+C30d3EMue49Pw4wv1t5sBJFjCUEO7HisbcpqoS174smtbhLyGvH6C5CdYVfo5XlJS3xGPHgeaj/DeNduErJJYDJxD8szn4Lj5GkmaKK9iUyp2P18eUkDzj1924vZZJq+xsolCnkfwMoO2k5HMYArOZXOvqhgZoSeg7GmXytMMt65wZsppHcTxhiNy55Im6gwKa7U0fKdYYwbKJTczJzLj4ECPgOElMIgJawnN3PpTFPNCkfjjS45zUTacUS+1cr9eZmP9GbHrSVwOQKcoD9vA+R1mY/V2O7/iMcVwyBfG9Y+7kkQecmgjL8JXoehmk7RYpAXNef/ePqHRKX1ISF41W7CIyHuvYqcQQqmpKCfxUTxlGNkGOOOyg+KtCwiEIVndvWQgG5eAIKwMqVuTexNTyr1IGueXiuI0znFCgllYMjh8Ml0v+GDzlDewgsKs/O51vl2ozFunTSI97w31rR3nOTso3yjZlWqOhFiWJamseMMUlIkpzVvkBI1dhAuZb3QA19m+doEToZgpj1Sx3fFzepiTsjJDB7vUJPpB4kzxZsFPH14eK8CYkbfe+KB4ISyQuIlYbxgUHwWCRV6ownC1YamAHZGr+OiZh/U5k6VyhyuhIThL+CbCUXrY8wBvvW++kwDU1A1NB/U1RsUSWy/CAA2Ginr/heSq9qwwG1eCYPSCr94oWNBspir38jKca25KlmgmA/ckOz20erlfkGKzJaMNMHo6ojfmm89/+/bAUwvv5528prCE6rp2SFSzlxxPlNVumDz+PJanUskVcgKO3aCTX42v0qSNgvqFN5ZR3sVsc1TaToNSVrOr/oTa1JLBt2IKEmnosbxKc98bVESN8sD7/CKUue/rHRtlv+MwKweGTxRm6/frS0J8MXM1N4ZImCyndaq++FvKyJ+kSn06iW9kEiZANAYUaeLbr977dj7r8TF14MvQr2M0XvwV9oGWPomLj3MtEVgThhcr1ALsDpazqpJ3OsdQ+GFXaMLuf0Uk91My2R+YqezEsV2OSbfLjeQyleu2quf0NWrtA4AxCvLm+zYgSEdp/w6fUlTbBuWeoZM2F0uaINn3k1P+wwxDP1M35JHRLNXoUcW7ut9lnOl9Xvn+0YiiRQI/ghiWQde3vuySD2SsNpTdI/7WxkbyxCK8UXsE+hv4CviMjY/vopqeHv3VAgIEZPl/G0+s0n7w2mMAZdL/UsJxD9dzN6kWBDWgsRBLoaBdHIU9NmNVBBK6O5NUaToAnkJzQVhw+ulf1ixbCdiPgkBy+ucbeozqlIouwaj+g/NMhWTFLyiMCxjYUo6tqjJdeUwNKgOjVwR/axnxCV2kFxGXx9GE+FlWYrmNQ+Swa4ZWhsILpxAeuygxXO7PTXc704EI43irJKwrPajBkOwVqe655vIoZVlU796MTQGo5niTWAXL4NEh2SqQqiRO3zqczE5+I/C3gzofFmhvDhh+INl2IrlylFBCL5e4twaNFAtiDpzxIXyMBw9u/BPJZojM5/FHn97ODt1ikG4SXXC/bJidMdgOXjMbi+7E5NB5lVJ7yM3pErihhDUeEeMWQYCQR8yP/ExiCskVjMiHcXKoGCG8nf4qGvJ/pTWIMJCEbFYKyVCTspyQmLu4nOYiglYYb2fiJ5IvmXF+fFrzyOwAcRhxx6wCWJf1rH4yn+WfxIF8qCFhoSrzsjo31ver54l+1o93GkuhyMVhJ1rJhkbbxziWkvR71XcfyY+YxJ/wuAVuxaCnoc7y9oU+pdsoV/vW9qQoluyj51kr948yi01/7Q6pYy7xkDpaLRuhwkpHGSrPanV3FvANnjuQMiQhXTXx77gHFE/3K4BGAPfyWKEENp/t/x+zmxkgxvHn7VEq57KXPWY4pF89btAqFCdRSxulv+Yocq71qUBTsDIrg3OIOO+2vkOcB0tSZS0noUvmPk02QG7qxdQcHMbuAtdctRSpLekwvn+IfDaJhUzPqHIJuYkvw3OHf0a69q1H6Swu7RSW8oleXMFP0SK2RyGM10p2iFFXvhKLTDM1sNbfW967ZbsDKyg3AepSaJArHQHibactAaa15S+oLz9mq3JBYM21tAlmlQNeolGSEenTsQA6//4iOLhXSNcGUYmj4c92/d6rioUvEmjF3pq6VEsZnuJk6ywo+Mi7w9jMQ9T6qlFJmoduE+kRVimkw4Uqo0+mNHCerwi5/ApaIPyZUTnOtT0BOaRp7AVMcUTyxdN3PizDKM6zc7gSR2BuuDi8JiUt5luNUGafgiiNi7UgMmvvQjFm2/G+f4W61+jdsaT+RVcX/3czTgLh8JZPheSZNIoGDalJ3c25YE6Mf70oeOXh0cnJXlb4HE8l/TE4cY7cyJW9rJ0z7uMkUrYBwPmURcNqXQhkwJ4hT8SRQnYUvX4zPrESUAWGXAWHwBEVYsyy53ezaBdaKfp6Ny48O+3jC7RNO8nURGt5dqvFKq85cKFy7eGRfd6HSiXkhCwuyw0vYbnbizTwbENMk6qXmcEnwuNMe5MUuTFvH98zMyd3o1l+zDIncODUJ+lbDYlg5N5wm7//wZUP3DK8cS6v3vNRQYyO+F28WdwQZdVLfji1RgFNURDJaXyu/S4ZLKKxBY6NM5oU7oAeckF6bNq3uf9aGoJcZsLhO23w/QBfKMTDvbMCTXJRtm/rhF6CZhxIqPWcqWwxkMwu5ZdQ3TO9zaVIgz2c4tWIsiKo3YmtEGauZO/H9yvzesBc+VLiYE9rSPtpG1Z4UM66StCTX6gVTPiCSKYbWgXrWNuLMN8Yj0mzhFeB61dfGGkPA3rQKpmjAbopTnqfu0R7opvFbfknRycSyqNC/xK+j8JIN4gJxoYcF6xau1wyuTJe/vyF4xclvdWyDr4HyggNOp+66Q0AyPxyiAq/DLF1sw1F4kCiXcZ/978/KAtNhk//EZyqO4MzrJy1UtoOtktzSeKFliJF4wFPjh+4Tt6d2gLpDabESZjIdYRRsu2MsjjeuOMBGhFGJWjqf1fsfsYuW6eOrVZVP2PUBr5HdkGoEgvwlIIZF40136ZEYAeP0tK9N+gJ6NwUrP3JrZ6khtQpXfWpiW9hfI83taRWJiwO2LMDNdbrWQPjuY+NQn65nosCaKyv3UZ1lAyiBkfz8wvEIv0AgPgVMaNeMzGWKRJXKE6zr0Q0Tv9MeJ7VBMFjLYzLnYPR47m8huB0/m42fbVDiOjMdXFW12AS1+1P5jsVPDZAcFa2VQXMJdPwHTSWMS14I2/pzLagzDR5pWNGxwBmaep+oPKZqic1ZLMVyDJNgGg+X9WKP0p6erc3OisiDKsNkgt8YbNomCNn0J3mxzVP9T+tJ2nf6dFnAwG/dlLT84Qa1V2J+scrShYSoc48YkPJ1rTkihv+oyk4XejvoKpqUXzCO8TH9R2Z8UI7G4NLjjFYx15W7Jeku5QKGQpJG94/d9hchc/HMnAOnU8iPhOJMx/zKu+bPSt8z6SUAe55Ojc/+rYrlZkMprDAhVgOyn+XW2ngeS+jJ8EpUwPP+8L0XwEE1qiaxTFvPbJlO5TWMR0jBuuMOatUfFUaTaBRwxSoLYdXBguSGzENPtRn0AYLvveO+hxhhbDtabpK8m+6+SWooy82MHWjRzYyS9CdbBYIHDfL+/jlbVok+UwQmRLqh4ncrWAaIIxes68X2KIfxZPvU1nj1bFCPtZ89wqUTubyDa8I8yGZaMI8AxRE+0uQvj2q0s0SScMoKmpUl9RyZKzdk82CrGk37k/5Tfl40YdxNNop3HWTKOFRFqTX2OtmhYZg6gdChH/Xm6W4CWGlLXs0h7TZZoytPRq0ggP8DAyL1ZmW8a1Rs6dvoWPhNFx+3mla28SqVqYTu/BViEGXsJC7AjhrUQyYe4e4hSLkvzbVIUYRG5uIfZ4fDU72CmSNGRGvnX1vFMQV0QD+7x23t7OVczKyiEI72co8M20wjOxTyWjMnQxn0KodctENoljKtqtcAiHHdlNrWJK5agmtI+gZyy9cYDoACJyQ+9i2vZh9cyx9dbk7u7JVwDNNt+2KYmUaNdyS3n3Zm9AAXzKSkzFZIkscCGa6mFU8gMABLzYUvY1lgqDZcpt23lcytCdlxdluVpLxqkSm906e8Ry0TQYYBWyDgYXqsLAyeDGakWUC5BfT5vOVYbjSedsst4UFW/PfOutXmHUUH8RF/g9ecUjEL/ZN+K/DG8RoldczVrUDC/+lb4BBsFwW+4Eoe56kee091Nx4Hkrg35yW/ILLuEaFW2krf3Dzwdphn0JIAl0HUVaNd/os6LloZn9jTwXJM95cr5B310KLRAcl8fGM0SaF6g/Xk+UtUe/snc8xj5wVL4TsAVtUOAJNhiGsl2p30/KsfWmNgmvW4YUEED51VgS/HFLkM1irgieAGnwljT7gie5akUlOOIk/2nK8lyEDjfNLIIG9f0qSYB2Zn9lEA5kPFbUJNcF303TeBPFC21wQaAYEgWlo3KZmRpobIa+P3s3KMJkh2AjkxafEbNPbJKsp9Z44aYc0JXesr1Xvcd7KMG6y9EpWHVQ/yEYuozR/O68xgrtoOSUI2J5nB403g1+hVdUKkEM+6Q0lJ+x77T8jj3yNZMkJ+XtZIc6UuidgaThjTDdxPHvjf41/JVzW8r4yS7bi1w83V94Bpujbr4HFlQTzgTyNz/4Hhk+DlQrWKVlqKMnkSgdYGs6Rn3WOSbaIU+JcaErKRuhC3ZwO7l5J1c6sZ9+60gH+d/qAScGBiVMuy9wFZACC/NXiN7WYSdQPseTZ7QEiiowlo5CHBNMaMVJKYyaHT1Cp/D6NKUN5auEH70RUqPeRR7UHKMdmHNxE4VtmxA+BI2iJSHH45reGByFnjChQFaDTw3zaDYsWLWJX6f12PrxKWjzzUsZo6A6ACqrghGWRcDMSL5EFYCt2f/qKTxEocB6BJOswahxWk51tUS45VcAEVtojBtNPFOqRC/Ak4cYMmjWkLIaqmIPb8nllN/U1v2KHN27hpPrEvVUdAKnlcUMHH+y4f617tB/4y/QmM+MbqwicOn7iq/zOdn+raUFPcnNjUUk1aM4paEQOVktV8F1guhtFmhSfZ3nQplyGqYuaDqcEXbSyklhjNAIM7rWAHTUV5rUiRIROJw35PXD49T/CuxYEcDSz4lc0jXqXUtap2sEdw+LXG1y2EEo8OBZRce6vqXi3xNBU4it4cOo3bfmuAt0jFZnWtCOksbABZGwt13KhsHUxZHdgfVRIeRJC+aZHRVNwSHIWVvM3FkFSeeCO9xf+RHcYttUC+S7u/8dEhzQZnJa2sfFqTuRMmQBRzRTfGxs5EQnc3a9vsNpW0l8YjnVfaaTgrohpYkeufXp2sSNcz1ucznDQGiPujy0bbijtEouGp3aPkiIdg26djj2vIJKWxNomcWdLv70uVPt/z+Bd+eJw7Dh/o0MHfrK44I2lGglDf2zO8zSVc1h/7mv5A09xgc2pwMEl48SHp0fV17EzVOJBsVnw6OZb5F9Ua1qLwGAN34kESeNNpGdQ6g2w4coXHQSnxOHjnaLnMol7rBMiiX7JiFL2JhA80h2PqK5i1LMPxn0wVT6x6+K04P5PSZXBxQZ7HP6MZ/Wkf9m+6laHi9kyEhXJ7D86cKOIfYe62P/f87rq1npPsQJvr/y8SWQVE4mh/uPRQU+eBDqLi3J+Py4X2rPhodohwvr3DRKvDyJwmdzbYXQ0XFa1IqefLFVgOVY6v7cYGHYvNY+SIFPQjmhPrrIotILt7oxFLYGsELCEW1UMavjW4tMpHuN4UIlVtvRoWVfEtF5kqL+2i1/W5yKcWj1DSHKlceQt7qpYCAml4YUVu/DhHQz636RBVdzcoOr0pEfgI8rdhbOcMP31oD1FFlRgMkONdE2oIgIhWDBGMPMl1F5J1gjoG1dDjcFshDi9pRwBDHb+7hGNHmiI2PCKc1U2c2XGJU7XfjLvnAGdz4DHXDrU6FqpT6VQrcm9G3R8l1OKfdJJN+K8Gq03lVZNOxNkPW7olwzmTFuOTanNfAQSUH1W8DiqNGPk3+52aB0RHMU1lJCc6XJTcYlR6XKBAX/5FBmBUDVIMIYAigqwEaWLlggZKJennSCK22p3tO+SLxomyMYj7C6yhzrjdddOBgTalcZK3HC3b2ujBeNm/iFOa4fZHV0J2OUkRLs6nfcFmcO/YeROVuaDbkLt5NZDwbKjzkMwAVqm1P4laqmpc44hl9Ara4FkV84cI2QI4Pg7BekiNnFRCdMfaS+vyKdc/lZbFU2x6MDaWylNH0Ji5xyqd/zKZ6Sg9+s4f/U9kGZ74KUXadZp6q/CEI+PvXzjulCIX1fUOfOOIBlnHF4mKZ6BA6aGT+2EnkmRDFNq58BGO6wBvDihlMUkB+G/eZzFId6ajFAyjfxMiLtg1qYa4/8cDH1GAq6Mt0nQLZU/83XHWTwKBpF3uVgoPLfbKud8YcygehgWmovde+Pgk3Z22AZU/omQ9i7wVDNPbsll8KDsOeFDe7l8m+V9EndxcB4YHrIeAmyoyxtn2ATMdOkC7ji/J+8yq8vdEiky1RW9mAa522dC9QzbwSCjM3OPu62QRqYuW1c4ArdSzll78BHpbQy3c343iwm0vZY9AepgPayYgDK3WINWN1PUdYSPfBU4jBrXW8U9uUlVPzxfsSet1odIja2kAoQIrgsCafMSuPRDOs3rFdrCEow2Q+ZCwlmb2iAjocu7PgJMuB668Hian559zTbgpqdCUl6TcFeY9LAZ7itPs+BVnRj603PnMCVyo3QG914ja1AgAqmGA5Tje8Z2VG6D/f58O7pt+PYgtTJiZ4GVJL3nu+skRIrcqNWj7ArL5c9G5J//n9ZmfrLCdHTeQrx4mTIObYU0uczt2NnTIlt1aZ3uA4uKVDjrercHMj5CW+/6g/IWdlxo3rYmG4jGv9Bfk2t7/r6jnRI8GRyLYAaU06RMH4LvgmX7wG1oayXO/FxhJ25IZbw+IxHxzCcZFe/nojb6yH0RI17HeSGM9yPChGQD3Lg8U6y281QLwnLhqz2gJlkpnHehTRCQd+6hd3JlaA356hHI93BHsKyTo47Qh9ucC+O8w5XN6Q+IddunZbanhx7xT5p5Ba4Trj160htflxFJOvKWciUlW1kaR+LPSBezBB22Az9GweLmY/AQsweVuFcsnPTuqLtdVYjGhwioEB/+NoKgTK/gSQ/j9wZQNj+M+6Ihe16P/4HLb6LYFxS4zAcxHQwNpp8vX7TOfA/yYnSWIUrpSOhc3iJlwS+VNTPi0gCDFIjbqwl3Kd7TaPAdiSVqpyb87Z7upikKIhWJYbowwPC2zz4bsP9A9754uhpRpqFjK9HGJaSm5zDLaG+ILiK2Zb+jPQYXo2lDvmcJUKo66WDZD4bjhQOLCxiwZPDVSMwv8CxSJwN/WwCUBCfwjefL4KfBa2warIS7QeFQpURWt61FchXGm9ChWH9KgNGdR3PctlHryU4AR6ivWbO7gPtTjPDBr9i9JluUJUOWRk3UxPbboLQYwffryyuucJWGrmrnZGnSiWRlQlSR9qJ/FBEa9L7tYfIPSRA8ksiHki3sUwFolyBaoyaACd3EWbCmNS+Pz0GSwOoVWhr/WOTweAGGExiSLeMIwvZH+Iucvlh92xd1+N3ZaBZcnG1NF3hseDu3fw0JT0FURtHRK8aHYt28Pf5xcSDFVq9bTTaSkZtVgiz1EaMSK2jiZjmn4cjHzDAl7KF/p5uEu+i64JIbSg0RGM4kwVWKKzIMonDGxfDD/M2Pg5cFzxDuDj2a8OWPLRPjXzk9SvJkjcFL8JYRO53vBPTXdwxIoyZ0oCuNABh/qE7HqwmfGiMD+EuqNzipbIzLksDS+cKsJBkG7igLM/6IHe1t1f/Tm95I1VAr41TyeAY9y5SgD+U8FnxA5gKqBZ+I8vXPxxU5Sa6bYVVsA42oKnr3x4MG3GpRfVN7uiRbpwfTUGzLocTfWf3vAZFIKcr7BG4rTdkvbyjVwZAOFgtS6sQEfd2zKEjUMsMZGMQojXTv36TZcpvqiyxoLZrV4950yu6DxhtXHtMjx3vBCHDWFfNrHHh/LU51xMYGfNuMuESrt0QuKy8Cwx/DBfgGJh9asYpUwB9eG0beEknDuYZs8AuNCHREEjjzn7gPYYT2tgvcG9lrIey5uX3vewM9hYnbPKLYrOqwvKaCCCIrS0TI2nmbG4btUSCdVhyL1JPviJegBvUAx5XyPqUtV59eG2dLaXGaCQjxe8mj9BwS9WHduPPl+q0RID+5JfqSjtwznNbgPY+sx4kuEltwki/3TmuzOgL1gNOsOV6FMpf/3nbLg80C/uRmhEtcV1Ja81lx5ZUa+qW2Sahqj/d67Mjioa9kyne0KSrmT/r/2Pgdd6/TpyKAG0ja42P785a8wBY2SAzNlSxIV5yb8KvEKsX8eqm2xxOGCZxzBE9CrhO7h8GcBnk4ROSFtZLN2+gQ7nucSL5s/XuT1jVi6Z65NFnEHMPA7whj1JEehs8TmodtGH/OrWS39Qy05QOQ+MxNJmAv8FQPCrtQDL5AFxzhkc3i2NA6+4XgLhXNC72E2ywiodr5NLfokP2nKDwI7NKjU7W3zL8EW8LbMi/SBDgmIXVYVD/CIPgvr+P23MoS7lNzulgIXenFFmkCe9ICP7leSOEVylL7aQTZt6Hi2QCQIMrUeCbjkQiiwwHFL3Dfgcf9XXmCdPjDDVN4G2v/l23Xy92K9aLr97l/eBf+vJFUfNQxc8f1w6ufhBuIzSG76H91nRQCi/ZjPEQVvb9PfffXfJF9QyyPORn+VCj0TuAYEp6j+OI6gs4HkHudiGOTMizX/oBiupYGCNQDPt1W6mk8S35TdUNKE7yy1k9RWlRbwue7eXK9NrkRIs8eCkRHH79eL+Yy4NyLvFikf3PtLDTY0giZFYnOsmEJi1wmaoHcONfSW6VZVxjgbJUJzIoZEN6+gm4SdxZdVNiXi+fueIO1Jme/hFyLMDLHNhNf7cPenXLx6r+ihf/cW583zBIucruZ0chXH3DibCAzw+THvSsJ7OtVHXshgRYq8HnfCiZhi5W8d6vZFfyD5wWl3YtTpYCwe8gOz0cINRICqOcKU+dnM3oJUrIub9URwNzjQAz+w6PbicDBWWcyTjHVRBmBV97VQb91ZDpvI6+vWUt7ERf4is9YAlMEl0C/NSeB25EAR9Hp/bx5EX2ZM5Yram25EKzEBnS+ht+lXeHjOLrqo/Day1Qic4H0Y/irzKBOX3LsBcjISWqcs7vPGtMlTYBq4vX3I1Lh18NdHmKWkRN3p3m1Kuo96kp7tja+309CZYGf9TnP9fwrHbav1yRQH9CpQozszwIRfVyUNJAT75Li+v/hSZPUtmDLBv7Jzv5YvYhuXTx5gEnIO27ctTo5zkgfWsVmM/I3uZKCsX/vpDtl8lKcLbrNPsnawVP6NoDBicgJ/Kb/iDnRLdZpctkGRWaydvFN1Rnm36Jil4LLfx2EN30QTlk9VRfsTvGjUiHE7jAEPemkj0Ilwt+27K1ozluLkYe2qdrr/6F2NZ3kzXD6nk+f2OeywAiTODZX7yL/Mdqs1cd0HjHJtM6dLSsUg6Kye9y8o/MbWR5uIy/ZmojMqyzpCWag9G/pyg9dzy56CIclWwhlNwpqbIBqJj4gOLY1sENQAQao/5OfRBvUnBoIDlYqSjMZLNgHmb+TS5Sy2yAH4+TyXgU1TLkImqz16d+g+JQg1+p2MaFxVqR1otyfMU2NF/2bfcf+EzUwQ2di057TkX7eWstckbbODAcCtp8gjKjCv808tQKn+nPQPJkWqAZ69GyMnnW6V6Ox4Sw3UkLzngtZEslWSC3CLS0yVZMfdYP/WM6c42tdw0OUgAU8tuhCne3iYCGLZU5oYTVoejIKMPogMlZZFHaDkbX5eAFbqs6P6ioS4RqnU631fiGWVK7xr/YOiAugAwRWKQdpzG7LUe2cJHXOduN09OPem+X8tYiA6ATwKDdPDRkZtS2o0pKCfgc7AxNfDnI1yJ2u87YoFeLGrDfCVVskvWq5kx32uUw3NLOLNq9CUYVcxl4Ezq7pP8i0WkgJCjr6knr7tcQT2/YO8huwB4/KhtQEnty2tHPHUldNLb93KW1FK52INdUIzta+cezs+4Q3Ycvimq70zn/9HrY8NfPdJSeA5y4QYyCcknySkMkaUtqygyTnh4vBkB9SvQOckMGukPG1rFTZT/A2BaTXxu3qq4XdofW0tAoCg2UzpCi0elthCtivxZ1RTW9YkFzISOm52F0IP32SMiaJTDIsPxjIiCwK04JAy4qVEf3RCF4WqXy9W9V3N8lD+Yc8tSys4XC7yKFG+w9PJSky+3gs4VESRxeUiTgfwGCCGWhL5lzs49B6x/xMCE2+ZJvoM4U3q290y43FZusbNA6SQ0uyq3zgA+z1qfkxwNb4BAQpGb7RenE42Jtw1pxUVY0bskLyFRoRRpc8tMayz4C2NIXWEVk+cwaZvKPnfcTHRclUrz2g840LVU/iN4OVm7jooqPmGXwSqGyoSyQbyUwCy0VRnCP4CIgPpfrfM0CMTfhSDeNPakDYEnEfq9UgY7xYIHWnA8HFt3GS2kbspui56A4m7t0LOX4o4yg2KF/k+90f+9hGtdJz0rnINHF1cm28woQ4BFnC8LFucEckXqtLpd3L9Y09atkFHAINJygIrfePLhUMO5kHA2EVbNlsaFlVd3c4Ue0b0fhBUAX9WiwW/BI93FZ48TKjKhszp48namme8FurSkpQQV0dfBDml3xO+WMSyMKwsSYNTvLEaTtz1zA+B3hJDaFdaBvwO05RzZshq5XBnyBkEFQ9UvWvYuYOGij97ZeqCYyD6XViyEMAtkZjNNbv2jyhw6nLG55iWrefhjdnSKcaleZZszYdjeu/67MZ7Lfz3zATmlz3JzN0UjxL9q+VJz5Xi7DyP7zGbSgn+jjeorXQ8TPNQL4Q2j7kIJ5HvxFi/JiU+YdMH0OttCLmmdeOjJJy86mI4SqA0RXdbEtUpRTIrxLj32VpzWPO1b9hcECugTmKZEZqWQPGlhYWCTAbCVkfMzJeTSrZVHP8d4ZRvYlJVNxnmDk3CaR0we4fGp9J2natcxdLAdiXQNrfpZu3Sb6PgOipLhAJoLXvm3hY378Ugrk/7iwa8Kbxaq2ZKhCS+vs5Rl0qKJI+fTYIFhMQQy/JourzBTE5M6XsZT1kixg9vg8Vcw3oSkMEpih22p/eFjFoXi7KeotsgiXy3qFO1y+gSnLkmC+yjTelxJ8KwHoqPnrMX2kCWOu5cBQoFpQkEcyH97FGNruL3GIFuOWxQcpPTu56XeKA1wwr/xItSQnd6xVmR2gEubD/qhM2YFy/ts8xUAyDAaq3YNyQlpOhStP9bb2mgg8tFLFiBsJR5G5/xtDhga19YvL9uhNBKgZ4WsoSQYpBu5frAKeutkhqxBx0aqzvlAvHZDIA0PLy3SAM8YNMXg1D+a0zCrZ++SDuzn+NbWQcax9jsiVYo9Z9XpXxeGut94keinJlSFonoGt9rlok29KJW/Q4M2WOJMRaqQWnY3mVJW6nocXoATW395Yg0R2mJleNsj6jkEzOsITzTB0Og0SodDRn+8S2PzI2LmErNrOCdjHM5kL2C91g2bx3LB6U2ch5OXS/QKzQwcO3UfELkI0U0Zsfc1iehK8FZhyOCPEyQQgiTWothI7zb4hQ4OddFACAO5Hgvv12dpqYRsWrlmw62e8X4xiIq6igsaV3b6GLFHCpPNFbgb5EKYM8ybfpWNA0NvW54UL+CXOAz5qNg7PdHc7Q7cxpjODGy/iPCl+CbDnMnV9s/zsjiqcf3Ksc7W9OVKkMYts07fB2ng/cUlB/dK6SWkp5eHyBwYaIfgxXKNvqfCqwIxUtt9sMMeuLPkVMyofTDFViBzveUyr8hpB6MWJzRkv4M0tsRitcSin6GKLDfxWolViXjNdzAyEUYK1VZob3uKCRGHD7VM9nKfSqsCTBUOIv6d45IAZcS6TIJC0F70d7g1d0VxphwDHRRj/MmrgfP7z9wAW7X0/D7CDA9e+pIU+VLMITWJTREOmb4HzrP0eaGlMPJPj0sxC+Lzse7DlViM7XtfMOH1G06+DTgOyPPB2Kc72CDgmpQXn6Ewk7nAocwEKthkaHYcWnSWE/3cu17rz6GxGgBT2ypifLVdzyTMNXoZAEwrOthqAL9y2fwnMaOv6X/BkHL+VDlaE8Qpu9zi8vWopsqI8UDInrL7PVsYVacTBByrwRkWvIOV57Uo12kuvfSA2zyAQlCzj3T+7iSwtcjaEzYs8J7Iq/hVuCyCVN62wNPjUY2Cbt/uJwPP73ovz8rk/ZkhhtDTQrSZCoV+HYp947YLVvalRVLXyHuZwKwWmwNaQlf3QCn1eJA2eKTmVNLFDmPKL2N+V7X/SRX47v1n9PVPum4zXXTH1ccQpKgn3Aw875v/6SntGE6X7VrO6PFGdyMQaDXeXsV9g+N92uaKWrIxmXhOv6SoIVlRhsxxpPnXCUjDYcFC2IPlHreitkE8cSnvVph+8whl7G+00gE0urWWcJDI94XCVG7aFSWBJjKTfyJQqZg/+mRppo1N4JgWTbnA9cLTUHYffDA0HLThN/hX9KhWwuRJBQ5JhdhGXPgYhJk4euxwM+VL597XjLAQPV9Jw7SpkuibQJkp4Ly63DBWIKh2qSeYSSo1gRIlXfgivb7tw1xbL53sH+RilwTSyhaDsQoerhkIT4yATN8XaDfIEVjFqRooG2CbNAMZgsKxZI9ZLSzHINWP0Ye6P8+exBMeg0nab+J5CV/vTrkYlo974zyn4WWwbcLmH/7Nxcf1tYZ+M/pPKlY/SUnYJkrCI5Wnrtephq184EfhqajNVjHsO43F8qRnege1VCMMd/m0RR1LWUqQmWEyQ/04Lv4JzZpEtj6AvaaEdDmM/EH6WQgR9AwUz1uHgd2p91ffG2CmF3uMFk9VOZ1YTTWYhIVfR4iRYfncprIv5q7v3DougOLtpficPEEYMiMyIoa+/M9cPnrY3rTcDMMXYGhnRZVMcBVy2WDVTQT5TCG3ON8DFe6tADizpERp473ujGxWGVsHHgRRpW+vPEI1bI4n3cZk/hpKXoV9wU/63X6oYwnKuz0J46TJckqrvrkhKxAIOjarIthr0/Nbiqgv9nULpCPpYmB4H4tFKC9mnYw51xDxxC0PveR3TJipKL85tVEI6EQx2G/1r00y3N5L0OPffudTOECQRwmP4kJjeRn19dR8WBvXTkDFFKEkaFXvfoihnWhgdkWrX/1EylUx+tenyy5pWCGFxZZlXLnfBM3Q8Tv6PWaWiIPaljvj4yt0Sgbjkdc1r2B+uoC6BvjO2Opmkb1R4G/ezuMFKsXmn8SQBUmDkIYZM2e1D9CMdt3NRtMXj+Xcu5sj3g1B11149Ed2yqtHdZUvf7Xz9objmmhfNCr6NjSJv8GKDx2w/cmAQWTXYMe0633CM2i3t8s9hx0QW7IPeTDGD6kNhwbPQ+HZUZ9/OuKd9MPb9tPggIDyyR0adj6VTjfpYndl36NmX+silHrWP6ZuAv6cB+LiSXhPEzy/nTs6n3Ezry+LntEtWfHp4PA2dWzCXYNrEKLQ8Zb0Y3tlQUgfuRfsPO62dxWdV2MGz3GPk75KpVn0SCaZyuhPv5LXSn/MzRxCNd1Rzb02RccpZQEWkAcy6HuglGv2Tyyg4c8JOjzkJP9PodqI11pHc7PAbPsKzzOuYmQZy+6SL43B6MWzOh77ljzY/xHOcYd7vqmFaoRXYxmrPVmFvBnPCFAnjJry7ckXG6cz+n861PFc567dSj2l+TNlSwCYaKKA8HMjvvwWePZpdHmic3BTFzZkiP3S7nNMtTjNwgSVI+u0lHCA8bTOGgYNPrR65ne5bCRQKpvnDzGvJNfo2XkWo0OzdPkAcsFArSf0lrUqLb4pbHJ4i8+hFNDQbMpwgcZjhBnYBAzTG9BXyPxUYIFxFMJwxKuvu+CtuYmlT69YSnBtlB50/925v9LI9KtYS9aulSHRTKDVNhHHab88j1TvHuZ+zYR34gVuh4jrSAbH5ENi940WwTEEFctv1yalNbv1c0oUY2xUHqdOp+Q+in85xjsoZ/ZNI28ESAL5Bw+WhKcoOM5hqyqQbxzIRyKIBwn9abKxtrXpzhdAJQzH+TvZ9u+7NEc2kIO5NISltoccZXWoF723xGhetPK71yQeam2baFa3FUsw/xSj39OpxcI1DfS3IE/vS/6zoEe+7e+Cv5qqjNijWPIQqcMmyW2pUdvtu3180RBLpOoU++XXSW6FvrYG7WTrrQIm9I9GsyCFvLgVLzZM5WUX1XnRRTc5JC1rOV09FvWbc9Y0bceDcVGuOEBHR8bohSySO6tDXSobMErmyW4sYQE42P0SkYm8wdNPZdvXnhghmA71/28YZODNEq0XvaXiIDv0xwkLepz++cucpEiWVyS3KCLicBpf9ORnF9uCshYSJUXbjv4kEXemdBa6+p5ERZ8AB4nOA5eOhB+paeUy4qd/r9AXQg7C68TB2rZMeZVMB0ZQ20+kK3GVizLR47iGVvff+94pUpmIBIyUfgRDkkRywRfrKvWVeCP+BKuCOmMJmnDBMWBvJ4uVIQlQIIi6nwrfYfjPPkb1JT/FCKSEPm/oQZ3rIlbIzbeKuumOEWnyKnkS6dr0rStzUACjRdteAFkelQR3m9yaSOZY18WliikJ//QQOo9YQb2aT1JOqdvCjzmheAN2AenL+m486sPl4IQZSYVmo9s3XImKTvvc51GFf9Elp4ClhAP1epgZ6Nis40GiaLeNK+7IP3GUdGJl9FD8Rho6ZdIwXWYd+G9B7xMYnbPSKjQMKrO6QAU6yHSaWoKVw4FXwuWAs/3ExcnzCqBBBqQePuQo35CiB0jrguO/qG5ievcrk8jwJdzSH4EqXldoLFp+eVRqx8YwZOrEehRNGLSDFxONAZDMpf82X2zuhKmp8nP+Oamy+6V/e1qGRRPV1WJcPQzq6hWPsVkV9DT36D/rTZcAZjwjtTVxq9/gtNXslop9EG6mnCPxrxcP9q4DJEwU3EBxgp3xxeNMNQRCjIhDKwOvfWlrTdnI5HGRBlNd7xGMtIFO2EdY04H9ON7yUIK28AwvnrILgMYtcYx7ggHajSmdeXooSix7nwqBGCGn+lOBKIQoFIN/sUUOp4Xd5LvUn3RndyS0lvo+ez2ZFUhfP67kom2wZdysb/fqlqybcuvkQEjPEbuBVX0uyLjWXcXMwNItw7eBPXIkolOei0qHRkjZywY8zv26m+IXqAA4AndMG1hSjeGKPjx9UQHElJ60L5EzmZNWnOHO8nKtDTgGfqrlthIZizJrMsGPG2X5peLItFq3nIA0DY38cNwpFcVw8MP4fzmQtiL3ghsnCosvRVWgThy8cTfQuRAisKzNPK9qG1/LEMdJNUhwjRMM06CpUqDk8Z5sCHtzsqlni7QIdK9TmlgVpgX0FC3ixZU+MD/VycmYQ/V/4N5kKkyovejkVhfW30sYFArVoOegVPS71UWNvLQegxuBfm2hhzv4/BwKfhvZfPMv26iMkmF2j+x37mU3ksnddHBkOBBJkBr34v0YUmXebx4LHj4qBhS1GOyafQqJFykwfT8bzpyS9sOarrXT/ZI4CrG9puflZaA3WWLwJzUIJzEqjWqJAqPcIpXzAa3FgvgT2WQ0dKdh8B6s4hu887e2OJoAYtODUyPn2vqv9QbeY/94u4wYbkaqFbS5vJ2BTIrfHaZUJACBdJZbJd1FGqfajJfjXIFt651iNz66hrcQgJUiZo6iIbRYXnBAWmP18x0PdKAmyw3YnKsId2RUHN47aoKgqV8Uihebcuvg8Y0KzNsjL+CRMYn9lHtysQ9XkboAKvjrUAhnhQLbXmVdhAHOXcbGbY2maceH2b6dVQVLIq2pX23AyVVADUtyYf7EHAZomxT6kD85CkCVVVDyto9CLeWXSCYE03gUFlBZ/GfIzv7pL2uLQ/gB+7hGWHQY8uCTdRvnie9FDEbQvhpiQQ9iT05P7fpFxs92LrTbJ0aycUsXum3fXz/QAVcivYS9vQhhbI4V8jbhAZ1c0+G+t06nRmRxHgEa3aL4PNa8QuyETzhDR+oM37kh2atPWLeDE3CUGIjdCoEWwPyciKeHrA/oppNryM1/tIRMszq0m9tNloI5v3ydQMAw16Qe4V4OOuHZSfoAunGrTx453h5Qyk0sluglG29b0Ycxgb+0EA94ZJDVbhuLoeYT6pTStsY9dlHxaGW9MXa0YrMVGYcp13eAjHsfeMtsebhzWmckf5DVT6+2GX++n/1knUxhKfdXDgyTjc+o5Ic7gIRxoZM/vNOkfxkwfECGhpoIRcbG15iq59t/RoRzIDXVNmFFNDmC4aBeDLJcmFmmsGIKKLhUMjfLfPti93ks4lhKkRb9e1l9NT3P72nHrQdI/VhWG182OXkfUeQsIskcVf7wfQB8r99QTuzcclnTROuz/jXPEh+mCCndHiwbRoXzqU/p6T9cHdtcIOT08PUe7a7xD5U+C6gCkkXHOy3kDvgZTFXM6FLB/ImzDlvPJq6sVQgilTYEgXJhBv40YF9+oF8bXyYrHTMN6+JXHtaNePmwF321sFJ9Emlw4uDhdWYOA3mmyHUsnj54xcKpS4WmsGY1zo++kcZq3KkVsyfMQxfJPVdOFavNNNp94aQ8gKjvIXqjjHS7XuxgSHAO+FyFNm8c2dm/g0DA3S7oqLlY+7cjZf6KfFFiGY6NBXDz+ViCMFLaVe7gPOm665kKiJuAk5SYwdRSiyXaxSkghhC4MPOIBCdfnwHvzZG6ttLTuD0bZjtl1GA0uA+TnvXkvQCrJj8J/+H9w9L9nq/O56xRJAXC2VTsILyY850SEi/7JMmWDfvPpQ6DHQNpIp5DgGrZIFvemlLD8f/ExR6ejxS9lEWVkZ+pXd3inWBT5WI1B7Z57bwPt66F9ZI+GlR9vrkJrm5dSPhHxMg+pdQ3LEYNuTeYlg5LdBpHbw2izGg6BmfHXDA+V097Q+ZO2zahiLIHrG2z1FYAuoiczBMhgxm2xkKa4qCJYk/odWVTlNdqm9jMEwIlh5mZhQ0y2IOIMvEqJKYM1bDWiAE4GGBAwLeNZ8tIPdJjRQIKHrU4eSQHFXTSSIQH05ofwIgV+T3nZu18GWkO9iLfl6T05t3EJuUyL5J9SOz+zU09X8BXhlL1VoX7hUwH4fXyqaL4nF/JTB/jKWrGkqsc9LRjy62ieuLf+7bXjOkC6gSCOHuiQyv7phWwxB+b6nFwqDcHW7zrFFPHN2oWz0XKmx9fBhxUDgM1+w6+nNtsYSAQ4IJhqPINrDzNs0tSLU1eg33R5IJPKKPfbWvvY4s5ZNsFqORv1i+GQpVN6nXW2gzl6QBdH6i8gXInxywAniLhl2u0bdRMg9XIVLDUd302KCHC1BnAf0M1EzbMNVxKgGQGYAQxgg+8SDBy4RbIHxkI06GKstz2pYyUVMqz+tfk+qgYyqDwGFc/401sE/MBHlPF9mnkWEVFz5+aEd9i5wAM4fKrJKURyYLkgs3Fr70D667//qQYQ/bIonM9PNwnNJOeCEDBiY4A2Pt/6GyAKfZApkSD6rvCjJ/pU32xS3Mpe5Frga4+TtYVN9TYqj6UjRqE5h+JzHZAl13PSwfT8Q5QoQ9Pc1GkvlYIFJ9bxRYYbDipwgCNxFBOAXw1r6JZAFCG4hoUYNcxc5AoUOcxZ7la+neNgyGuSWyJYcK64SxMYUWXHaPu2bTkRqi/lgXpFW1iw5ASHzZM5VVahtgiKGu2sM+v9sLPpUye0fSCgIN0PqGNCiBQ9Tn2OK169pw0Sc34PzVWpXl1QpKYuiiWEOUosXDaEtGbZrdfJceYy5Ct0FsXbtgB+DcP7CBDrczlSv599v7gnYlJLk+hbkJNDj4RixcQkQRaQNx0C8HqsLv4Wl/j9XXPNfw44vcTP9k/E1n0g6921RZk7NT7PN0P2PWfXOiCbUhOL3qUbylVun5RM/7+7PdodbCJKmQpG/MHx/XzB37wYLECwmgzSTxzC+Hk3qfHr2VnwgTa32lqUrtbpIUGZMOquQ/7cfVfeRGqMgUn96n6a4mWyMuWO1NS3wX2Fq3YYv8VNtZkScHgYarOpmWV3soZ7E/Nng8j/lJ5+mV8VQgMKnwYxEBj63SFfQf7AtMn7Rq46N33zDA3/pHcF/4jVAEt/+ehi8gc+bVy9NwRnsa18rMQzJCjKkK9p1vien1kNaXmapyMHFm/8wpyxa9OLSEYmDavdhiuyrtVRbryMozp6Tb3PsRqIjZlYQYisbQ4Zce9q4FBmU2WlKETfjlobjkCx4v7gJdtq24i41l/hVjKpPRZPdT0HKMXPGwQj/x6TuCK86ByfWCM1VBI6GkPI/Lwk0/3GFs3k/PRKAHPeicjuiLfnCek5nhr2Q7w5u8o94i1eRDD8fqr6IxhcdUwQ1J1PXYOGawNVjtk+ll0AS1/Sk17XpPWKBTE5Ldq8DAIwVF5hMZRe5hBlqzNGE/Yid2WKXk/Nv3OaEtnFWVOp72l2Viw2t/aQ+BCIkL2DbSZb64WgbxedGbB9TCh1rjCkMwXT+nC6vIPLTir8Eih5yGQUQv/SUWMuSDg020iFq+magajRdc5PAPLgMV7SZPyFQtRxZGobymLOqacWVrDl8C68PR+WNRLJ+58VKnwwYzkS2V8k4p3Sw7+GQ6jNTNmeONQHWVVq35ZJSzo95xsWa85B4hv//UqkAxipxu0JKL4daj5cBQJqimIVGRW/J3GNoU7LVtwmO7QSbPpUS071Oy5tJ2Dz5+h8fCJn3VX5KXgjDZgrITkrG01UB14V4117DPninFHhHyc49DisWB0xfSLVqFYHVIqN6svCqS4gqLuNYwAsM+boD7OE76gGbkoxRviLNMu3zHOIRqs8eLCtQKlK8Sx3pfegghxuPuEvFSPWPSg5l6vAmTugtFlE4DpxKFbAMC5mq2Gb5UeEVc18qoDFdYGHOZe7xFEBFNm6FhoIMhWVFezoLnNzPHYLyfw8jXIclb0JyZOIm48bxvrXkgxCRAvF6pn42D0VRvmIJQ0CmNYMhEt8AYLWLbwmvZSA5wE3ZJnVAADZyDP/fw7qpPROPBVV7+pLk6fILaacQoLkeX6n5G/bjvt2nyFZF72+AEvX8333egaEnzjhdJr/Ayd10G25PD+jIlmCYzjXMbvu6rpJNn+kWV/0PEJx6xaRwOIktJwQhOa9Je4vM+eAITte5dRAplgnWBbp1ZEkl5C+iQEupfYHzozKXg2Wvu+hCpYqCFcqR6e654Emw0DxXQzK8S19jTCYru5ITjJahmv3VoyXs/7Sx9IAXbW9qlOyOwopt6e6aGq6k2/sfsAOcmM/XfrAHZ0WshH52epCZs1YLmtpzEklq4Zpr636EuibqSdfnzTKpH4NYRasLw9BnjmJQVPZZO0Cd3cNbCfdld/GaACt5mgjdt5kCvF0FSQ31Jl+ywmuJjLehsHaJyjW29Jp66xhecN0NxdXNPfh519XQqFNExCxbFuXF9T9EFitI2y/PC42AWr4NjY1IaX6gqkUbHOC2FUERWVnvAQdsfSH7LC+8yNw26ULRs4FYsk7BiWCRz6dz0INgbg4BMAPMKSGywEKBbx5IefG974Lo+54At4tqFsq0LmadRnulmYrlm/MGeYJWP8beV35YmhTdFUurdWnEjZt2kaEdpbbx4pkmsAf01U9o4YYffbRfCAJOdzLE4ghnH0/9b1s7PAUZqmLwnnJuk+lMSRdgn9oZpJO6L5X0ftfp/bkMWqjeR8ja5Vz5/1Z2TKVVl5IQNn70sy4qbw3NI0ghy1AJNW4oV0btfVdE8dNwtvhXmD8E+UoxW0HTrRYiA05Y6N94+EhtnBxOpImgdnI4sqEzNUQ6VttxqjllfIkHz1p83F4Md1uu/uPxvAhx6WANxDce6x8btXOZWGBbhqCuR8Dj1EXNLRxUR2p528zb2wVVpmrm0Xc0/vE+HhcX773ijcnrfrfFfbamPtlxTZWQiktYBs5GN8g4Z5ASk+Ysf5EZGRUtPbpxonlllntbE/ygYg1WDBZU3fPnbE0QPWyRIm86udS9FILV/rZtGf1y1wVtQIETRAOKcev2NOR5TiHeL7Z2TW9BF+Ue9WYqm4yDUEISIPK+DXlgJ894Vfz/BOQkQJRi0YGOZvehdfk5q6I0TOjPdzglITC//FTgPBtqbKMYWnatRLWq/5Iyb1jMni6aVI4Mh812NHAwBrZtNUm4lykFkYECMj1IisCB8rqydNB/+ZdfTUuObw++/QQWOVHK9hXcuLza1vBTFbmVWKO4P86oE9yzueVONvP/d8qbycpVsg44wHzcelrGc2tHB7wxGWzT0HHcHHIv5n+uGMJaesLUz8dkZeSciLvISIsXtsIAaPXtl+qu/NbW2Ss5ubsfeafNgfZt1T7wJJtN7BNCAyp8/YFeIpNmJZZOpO/sj0n3fx7L880jyKPaMhQCy6bIZUJopS/Vp2DIff/LS8sNhBBQ9NjqJomQl1QdN6bAleW0OdRJj512bs10fH80v5DTrMb3JVmqVjUlEwCWGCZ1ffyemx3EYNTt6cBbuXJjavxqjZrtgdWhXeN0MC+9fPiMPYRu9ySEzuqdnQR0YmBfQWvTbM+6/0K8hxUTR0kWuvguWNrR8IdlPzdGN0c1IqjQhXtFXxApISFOYt5T202/5qm4pSXU95M6If346cIk0pDJZSTowubtNgodckgFHgsLWnfekuYBJuvT6SonHByYV2khicxAz2qVmAD2B8puEfJi4aCU/nOwqxkpohn+bpgxqy/6v4g5MvVCOYAnXgWoLXOqnuob/vgEU0W2GAlh5x17QSj8oIk+0D4BFyPAQQMSoLb+iJHBmpBGBQTJ/b0sgiUSDONbp5tSr4CDH3ZYZPu543mcAs7j1nsgmuv5MsS3jmcej3f4BQFK8qCNsACteN7mgDSMsq/KyESugzVEe6z7E48uuoTN9k32p9KYs+ODrZqD2W4X56cyFu5ECOPYDYUJP68SsQJQY/bCN3oMh4FTR+i79CEshBSYA4FFRTkN78RH/tTGh6RkRiKE/421QtCmbVZ9bWcO43/1rqwOyUN9W4mi8ib51owubaTKl613vf+rRKJHXWu52q/45dVFnlUGy90L5dN+iI+U4Aaa5h2YjGPUS6DFFdariOQX2p/Jt/Pt3GH0BoIK+VZWwiPhsoffD6i84TS8jvUimSDcJy4qFYmQY5IbjMSiqUvv1F0vEsctNperORKbi9+r6dJLc2UeyL8VyxOUvIarKuFlX+UIH4cblhSoUGWMdktI8qpnCpU+BFcvNjFZssR7dss4hpvN3S6qvS3RCr7Umsb136FnoPNM3/bhdYzqVOC0jfsxa85pl+x8J+lCBHssHWNwOn+FgN/Kwbe60qoj0djQLOE+H4l4PutRa+PotJiKq4s/5h2827bsogEyxxU3D8jefp0YNaNGSN9uQjc1450hX4ifPR9DEDC9+jqGRdsS1CiiX8B9nGrEOaRrc96hgQMJD0VasGyQtDwAxlGDBOIE94YrrDhpkMBoHK9goKQ2nkiM/QirgXjCA07sQb8eNCOWr/Sao9LpzP1ophpNKSP741qcW7HOIQmK53j8jgQaRwEa0/zLR848nWKZZaIYCu1LC9xw5xdFCW/fT2aZRLEvBDA/kAJI6GBBrIHzKOHse9QAqZ0bDcqfT/JinOx7a/u5NDgDcJZuJNgAxyijuVPAaTDhRdlLiOSx/HsnRlgoKio5dTSISDjUxFlgP3KSLN00Iu7Ek4WUh0wnetal1ymsk91bdEiqu1rMocuaqpfTALosTOBbQZs8SUevKoOpiFNnozaJNa98Qb22XJXsUydc8FvU2JA48s0TutUep9V/HSCRmuVn3Z5VEtLVfzu3m8Gcy/rsFCFIHfGRHzw0iCrtj4uCrKmUpspTp11B9RYOL5nTO5B2PcV4ZKD6X9N5z3CNlKW+BCNk89uwqXySHdVEN+lQU2tH0FxQSnZwqTrSSu2x64rUbPADDegrHXUc2Icr9YDQgA8e3uSQF4QEApPj1utQd2l8lf1wfTGRUtSXRlHfOG/0nXgQSHszwAcG9A9ZCqirN/NF2a30eVKS3YZU8dAeNH2slLdfTkv+C9mMPC9PTYTwZ5m7o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qUyXkkI4XFFFjYk6Ens+AAmEYJW99J2Rk4SeN4MDZH0uX5ONwYnTK+6znZZt4531u3drFQJnAq75G5IX5dbhI0vTH+7xXjKNXnfvePIbQ0a5JyBt6uZ1UuBYz5FlnJUmZpvgNzNRN3mBEFYv8vPgUP5SUeplFu6qkS6ARz1zoWqbRvcVwKDMuUd5O0bCfrYNDDz+6aYgPlFAwyIYw/qc4u/Ef/XMmiwYaBUnXuo001lq6+eynCswBYM9dSXA0GnqF0TrOW4XaT9sepg3LhFvY8/qB4oLMsH5vJdvxP0+1VRhlIPLBirMVwsYHJgE6HbbVf8OsLj5gbgrJHIrcCaOn5Y9gvKH1iCODefCzgcUdC3+lAUr2wPKOfylI0eilmusHcddk6uGLEKeeFbvjngLA6WpMix2nnw5U9sA2tSYf173fJIkRSvNcWBpGntZsmBgpU76jbQ6llHd5i9nRScJRe7/k0r6NRsmZx+IW4SbSxBb4qZSodW67IAuhpdYYLGqloC3HpVkyq1FOg5UvVSNEOwB5/pamV2XOQPyunem3FNlBvTgOe/uZhoRQNOsCvyJYTbvxgdE3jrU3g3T2Aq/xkKfDcrwB3N7ChWRvH3X8Ekwdq87BvSossQzGVU1auhF1uhgXhqYC8q/tfDwulYjft0ZJj/1bDKWnEBwmznJpOOCq3ZKOjytK6abiTGTaWX0QWOChmeSQyo082fKcZMBAaswwcd/hQXUIpXZ6i7xzsIBCje4JHTgj7S3lfS9CdUqExmvVV9xgzLw5Zq/qkKmYedRiopSGXLYaz0y3aRcyfi+mLsiVKwSi/sl0SQJWlguN1xM8I9F4qDrkFKuv/vCgf0dZF8RCv89E9QjPkEwO70rqV7pG3ItA3P1TYHwFjOIpFqXsFhhfta1RRfoCSlGAzsU3Kyo5E7XDExoLzT6si39TiGHxcyO8Uhs9+1CT4HwEChZE7TUGwccqxr+1a37XsemZjdzJJA9TBkG12bcfCA7ZsrSApsGoWhFIgBM76rdDML8drhOcy3HGTE2fVCbFADUSuzbku6Ye0rBcMoPEHjYwQaBPj/yZanLXpubFc2RbsgIaFpjiFhiqH5esmySWuIpA2S9QBYETXI13Rl0+cev8RPnOFDBdVJqbQk1WWsMSaMeifihG9+AyR6SPRNFcjIBhdvMCeeFRRBS+bX977zSbCsWgGY+4zCnVnDaG81gi7wVYOJ/j7rs3fvwv1WYI8Ju0zpeCJ7TEPUa95H2ZrarKD9ClCq+3thRBbFwtL4TccAceElz+nEML3MhrC6tiQ9kNLFR0UPH64O52r5fIHBWM8HCHz7vA5c6GHBckCSyJFKlEDM3YSsK2IY61K5XoFyJRg5h4s1sX7sD3c1DyaH4Hjg4X5OgwPIM6qomQXv7vUgdOcxF3SzdxmovJfsxtW5r9S4B3NYtTJZA8fJt9OfiwLgJ96PBfSNoMMSyL7gB5G7pFrFRImPLdMjb1s5BeBdfjK8XbiDVHxsEJbz+5yZ9c9cRShHS/xSHQpEwEIwEjOBGyt3Be84S2H8adp2GmjgW4Wy5p/f7mL0vpGgMrvKIYPhe3yVZ7S9Qr+FZekq284GloJHCkwuMViwwwe8g8MGbGSZy2xEp7ZUjzHXlll/PcmJI7cV3c4tl5tqosptI2hOPmtJs2Ax/OvgpZ5qmElkPp0KxActxHSAa8xQplwAE6PhB1BrQ2yHhVOrwz4XP7u9sLhJoikLEu8yxr8csElZEp6t2R2c2tlk414bywj0Ya4Smz4f6n7/i+UcGoBUZCQxbfYfBCBkJqYEdp/zSyuwDxpLzuliyHnS595hHahrE1FjBqY6a5GK1V/73rybgUZvHtiQ8laD1qyPM3qmlvbi9/HXsYDYG6oAHyRH4i9/qhc9+Ce3lGZnhSyB5rvKdgSOy/nldvKFQJHb34yiVFfaZ4UipfHZnlbRPNnu2Tiw57iCxTteNBQRUGjHE3f0zxNKWtCJgBrWaKPaIkKbu23Lgyr/GGUhPkt9mBI/ownOVwNjOwLdZg5wmhgWvlbi/mGk80099pLRpnjwgvyKYC+2LGkqS2ufQuLJ1wLIbVt4FUJ9CKObI976Blrv7asmwtim5TNef/k+eB8Oh1uUyo+GxUkWEUKTQ4TNcYvoMmzy2x8Yc5ctxDhDOC7azol8bSxySI7Raivlts7I5G1VWulukkKBAszBOeznwFufomBGGcrpS8Ig0xROzHrmWeneFkmIz9coEwAC+tc8kPdTXbigtD8DZHUDwm/u6kMV/OsNeXf98otnCi+RUhCRkMhJWWefkiWZTbvU0moLG2SZIvFooaJ3lAXcTCceYEA3SHSd6RP27j+L+HINgf5U4Vpj0LWFupCWK27V0lOd2C4b7DblXQOTOXTjTKQ2SPwyLzgmBvTQfy+XkooTCVjNm3lSYSblq7xy+Q99YDvLiv0UYij4JHk8VLsf6kjtPQufBEa7+GvvWZEdwuh8TeWspH+psoS76lDSKZNvMHqjDAPT5Xk/qzvcs1TcVodfrK/Km/tnrfSktZEVroDxnR1/xPp4NGBAK5vhCqphwd/HZW4uOKarJGejC0E1G2F8P+YSUx2/Gs09zZTBzSp0q1RFg7daA8vNN+6Vn9OMue86W6bGXx6hGiQHODMMhAKDGUeJhXVsHV7N8rRe9sqXKIk3gzo1D2c15b8PnzmJfIfg12z2HCoQCET34WqD4/0H2CkCEVKY22Ikja9451G/9vj6LqRJYxRyzi+Z9X6k6/e01FhhSpSWPGKVTfSnakWS9ip+V0m6RmWp6fXq5o9CGcyGx7wtoYb3ka9IpYvSilj42kDnT6dGwMCCOT79Zgaad0vUFlrVM4GFzJIiTfkfw+wpCazKQHoJQY6dql84Q8jGUwxVwVigDkZWXnF36P3vs6DRp9Z5bqMbwSnNylnUwQHmHThtCezWFNqWZ0s+90tCa02gDWGfioHsHwEdlkl0wLdYgI9Bb27PjY9lSqRa6mgJmMHm3pv5S5qJlj/f93Ejb36Hwmxu+FcJqNmQBfROp7RXpbNhFb1R8vxt4Oj0uTuuZlusYpJX7oiRMm49Ze+7bKBojXYZF6nymcNBOqDdMA/3vRS5EWKI4nbSgw0Z3J13uF9ccbS+USlfrb4N/b4aD8B6RSLcONvK8MSg2T6gajoioJnUAzD+CuxY53x6gA1BJ23756VGTsqVW3H+woM1EI4CH/tXNH05z1TlGHqeWnHC42Q2b20NzEndXgnDFHzvj4wxgeEpIlMwz05oEw2nF3gdF01n3vHRY+VmD+QZ4jKiINjeGeqLA7rEcQdFujcuMKXghdyW2qf41ByuttHuWSl45oW0OMGk2VNCJDG9J2IXIBu/dsS7D/5VhI1gOLNKFWZRwfwEklD4kRSAREUq9XHjnKpn2E4L65LgNdmKIUBJrYCDIq/PNqv0wU3a1cZk72kW8LfRYRz7e85gmBjTUEARd8ubsKIGgHhZn/pLrkGJHjarXUAqNhbjETZp1tCI1sf8EiVZbCjeIImbu4aG6pqfd29TcYMd+l0wim3NiRHrEZFa73u9t/6SWZz7e4v5i8c8XBrIUtF/VGEXD8SdWATiCqvvGinOMD2VqvG6raFqV4b0BNk89/Tm1RL6usWxbD3ewx3avJ4wVhLJq0x/5apX7Lp7QUBcb92mS1Qj7Uz+P8kxriGgM0ZcyItRLLSlFZ8ruyIqCjNngFRxXOiaUo1mtNV/t5SwtvZLUG2Px7L9EO9eaOW8OjHsUrL4AXn4EF40m2xe4wN8/2HQriT8O4qt6t5GalcfqFZ7iCnKQxMtqKQACViHpJnMnjXPtv7lSnB1QvAzE/U/xPbMtNRxCsLl3EbXxtfbmsxVn+xFR987Vdm0usT9gPrORAGwocfd67X7FmixkjLhaGaQYYbMTFVNnShOdh5nVWX94aX4lvOsPL5BOQPRTrffzUI5R4xd+VK29CRwcOqMX2Jo1cNCLGLNOYBqfKZaldwgs8xwB4kKtOF/5dJS9qSyQuXeeq4KaBl793m9dKVxxgGvkXVGw7yKwH7zPrKaANI3kZ9Wo9kJjt+2NLGqNZOfY+aGb8CxM5IOYfAjrnG7Qek7KM3OYpEdOh92+9ycPI2RWHqxTmZWBJITEjjcu2I2XDhqW8xtTD9LXMUxuv/IhJxRA+Tu1RtObVZmnp2EtCGmbLJf2/zmor0bGFSjOV8CqAjlVzo+b78j0BGCZENglrM7BzU9hIp9I4PV8YeZZgdZ46PgCy6yupGuTVD/msUzeLqPNZJJZrq+eZDQgDhsMIkN/+KGCUoYIMAaFz9bXhKDU2HhuTY8FrGvAQ76Qmc5Hqixy859g4s6q0WhIVwLceEH3NAsUj2u1mrQEhmKu93GCGZtrToFWkwL7wFjO5b7ShozaT6R+gFvkUy042/qUS/v2W48YQHuFNgPlFrTQ8rPxoUuwuKbGsaD+TrXZcXhrapNfq3mO3RGC2TPKgweBHJa06rW0QsKdOeWUQGsYnW4zx27mNz3nujeE8DO5xpIzzCQZNHe35wUp9aRWHh2cs51rjA3A6V/m0G4NrIead+WSOHK9If+ukJoZcSbz3JcRmAQbjJZ5BJkfDKEc09tZRh2BJgu0yw1QL2GEhlfN8Jkr0tGhMQ94KqcJJYOjtt6AnygIuCywgd++mQ23v++i5+nOtTGW8lHsbw6vrfQmt59bFA9O7dV3h42NwHhStl8p7GHjQl9iWN8gzpfnIoXKBhtEQs2By22oaV6g/NbzSVb+vd1J3ZKWWwWk3LP+Y3kDChiLrorQ81XnmyUrFHu5Y7DN2Euv8eIp6SAm/DLR8oUu481CKxTziYVoFuuFf/XiVyJZN3+S8zKxo2g3dMaMfHBgCeRL85UOXQxvNLBxxuirp0w6jUAQLV0v65XyMKfGF8i8YnkMI0CzpJqAJcuwaNhDiPeD84dH97RbQoLVh5TD4dPJuhxPgqYWJvJDUPD2sO1FnEO2TVrUa3DxIIAOaFmb6lrjFbcyZM0Zfr+WvoMCKt0NhdgrzP1mEvfdBIUplCRUw7B6qXjncvnPEf87959e0zn+0/PeQV1cqAzXGWEW+K250ZH34LprPEzyn1J2hMyC0gnfL7sth0tIr1G5np2H8lRzDDFbLBSygr/l/+r7gnleiuJUtkDqAWKOEw+6cF8C0nCFs82NofSsb6en8G7RF5YdtsYMJXS0Yvyong8LNQeEbLHKzQU5WOzOuZMCIvMPGMKDdN/BqxTcSQdhN1d/f8lysj7XARLARS1zSBoyuipwdrR1/YY7GW2tvQ4sWQfiNcZWuxrj2sH1ihm+V38LLkU28/y1fzPpVxiOW7h0REii9x3OhrEkTbzSQrfsPpgt0JA1aXLYlyZ5wmzMaBKpx953U+GS4DIyHVG4wXf/y+MxhN+fVJERUymxYcZESoRX7/YfreU7/cVfvwmC15fRXIE8H7jOJndd7hMfmHHHLFHFMTA4ynyzgf7K0UofWBfCaZwyFUeS3l4PNImkbHxej24qPbbRDZRGx22xFtIxHKdp15688Crf1y4S2a1Mo8UFiRdqf43DZgcuP62baVht7mW5gUmU8Y8mUk6+no27uGBesjmk8kcsgk/Xp1IHxWN5eKUQBjxa3NEeXReWz9YvSD0X0Hkkcm0zDghzJ3Zfjy0o572HfD4N9TJTSW2cBdLKnsvbWTW8hnAWh9vDsfTD+8sTbZCXG2NRTbvWRHcwhPjaAj8yHuXTysrqvhuAV7xYaxVD+kaTLeF+IrYAbydki06SrwuM1n3fsM1KSGks7iJxfngBXcnPIrCTPiYyxynrp1NRh2vTaElYiHA0SkDmUjIKTagKll91TqYcph2fUW5gmDfr6h4BjDQtYlGvBDxu8pcgREmcPevuoJTy1iabs/hwZ9RKS5tTqKdtWMrxhyKCa2I41Ab30BlqzKE20DGDzt/KkCMtKXJhsWDJjQQwVU68gjVjXE6jzjBy33SZ0NkKj0tJ4kXGgiRMPCgWFB/ytQkuHV+87u1nKIY2znS/pU/mzuD19gq7PSJLkWWDh2UGVAAXNPJn9tsCFg/g9pL1mL8y4k7aY/bthRjogZSCXSpPluMRnaLm+PLawTxUSYUjUk6N+Y+wvtRM4nUziWSZZw5E80/yNMAGOcVC31tj9IpI9GiYAGeiCS6qJPqbheonoRQ18bH7JDA395m8KJlUozcX+qgaSrVXFKCETApAfa1wy00IcGsjg40JRIREWA6fBWiAAHDj7vZWcUsGAhNaXVwL20xIgK0WZwncxmd+6z6Q9HAnymh5okjT92Ma4VIkBeHuvMLIDbCKuI4dModkQp+Cbfc3/1/Z66ToPhQ4jXpMJruXyxLOM9eQ+IK+ZWg/mfCUV85QeYV/s9WuTXn5GaICAWDhAahfwy7xY7vIg2pY8jQNFRL+7G9d09OhVuRer7FkmrAGLTT6QnMGiGR7XZvGkC5WD2VDsOTQJMmY8P/nyEteN3c1JxrWzkMxAhnb01r4z2nb4BLB4siRNZsyMMqzpg5dkZuLuMDaLVHkRCQ6vUyb+jmzZXkf34R0IHaD/0oedhrLB/0aC2KKFrVoq9aSmLg/ZiLueTrO50b0sdo+iaF05y9oWRBIO9trwWS4ixF8CmSc2Dm3Q3YO382QHT+4U/DMWw9QUrRYxHi8QwTHJNoIHo4VImWyiwur2BdspntUNBM9AVHGkxGugDhzURr+P4XH8e6SH3zPiAkRzA5x+xEKDensX3Petd3jo9f1jTJJwtaNJOVkKEF88Ac3lEMgfA53sWp8ZcF4CubtVPB3LTO/cV65+ccuIsX+d0NLmXJyRIi35L4r0vyCRwG9m3yuHxPLn0UWpW1baS0NQ+r/C8eQTdc7ca2Bz88/snmUo2+nS2Tt83CFi1Zxu0x2VP5O3eTUm7oENgcCIUpIuEnc/36SujMe8RuSBzvDF7kEaPG2gyOMao/5h61pgt1Xlh30WTspbu3lFoMy0dJ2XY+LxvHfRUHSJ00P16HIb2koRJrzv8MIAd6hoO9unmD7KMBhl2t5zbvetZVSTBAXknjYbyzxQ27hRDJIDithw9UfuMSMOBfX9S6jo8YDxmUhEdauhtoPY8iaKxKWZ/g+pHHNavMziA7E6SXlTVxVML8r273FInL7Hv2fvef5akjQ04NKO05gZpTfBEVoQTJAU0LAqLEWvsQFQkUrgmkcwtInRFf2EtOHbgXdUT3qLomt7kH87f6Ib3UxQ2D7Hz6gf7VR0M1pzr+jazOYJDbkmtUiDKSviIaBtiwl8m0Kx8IBCJbDV6puu5VvjQYQCdr3iWi9ZBAviNtm/zjmd6tjyxS+LzgCjPDOvRfe4i1NIv6c00II58gvuWgsKqW5037LZyY30nMNfxhKCwT0KHBAOOVajLd/WkEYfNAq9kFRzc3DwoNpgkXfSVVtvrf5wHbBxBtrLiW/82MW8PtX+F4hXSW+C9zvL0GeD2PyyLJghKjh6drll62kni8CEM2CaLbuq21xhNT7cVqBdZPr/qz1Q4aOi+5Knu1RbHVHW7h3ReenzK3N6BF4qtmIKEIDERWfVIM5jTY0gsZnr46kfWcPsYy8iWFAxi+Qaq6UeFkR4ADnRMurZsDjeNRGA2TuWONCILZ81N+SqOa6R8sZjZy2f6h1NtciLgjXvU9Zg35J6XRD3aNuysdK1h358sUJDopKtyJqfzyiG5u+t8VKWmZP0kJ+qNaMhbpMdntG9DUwb7nMt35MhXnu0najLH2fcXD+NHJsPPEZjzcz90ZuZlhpcdSEjOisA/JbHfnD8K/gPULfE+9KrR0kyEjEfYyE0yHiLLpywT6QhkqJMCp26h7G84diEZ4aCbGMo6+/Gp3oWIuYyFDwMMEkKEkgBJFwCJp+vzXgCztfzP/wX43I5w/I+B262f4B3wsaGYRzCZk2BGdz8b/GW8Tajjg3aiwFqAoPIbEc99V0CfwnipLEcPxV4MGFDa0FgvQbW59U/rV5pT0ibl/wEuQ3etUHC2riX/Y7Ekq5VmkmufEwTDCNIUhGvXa8gzjr1FYBFBZygEpN5JfPx9XRbpPMORPAOAO6lRMInDHOuaKSvd0B4BjT2Q2nzipzqjYes80RDqQReTmZt2x6ZDaHMEqdkFNJWRYm0G4gwGwEUaHxidHfK2rao3p1MbQEnTdpwKUb19g4B5Q8QUmt86uiyCZ9ltRm5J1DLBqHdlVf/YQfQFGAuvSuV3Vzi8EIHNBHumv3ubIRrnDb8vyP9jMDyHStKfljV1AzTDGchClthQPJfzIE/M/eEfvIhz/lgNIgwxlDbaDfNm7EqVYqr1NWgWOnhXMr0LELKwzwZ97cdlfernI3pj87MvTGu5mbk3uuFbrglUMQTmANLSWI8GTqd+RD1lVlOB/rXV0J4qJeNPixhMPlgCZ/LYiiAr0Fm4YynmC/bHGmVYNV7sUnf0mIO2mzBV1sGj8o4cHWxeZlVlPCR5UXUsG3jrsP/moDLvrQxoVzJUey1CWlhe4KTcn/75SmlSQj7hCoLSfwTOeCPeGveUZxLV0m+6rL6d6RqFKXljoVA71knWFDRLp6ShNrs0NLh4GmiFE4tsI8WOghXZp6DX4B0oZKWNrwOvketGsETTR42tUi/VxflTD47TdYQhrwn9IUIJ0LBiPIwSMT6hlZHw+7u7gzqkeTeF6XK2kKcR5AdceTmcPZjuXg/ylrUx3QIf/bTXEgv/+xoB+KbsmRn6x7OV6wq1P3CKy6Br9dQp3xsVNPK4pb1M2MhKHXvgrnBHunFEhoxAA+5qHY4gCwO3oN0lwXH8UmwrVYj7UmqlDkS4Z2/QSfmamu8wM32iOvEU5cci0gWsa/5KzmbTvj5V296PTUCvUdEm2lESfd5YwN173y3eeSmiDfhTL7WS/8ZhGKRRuf+kyfLScbaK8+tAyg0HkyS4gB+ux3gdkAQVqT0A8I7wJdbgNQ2T6izpw9emkOi9+/2AnkT++2D1AR3/TgdHSh9fKShidaLtizFaosV1YM1e38SlJEd5AixC5BxgOcI28ExvjqpP5e4vysPolUdRXJWnzk2AQ9osu5m3BLzQ5WB9ar3U5Alt3Bl8BORtNIkvEo+RruQuVlvOmx5wtyTgkKiPwPrF9kmbHmPty7SN7AZ96PqeWEG3Nsorw8QrX1GvzwgmJvaJxWoc+8BTnQOBz+w8nKt4QBPwPnmpbxm1AKbg2/pWMf1iQLf4/jQdBi/zxyCrSygRq5gHJvS98iw3q8bpUcyCzPBlmQ6jJtNdExxq75wecqZ6V96ZjFCLKSkS5ZPQKc29voWsuqJkE3DL/d6CNDd30TDwJseCylGxIYVRrNiy3eo9xkqL+YJ+My2mUWd1R4YnSAeRW6woMiByrzSsr8oSrRNMbtzj3Dor+Ce5XZeO21nKezRRRPU2Azhhz/SWiSdQtdPsSOcZ+zfY+j+I//sclRPaP84CTXm5BGjeusIfRZp+TUNnsLs1NLDnIDQD0R32sM4pfByzwKTewZ97PIoKCXuiDkVFvxLMtPvEPKlrBu5BW8DA66E1Sn+LozyfM5rFooMTrncPM7K9YHkvMOOVcCB0tYIH25EJP8eQCMR3rqouGQYyO6QZSpn3jA1o08knXfMTKHwUy7blFloRpssKcDnBlCWwf5daFBfYKiSf+hOA/sCcAES+5ff+FiiOcxGDsT5nkBB6vTPidtcbhX9Ya4pu5xSX9w1N+gGyxmfcG9kveyKqb4A0rQWAhg+2b1+JZF3Co85oIfZIXNgm3CJdpZRSx0qOi8xKnSg0K0LxNLlYccwKxAnJt3awmpmO5V0yUoDuykLK4dZBnt8HIazAGw2M7aq87gDx5BylNvFb1yM7yZlWKWe440NBIIi5IACPeAPKwKeFLJqSM8h7uMTw4fwtm4R/aQ8CBxcga8y3b/urwgl8JEzKJRuwR79uqajxqlwI2gnYJ+Qkp1lcv/SRiHECq2HnqvDUnCOlPJCZ1YRXHqI0D3D9HltNhdhj2UElZsJow8B9/W6K7ndSQQFO5PBArGYM7fM1JNnrgsrUNKhYCw0y6TAjaTcQSWBuzs4Anf7Gfoo45Ewb9PgeilugpxcfezhxZfXjv2RqdemdB+WsH0zxDUsFm4hWf+ZyPOqUBpwmoDuEzSku1RbvRQvnyj1l/5hT6Ib2SAoWX6wmL7rntWgFlQM2GFIxWM0BeJF3RUa7IFnErSxyA8bAEc6D1LpTyPrj5wn6pN55arpkJdTgChmpGnb7TlFHBjOetxCJEPoysF6yAJ20MiZ7AdjUY7WIjCJhldnsDXjltx74U5qtCQhyriGYiphs7ugqvuR94wTLBOadoogBuClbgDeUoGG5F7wFlIz4gqnaDsj2n4SIX/aprWRTq2LekGhc+W9xuDBirw0AEUAOy5IZHg1wllZ8z2XBNbfowkdCUXiOkkDzc1aSk3tTum8ZmI7RL9g6Z6oEepFaUtklo+Q5rYssF9GsNhZTXjN05BjGypWfgetsig0mlsJncYlYu4RRFYMU8a/5PgkV+uxWMgMMb5DHwg1nhxjGOqc/ORQXZC3lAyrimiXT2hKB/bifenuPZ/rMhd66IUtoZ726D2Ikqq7m6MMc5pTkhmQC3H6Cd3sRmzUGQC+JB13j3XshKEmtxW24T4adnBMZKSwbxbtk7M62lb/fvLIrAq/T5lnVnhv+/ncllCeXcq3uxAqBVkydtVljwF9RCVeIg5rjSYCfPlZnBuMgUFQIsX2jZLb7Ixw3ZtlFJZWRp4fVZ+HuVww1vbCyiO9mUQ8xf/EFb7MoBFx+7Sl8lLG0QqDI0tJVHwbC8Yru72GFvml3gXlj0OU6Ja65QyvQH/SuLLQ7rnLefLYn3orhybr7gq2Fht76JgzEgHnFNv7+RAEVlt5+gSRazI17HNANyoKZrvAObtQBY82qnWYgkOLNc+B2u9NEdLzVnFByLrYTVf+TikXxC0u0AhDjxXtYn+1gb7YIDh52tpVXrzqKB2xRTzL88SWHWH+PJy4K4SHSqFlhCyasnB0Xxw6t1+tLUY2z2ci2stsfgxCYT4FyINU8BVbwqRz6SDQk66oFX1l2gl8JM8xYHgDJecaudj31SkijneFlXRXzBOReWGQ8FoFJ04JTXTGAxFRG6eqFExf1e0N0GSAkzizd7GSK5b/ieFHrmJ3L7nC+7hYqzIXJfDQGiYhKTOTYHxxI6dt3I7C4rOHYcdnBq0FfTnmb/X0HaN3dn6O9CJKI/GtKPpoQ28B7T7++u8Uc0CuU3dNmGuuk11CIyA5JLi5Pv2bH4KuUbf/fPcKoalv9/lYHryMuVk+pR1ZQ22ctnCuM8Os5H6XRQ5Ujf7pyHmG7VMPQRxh83GkNMSM30mJpXK1WSjaERgZkad1xpb8wIZJ+1xLRNesjNXr0zoHH3vBt3jKxJndqAf1nTOxRPXTd8z4kqoAE9FNHNsMROSmiiahMC81DIyeeo1aG77fPEC2he4gcBmEpHzLpmPfwYVBtwMAYJn89/KEnkVFCIl+B9iTqtGsPdrkb3FYIhEWYanYcWRD3svasl+H0JYJif3PN5Jkc8KfnB9Nu1DkZBeDzcLmAmINemLGRNMBOOrV3PzT0fkkMg2xg218t71QiIq6K4Obaqv9o79itEDudu1e8wGW/5qVsBUqTWK3aE/Iu6vAZBK3P3k8CJIuGBHDW6t/mex0ZRp76ldCYxZSRje53l6cpBLvX0SNE6pKy3fUhjb9ubvSy8olT9scCLvU/xx+DNEX+aSdpRTOCpjA/LTtpw6JOl5RDf+fygx0Lg/bvRMobl6OgpRKL/G+NXwtyMWq6Ckt9K4p3LStrmXMHBNmOro6LC7MCuIY8yQJkBu7Y/2yiAQvPmJE4hC7yAlFacnZoNDhurould6jUaf/1Ye+F83fB2VA3gFhrOYn60sN+Jhu+3gblQP/bhqDO5BeT1tMERCh6xwyeJy7fWo8m4ZyQBXZBvHsFj5wKooHi1uQ6ZD36EsL4UfVoSbJPKE53U4D4gVXmg7urok6fTkK5yiYGIQxEGf7/dfgECzRKMINqlN90BqOwjNhAzElsPo29x/4zjefaJnNWwoZt/6Gt/3QmYB+HO3Xkmv5IIQf/tizl07IECtahR2Ch/icT50DDmyLYnaRCH7HaVeXl5UYK2ShW5cRnKUGTRCIMALPiN9KBWAB2mQV5OEe/3l+pVXstkZ95MWdnttByJIc3QCA5NuCfvZX5EYuUohVVN6s62jF35I8NEhscMVc7LSyw9nuh5Eq+vUUI2ToaoK4ASqn3E+/UPFg4z/VJlMzKjOEffIRJs30GEffzgqhKLDZcAGxDx8e6H9VcGVs8dXN/XNv9o6XWYLIgJMVao9hDH3EDcOBFTEAhifzktVLjpSJXFG07vw1LZWOGE+ZVODtFe9RV6pR/3OFf5B9SOtnmajm1gJvMwbwuMBRqC7EARo/aw2ggOCDRwTpT4o3NEQ5jpPYwzb+F2o5LBSZKeU+hTJXgxAT9PnWfekDIg9D/pKd5GVrZ5Ji/OkKDz6iFik/pr2nUIcvmWF25qXuMuazKRhmz6OS6Nm/USNhydtlj+LVqqtGxMdQVXaITrmiB/GCACe6hwrujDWwpnCiweLTY6PI6K9h1t/n0DIrhVM+spifCkMJup8fZdpteMH98czrC/9Zm+JjdYoT2EkOv770LLkvZPSNWE4Y0iW3EFUAtWY186kz6AqFVSELNokYe7kMN2uQkd46K26qj//EZkGSxV5I/E0SXPJN+84p/XGUU1Jsy+ipaxl5lGX4wzBF6AwzMFfx09yHGcOlDmNJ/YvZ/2q6uvTV07qhKhssBKRVZdgqSgbAgr+wIAYV65g10fhlE0YRBfK7vNYsd+rvzrY46auVPjQw1ieCxr20Qpg/PkwfYCPREnum50wlGjOlM55Omr9VDFevpbBV/+DFu4tpNeEIf0TxZaDKUwC3CeGIB042tTc8r+VjQUg//9Rz5mvBne1+ij7z6LJdlG6bMIfZWtP3g62kw23AudfoPEa2ZwoJFp6g/7ukj7MKNOQEsjT4VREwhwxRip19Xa38OHam2GaihgkC5pGK3UmT96wNIja/xyNmgMnLSuLlyxhp8MfJw8TnnayFz2xzYxexnXmCMF7O7AQpmO3gCxqvpIvRh0pg6+LxkNTZ/Yel4JRWXb2DYNmV+59Je3V/UbW7ZKZD/ea6gpYuF7SeAtUhb7B/D2i3CDVfFKf5k68zO7yDD477uqw0j/IbYQxFJ7Q1HPYsN/7zV66KDWYbgcRxdTboGpQTEhUhPIMNsYEiXKj8pVoRNPxfaeMPd8pVqKgCxeiagAipRw6bnDteU7+4DP5F+MTr61zGvCJTtWQt17CaizS826e5BE/7PcZnb5vDYYXrs5L95+CMSM6RUXfteWexugjr0uwTJBV1WUcl0k+jqjjNDrdtnXd0AaotsKB4Im/R3QIK3nDGK1uW8jAB90JAnU/4LkG+WqhYrG6EU7liFZ0yEn4IDbw/m4x46hkczhrWo5mo+fpf3NCOopJ5IO2elV8+nqnF81R40iiEvZXXt0H3URKO3QZspFhRnFgO5tH5n+UlCLiooJIxEnGdE3tmrzwLqaQaLk5EYESsYTdcf3byYLp+pQioHS6rMZWLq7Ec4YmMmZVIDMJ3RsLxNwFPfRT3uMpf2b7auhCovCH3w8A8bOcShdGpSeOAh5cUevfVpyw4bNHwP/8AGuCTwuN/qgkCmN7GShkNmvYsx8+L9+BI/0XKp2qWMLUYIhMOrvivOgT6EIEj//uFuPbTPLnJTk9ipmjOWOvQxmgC2NsnHirzm7MojnlV+PqCfpF4F8b12tboCTOKWqGX9rq9ueEWBRyUMjtHyOgMHSgeDrgYP7cBq5EAz/NPd54Fam5xbnbpYDwyIhUfUTB7etLFFPke8jM0hgyzv14/0kMopoXS1V580cKFKwrHLpD+y5UNsvE9n9Z3ArqWnJMm0danuGyCaizCV/5F4lyF4HJ/ffYw/SZVQAORfCugRGA7IEqaGiqopoqVBzppmdmpLZkKA7Ak7V5vEEAsH/5OnM95R1E3+ow+iLchF6nZ8ks4IaF2FovlkiVMKU73OKovFbzxq35Sr0I6IH2xy+tUCKoiebLehNXigPvNOfQBPZB810Dm8rZtGRNj3D7u6cjWmPHrTLqpo/7oH2wU3/9mg9A/ruL0SpBzxmLLsH9ZsQeL9AEorBlMCP44UHCv3HQVsRORdkKYYEq+AHIvhPFVGQhYnh9xksGBEsx5MtVmzWcUikCrZhmR64T4Ycuc1DV7478LGX34t3elnzTMUZ7XNkOe8ujGtPpiAlW5L11DfSgT7qnZpi+ECC6NqBMO2ccbdiIQlBdKOFyWh8i7kEABQ4S505mmG/FtenstRWIYdWL4RgZQtrcL/iHlXSdu/s89n9HMgzzLIT5tAsBoDotf2Yz24xvK4tlaGajM+HSOPG+PzueZqskyQcmkV4nVYiH7o0jp/SsBj6DzXbQJ4Px/dwCIHZ31V5BxZC9UtCkmOK3IaG37htPXHp6mb2NXu8NvsunTTJf9XiWMmvvpzjW3PDFo11CfVrK/UE/B2noUrMQXHB954mMTRR8QkYBnl3UVFYfaEbTXiK51f1DzrZYjivLLa/MtLu+nqZtLXAdboD4Rq2aH81SGLtejg7ufihN2o1oU0GhzGdh1wyTyttge+YZO+Wp9EaRCak3U33TPMKa3ZY1hsLa9EBPbZmi8krYdnaXbHCfYrxuILJgo1lxbILXaCVc0KbOXX4Uo5a0Dw2OJG80i4JKXXq/x21c/hzoQK4vgc6xMU6emcbTgoSEcOqJqmD8NIQXIbNF5EEVPcXIJVzqIUK3CUxsw+u+4xlvoDpp7gVn+tIOAdHn35tizal8a2+pgZH0PbHxCX1MdH/G6vQ1HlJT5nf8hoRCTe8nNI2x1LBOKssTnHSaXnCDO73VFEV1u4VpZe7s87DQQ6RCDnmyBHVUpTlvJMFusXfxJBufKjeIBVVgLqu5X/hSfYdUIkO2sssKIL17rrwYGv/IOIf4eccDP51k3h1FCqX1cglPT6m1pNcpFUJqYd0bV3pN+Wc32SCKMK2ychfmAAalIGvVuIhAd6n5yM0HPenFESImTUJE7w245KEcqe+MqgGCbqkZUPcJW2jz98ePvJazc8dDHNTYcTBHCJPyAoE4+rJZCNmQ4pphON+GbwDct5WwRmh0mvAX5nGjonnHzQYqewCc2Z5NECE+uUr89FsTDonhwo6WZfLH4t+39fXOwY0JO2bV3r93nlUJ5mKXfWL7TDy2hib/Rfv/rcl9GnSx+vn6tLeqW8+MpYRtsz9u40bhgwAdqBYprNShWpjLs38lAwpnQKJoeOq3+YS3e/De6A6Pl4fjz8CXFziyN8mqtxyUF4h7OfLtR2rirEBAaq6IKUj8gy0QmzvUbSv40lPrISA5mbNKJghPhh8sIop+AJ48MCn402gtyPH9r3M74HynfaEcJmwuCazUAAXZbeI/ZKGLrYfuVGusIRy/aL8Mx8udrXxiqompUcno8J7RUv7FNezTcN7mDsZnE3k7T9Ol3Uvjfk3YISnp2aZsxPCYH8E/gp2K8sflJowNqMXeSResyiLmctMzd8Jry+NscIYvUnDH/ThNawPp3zo1VAj4Rsahud4ykBcjuNI+hdfWnW7jCQhTQ3IPlmd2BkGYDc0lOLyqi/pYOqBPVhD1b8tBHUYmi5VC8wf0ZHzZmte+XAdR37twUJOTwhDzMA1fQYi2iKCjfyzQLCkz67d+zoxTux5d9s6XQ5ITkXQHWqq0zUEGeQw2rkCOUn7GlY5X7z6C7Jzz+Wxu+vd9DYwTOjhZh4g6r1tCLQDOrLklYfvIpXPfwg8laLGl/IidAn8+L6K+z708fMEjPXbc1GdPDsiMFAx0TLvxWQdNEHFPVOaMkXu9f/rEPgo7YTOiPCq6JENnWqVQiyFvexdao4fA7MAXj0pEGJwChcOnd4b+v4abL89vO/+MJK00MV/3Fq5SIMpsyOijUPUB8UNPwyfINXUx3OESgI2xcdo/cQ+mWfQyREHAO1OVD6D74qtIJI15YCtrp//W2lF2sA8HFcDBuzTT2fNYfnzcF7hCaa9Q2NPfMEmcP41TwJ4pFnDbBHTp+fnBFq1uRhE34PPnh405nWmfZe1jP+aW7JE2FoXCgBicMI4zZQRMSW2Nrn9Dp87Xxg0hqu20NXh7KSoHO6c8vZVEdhlaQjbdZy0gd5nTa5xXO68JN9qRBCiO8OOrZtTrv9HkkQaIFw/daK+ksktL+dKxsszk1ZOIrPUBDoJZez00GLvuASGciY6noRq6a/aVXSKfP2szCy+5M3PwbSaj2eabjp6pYes3CSP3HeYvrxtb9IgCp//NIy2BbGtmHlS4JkOrp5KKkssDOdZUuBaiYDzcVCubUFD1l+5BUZDyZwq0L4sLw/zrhhzpO4ehzMOAwbH8OPuu42dSKmSxqWNs955j3ENkEmrD0gC+HgJykgnxzei297LZZyA/0vgnfJpvJDvfkJE2Lc17VBm6V+0b2yiEoZCa93sT/2AaFa01fMSBBnKO3FiUtweRcng1jCp2GNsND4zqFXRdMIVEFn2JOpACfUAg9gGown2y8t1sYLrr9QZE4QhrkXw/jW1S/S0rvpBTSsUrLgnoePpx+37CEiPDWiUZjo/anJlivUtB4RVajuFSWLWxiAw3q3spsin3y16CCo0gCkdEcF3Yh+GfmDKMwcLrQP2Ts36Qr7kxPFlqOs6cFBFt4o+iWbcn9MVQ7LArLfnzPONWGO5jCp3J2r/7YExr/0S3xQGteGL5JL2q8amgXxO4rsSK9VLqE+HrJMIf8Oz7ttKYG2dv/lCkQDVMD0w3YMP7jEixgtwXWULDAjPybC4v9/l+imoCl8CNZoAKJjJccYg9yhPyr1Nck/hK4SjqVwJ+ms5a7LPihiIxYGMrpN/SKo47sw/JD2nwKBWqp+ffs89RWPWYoT2NdRCXO8/RHmjgRZgedRpZ4+yuRk/r5RRRXMdkBy5Itwwl9uCRGC8+dDEF1hdDnhZXXrEioTKtox2v/EfV0wDiWr1HYdWHZNhlIUqmJFpr9ZM+vKpEBVc5DnPjSIV4qtFkXdw28LwmTOvE+zwXVC7WrEtel1NiNivtr0HBSq8OP4b3Keudi3rOCl0Dw/D3/ix6INZnud6Q6wsacgRcg1eLhqdoXOZrLDvye68RCY9Dyth7AUG5nhuusm9KZ50DaSUb+F4/LGLEMfRxjpxII+BO4UfqAnmscSDnSWqca1toRoEMVEWLQQ005ktNcMrE2r+IoFaAcrcXOwq4S9psoyEgT3KpDmeEz9Mbibzij3fzwyuG+iQ3AyXj8Ofvkl+a4HdgGoGIi1ktCCwBpTNd02T8wGij/LnV6v0+2Diu5RkQlMEg3uexUvhr1Fyrshzn4X6FJlVS7ImGhU3eY6fxKm5PQHMuP7XbgsS1SKSH+cxf/vTawtrmIXBtfYIBlvL3W14ZnslpZVc44f6zd6zrR42IuK21orhBJJdwahOZRia9uZdTYvaoI7gZrRpSSph+Qpk2IuTYEwYYzinPa6qo0qzvZBNilI/w0SAJO76Q/rGfiirR00xpbFfILFB3Pw6nn3amCRa9roMsXolmAQ0yvog5b2ZLEXFtYSdBBE8I44I1YlzYzV7FZ6s2cBfc59YQxY9jr6o77hzLJSBe9JMXSKOmDIYK9iC5qXeiAW1BV3BNA5XEi5Vi1EEwbCxpgj+ZpI1dTpo+W/Q+IMMyG61zPXO3zMzvpRshcIFaLJkkTH1usw0UqghrPz0s10bErC4li/l1goUDH20FGJlUJWqt2c6myKPxgz6gpO4ujZRm1eHkTavYiE9K9geCX+VJCUu0SR2O5zOhQx5v46N/xq5mA99OclA/yxe6Pjl/eTTHv7VDZPZrYhODatVr/yxONJ80GrKv2NyjVP6l7TrkNv6PfsTWKAJohJ0E3nAebiEiCKLCnviyvKlaH44zCl3OGJOyxV3B+InJ1cy/AJejrp8T6XcEWE35pku0yIs/jGj5Gr2Tc4ki+y/+o2j4khkQpGXzkpajvv1XpoM3NWr7VFQ1MZD2c672bdDzWxQaQKfJn4qG1fI2/2ba6zAir2/9vdQ/RGkCv3HviJVjE+zAJWWQ1RI96oQESsIU9OEPKW4VWcoCr/G7QXZH2fVuidILywD2d6JQUWpyG2HjeYnKhxR4dx3bFFpIFV7l9uV2izwGclR+Q3R01bAOraj0weInCqVG1joQOs3V7rY2Eo5K9IVeyy4TpXAU5udndeu981mJ+mD/OEiISI6u3EZD4uDlJyPztvqdnjFxAJ2iBaxdKA42/bLeBDMAMGft2COHPvllrHcBTECfKyBU3RLxNbjALTnPw921j1EWoYaXMeU9zNJQezGFT8suyV9Mt4AgZAL3gbNJOAL/nXW1OSoZA1YJ5KgGAwrk2+yKIn0jxpxzAUuDejcH3xsHBbBlIj2kUbwUOFVc4O5IBDKVEbEAy9wptJ+UPd3VuJqoVvW64xGApJuqCdlZyNHdD1ohangGhETnRDY+pgtFe4KI+d8O0zvBdjN5LcSAAkfX93rUF+75aeJSEwDSzECSuOFkDfUlqxyq+CWw0swQys6nRjYkXfaFXLRPuH7vBNw9b/P1xRvvXLFeQ/235x+wC6/tT7AfRNzKKEKc+R3nUAxTe50niv9f3mInrUFicI9DrBkM73yzztWi1Tqx15Z2U3R/jz2qi2unelbp8TKiEuJN4PQCB/6yEgbAvuuOlQ4tmonJdomsi9a/nGDm+DKk2CMGWwPUl8ZQL51Z6jexgSSdF5FyKNmcVZ2tMlktUjf+IVK65cjPiiuO8HgtdxHosANtU8E3ZtWq1sUlCEvT1ZN+WUaqikbbAklIRbHdVOK2KCqOYPvCrY84AaBnksteWoqi8IKfyunRDzVZemB1SlSiq90bMifAhOSLr9H3ihFWuGNFrlv0QtCpYYA+zpqpqGonokXRuv1OBXJ2kNV258XKY5T4cjtYQ17PYYC3+Fos8Me4h0q3ortxrU1t0memtIsJEdUl7yAYEFuz8r0Uu2RYI3xWTgyPL59iP/KUa3GkuH0x2QfikUu0Wa8gPNvZV6U5YFkhJJooDnC/3AbM7N5zMHNMkgDv/624sxGdOAkjWAVNo3n0hceLwSigd6kZWfFSIHBe1EK9dI4iaPPu22pR0FmMo+u763ieurHFUiyMd7MeaQNBd8yynb1TyoD9IWSveMC+IWssKBaryVFcE/M49GFPMEbeqW96Ia3UQD3dMZpSmgruYM0ZKR9LfVMWiRRSHCP4pQKQt/pWxFEHwV25j+ageZsDdOCaTgPhdwVg/qcwbLAkl6+4SHT8j+AnzhszGB8hi1nViu77gtBH8VWWfNmN5OLv0goev/PM4xXhI7JmEEJJGxH2srQF9Y9BRxyHU2BlJBjkA7C+B+B32yoxIxqjPlODDmn1PnOJjcwfi5BjKn4X/8oHeSGWQXr8llxuhsEUYFAUGcEi/hHVvrujPzkumqUy0S4f3zIKugqG2zeQlrocbDrxb0Y7ujFsm8+WdsYxifa3HEa/+GpVM9prRBh1WrLDELoHxvjSBItCtp0UgGpNLp1qG5oVdYRJ+NkpbQ3Lz5xHOqds9vbaqH6rffsKvaBzYvDyfFw408qG7iNMSWc8GtV0jLKmmIFn8gkl2feWNhr/Yb47f8Zm8GWD6IaGvNyHgdSH4OlP3bm5bQz2z4ymeByxO96n3lxi0KvwEJQv/FH1EvIu5EUlQcVsADHv0Erhil/EtIb63DAz9IteMynLdgHZl2UaG0tlUtOhrqonG0M85fynibykCAM19Zb+LiVDnnyyfJ0KkXkgwMambUidUCEkaf8TuJPwGwLR8LwtCX/8qm5U3a0/d1w/lngfgKabD9vmBe5lZKS9wsKtQBZiTy7dzDHS3yafZqXf3rw6vaqJf+1K2bhg6WRhNVUzeHB2Ob3ZeOTNqE8ESP96whCZJia8904dw0laisFpNl3k2HFp3qrkic+pEYVzl18dXjDvi6NNtkFF2bntJEP8Q9FbSsbBCFSaUU+hZ+A47lXHCP4mOy3afpiGHwT/n+MvVUip7bxVCJgOl3NyHdJ17DX540/F61e80iNfnYTVQc5SSc+ZFcM6SO9tq4X8LAWs3C1235LqZis8uv12hMFu1on+Y2E1CnM556ErcFTiMWKAV03SraqNGRuDcN+bNBf3lsVcIZNY7lQnk9hGHM2nF69nYA7uvqGhTywBKeK2ezCDV22HqG7zvF0ed8k+4f3zS1FK8cR36b8OMFEi/UMwaCGbpATbPQoUcHv8CV3FVUrXAVWmCqof2GA67+S3TBN8nOXH8IHy8XWl3hKKVFG5NAtATlVG/C8pClm3LoSFcSl3du0vzCbI+0ImQLg8X88Dye8p9zuTaY0IhcW/QBmy2gfsdxc2ogu3nsUMY8AzpwFKdfU1JGXJ3A4nr2DHJp89PFj3ZAr0Cm5YW33ry1HilQGLxuXuHh8xOPg5QRx4JMX/jc9YfU3FfD/sPb7FTXAJi3VJyIgdaYP9i5CRSxJl/zTmOsGqAA5yysgewhzvMIzDrG8Xwh1aIgrA/A1h10m/TdUvecYU1JddtslxeRrTjSgD4dAZnnc9psrTrOKR9J5V40xLUVWIGMWhcbc646Q8i64TkIWG1TZ3RFXBzlHcGfMUqKzWvmwOWjeNZbxfYgZV6iHhp5Bi2ytCwW1IcpzjPYSmd11WEkCV3xwePAIEi6WZ3APUmbaNEArJZtO+795LPQAudyHAgjOr5Sww1wn15MkGtgPNvb1Wmh9BhCcjKlAuu0OlEEaw4lMLZRapgYm3/hhK8qzVX6fT9/0jLAqYroROG/yjL3W1iXPuwC66z0xQnSoWxb6MfXY2vuhcS3ZjonfVVRfoam7MRsE7Zo9ReWSGIx6S1/YW+WFwFUzEcIvrXDWTskE7qzGGcJa3WeNRjvH75p2Y3HMvaJsacjt+L3qSPRM4/45+Utk9Zgf8YfsUq3SETuSxlc6NZmpXOPqr2p24dMNXUkkpUHcOjXfM7fJYgxGW84XbbTVaSQLDLz4D08cQ7mPnv392hmJktJocdMePV4ERLtZ+bw7nXdX/deDxMQVg+t1KRodjuWyW0qA71eecmaYw5GvFpUM63f6hOcXtpFAZ7zWLx8CpE+9k2/cUlBD2wAenNjaBrdVEy4w3ldtpFpVYovagE+m6pkp7GayNLwZXtUohHb/zpA5JHnefG2XHZsMELLKiQpE3xdVHwz41gdlOINVmTAIJP1zp0dMcenwku4cAF1UT6VXt49Ltbqex/kTptTGGeInJTybFWPFr5XodCncifrD8jeuH3rDgD8uO80VOd6M+cE0pH+bWv9lm8SqBGvrwogavbkIcxcN1Ze+LzkWTl39PmMAh9eJAtztHrCOzWDEr6B/UaHzm7vSPz9rmOpHwUqns47gHMaU/YSTX1T3uIGuKuPXUZ0+8Dx2Jtq1WtiDLJZcLwpPeIoyukRCdeZAMnZj49yO7OCs/oao772w8uVZ5leDuoHyGKvtSca3YcMoONBF7zLGGuiMNL2hjpoqZ3Ap5EDi48osfWekRdaeCTUsIvLjYG5+KASTaZAcQv3/Cp5TGIgGilc+A9slu8AOlD7Lgf7ksHuxIqsTog/iKxZCDhvILe9Lp7AwXF8f1By873G8CeubzwOMu1kv8U0BJSESFFDgm6z7gh1EN/1S2y6GejDDX0OKpIUxW9BV4yPwK75VkqKaIVYfe1zAqnbXgNtm7LahUOxHPkzNvROYRLx43PjM9XwtVAO8jgnPvajRktmcB4u1KDY360p5ANlkHHc3lVFotNEZ2xuKq0vCVUm8QDYbZlAl8p1XTQiMom/Zjio2PLIA+ZbV0SfY0fc3JB3RRIJ4FgL7rJAq7Ekk9nwxRwO142X77bT0E0usH5aGUN3hq5hmCxGd1ZEQ/R00LUm1q9cLYoIcHho6hOV15CBq9qXb02eJcBLK4XZxtOPd6//0o/a1+wHoWhWb1DG3xE7VjENDXsk3hasXbbUeAu0QHeyLl0cC20xiO67RvoqHuM6Gi52eLYzP12LAJCu2sr53QgT10fFr48KUHyQia9uQt2dUQYBcRCI9dtjTkGU2UBe25efDzWgag4QESiWnTeyt/ZLMg0eBrNajfDn9xgfBhZdAHWflP/pkTA3bDQxSunGFYPCwgOpT2g+ANZUWrTDD/GA9HvdwaZFBMU2wMCaEHT8tNe6W8BsJ2YZJQ1yGmp0bj3rNY114ucShhXyxj5g0m6gyT0GY8/JTBB43yAx3ywbSIwpD6qKSVWsCIWu8vUXC2lPJvhLgp8hTP9rAWrIDhNeYbaSV4xdG8sNGHe5Wh67jWsCnfnhcWQ7YM72zfVRhwyS0e/55zk39VfKmjR+geO/nSGL9OSg+xc6AaEtaF2pC0RVCr9+6PcKucQ5Gyh2f7JRVLzUJE8wRw0nYmfVMtQvbfyfXUacaxNjf6Y4lPchSIXkUR4MzABoP37E/aWIDSKnOX+lH7B01Wx5NXfCkazaFkPj8DO6UP4nQkGUMhKVDZYUPXDAkInNS/MhG/1G0r5hSIB2vXQQC2M22VqcBoCwLrPdLTC0EXarXhaog9rhcypF/gw99IPmntZj9ATHnjxokSx0zmiV6pR4IAs53BlxX/6F0m6g1aMNO690GzKgpveTiv9gcsavlXcpz1ra/JCZENqWtvBR53sh0hQragxfaPomScUJD2wHeyYlTY122fj1RSSpXnGVYkzui+Svfl8dtz3NQNTo7uPwom9cITAaBB//KgMZsHqdrSDCwaFUySyNi3AYBM7ZVqspL0wjgkxTOMfmnOwDFDB7moVbgdjd/cpurJWSAsh4/8MK3u0AexGLjq2hwQeIulTI88hi8o/m7EEK7vwJobriWvWeuP5ybFQAQPkKHiP9cWK8oNJmKJ0z+RZocJfPYlsCIGJf+nF5uCai2ytNOk1L24xn9I4xdgCZJKGC5yBVS+vI3iJcGngXbi9rvCSrGyPZIr8ntR1vMhiCVTcLYt/EqaVrcbsQMS/BoeH37w3lF5nwOu6JO40/5IGCzULxQ4+6raNvhpEepmGrFog/6JVQ1n0567BWdCRUiQ/WqGNCBL0Yh742xHCiUkdpAGS3AK4BLfoK+Zwtu71ldAFuzv0VEZNRLJm1lwvf2FU/xwwF4mpmICnHtf+/mTiT4ZMriq6BvPMcJxxeLRxF2Bb5hr5ta+wsmNZh+LPnSDmg6oC1iPyoI8PArMtotO6KA4xtbZgpZ4AsS2LaNEwBUuCWNewDhEuxc9prb2jVuOreGVtMi1bcayOOMrFLV/EIpe4a75BD0+nKfME/FKsE4vdOei01Q/ou+WWCz6RUzFOf9IykEDBR13sr5gujfYqeLpd9T/Z6WCoR9316Pdbe9mDOyw08pJu9lD90fa7W9pMkJgzlu+zR5VFdwjerWzI/Y4Z1CaGn2hHxfz5XAywze6Uq3C7VSMO3YTq1FdXI9NwVzBaz+zqzso4deMx9omLEFY6hInb1X3qoqiDAJx3YRGvAcX9JjKbPNL5cO9H3HIQue7vCyaWs10y0iVU9I7aqJQWxScjhDcaQks6swopw+Y5DX5N/hkkm5rntG+2iRn8NlfFZSsSJ3uIIrDiepia1dbghUJW7yJsCStTR1FieNKdh0yMZR2xmO3/hqc/kuafApZdIHRUl3e3Via9awr8ne8Tp9ETlvFlW7uudwou9syvtHM7bzggalnN9cxCCLAEcBir4lJoBj+4jY2nmyF8jJYZ7N0sb+cJ9C1mI76dLQRTjkKUXWdBJNUxmfJSFTRyqgSb9n15Db6xe1eqv9/+noRqdQaFqXnpraS5nLxhqpeosbhDBXYy4NBLRaq011CseaXunJl1gDDdtcLwgUTxaS9ZW7aN83vI3OQ+m6W38m1/NxjWpZxTzQofTZo/DyZFC7SqHGSwBlP74QvMtGEZKfKrcyuAyz4slvYUUPfUgVYd90Ciz+Oi0ao6Tczm3VfC1wobRYVtvYHdwv6Lc2lbohuxgnx0uVYcERlDN8tTinuGdPrWqDIGBQVoH/Fj0YNLwNuozqO+orTB5lrtuhXDRxPHMo5GqaWZS6v0Fyk5TQLD2ihhQMcbKy/PN0+po65IqarikK/3MFwoBZbk/q5y0mRgiuid2nQMtBw0SLVzAelzwCPb/g6JPatlIPChalJYDFeYQO/pwEu66zZno/pcsy8srvExS0BhNUQWD0a+N0kd7Zyl2c4i69SX4WaH6uAnFVVuLkIEScoBegEk5DqXwq3VBw9RtZRTIvJqGfejWBCmvuFAWSx6rkblJCV6DWjPc/LL2l0nBcrt7QwnjxmUCGDaUFzfutPwdzzGwk3IUUMPdqLRE+KZMU4neFW15pDpoBtigfvQw4d3PcsB0AElW8lihYrm6SFa4J8XR84q6f5Vux6yKvyVPuaHXxXorUI5iYMfh64K6nx8kaarMaXmJhhKv9eX+/Ge8eTrHzX/riI5cJ0+EFFPSXHQcD9kah5Awr0WARpW/6slnAVS6QpBtu4jElQiRHkFfvUrUaEFGpZ16xDwmFoqSFxtKKHWRYFAnBIiIT03BJKIHtOYPRTQTwrNTj6FYiHGVgzKDNl7vLR3NwuF8u/UDE9ERkd/BSXj0Vs5vFD9GR8geGyZH5GgzbfBpf3qrZ5sqvPxioP88H6m86I5FCj1BgVltENwABKjyVD2F/pyTFrNtoBcdnYJlcC7FqZ7MmQj5OJmN66qbVkJ2iLupx2hsHoVs303rbE0cEkb1BZvH3zs3xIJOdJ/hJc/p7LsCnSi/mMrhpJvjN5qLvhbjjwWJ2583XsGyHr+4zL+9rDayXREjo1n1r5qy1Y3ISDNgo4Pk6e4HAqhc3dDSFX5gQAAy+kb79z7UFES7PoPvC7B2YD4gApj303qUAzRCLtxkvHJWXORuW+XXccO3Fm3jYTMitYcJJ/6t9/86a/5Rpbwv17eCREyPqW/90SFtgfGzmHaV+CFcTXZ1dOuBGuYyPbrHP/PXoHx8z+AJFpwMTUSe+ELmZFXKtkwbwTrnkacHnylOXxfXkxm7BYzkjg6VTlnP326n2W+HL/+jrg4572BdLKXZML2iEAiUXK4x8NdDaTqLtNUS8F5TrKLEgXrIn+VJ7OXuD1awjmfiMSRN43zjAKo3yDoaLg10SWLduds1dczb9M/kW//8pN5htFXVAMouPA+1bbxUatW/CerEBhZEbYdgCgqFDcxAbT1zwXY4WfDYcnpCrFzdRm7Wmzh7UR+4yQmEyNGGadKkKnulvL7PV/RPesXL2RSiTYpPm9igRRxHBc4uFeSqQlrMuqAIfdZkb7eYgyh12iprl6PnCVh4YPvUJ0HFQ5wrQgkPWK+74fFM/ChqS9h7JWYN2Qud66++IrDOObDoghYNKe0n2nyNXJVhXEIOOOOUvmKtrXYM2pRYEgUixvZWFmie4E0uyy2cjfV19h0Pm0lDij9lZOKeuDTuiesPmr0esOWsEG4mXZXLNT61WNAqcbARe9KFPgfikliOCeFMa6Au2XJjiqgTNdnQz4g4iqUi+f5Gavfv4kMf+BYf+12HmWGKmQcztrYDxMxyWlDbhImOwg2fGkoaIT293HyKS1n02JiYer+bXiPQmLvLzqY+lpSgZLvQYuOY/Yq+KQTrpAqd6Fh92j7CNbNTW9cXlat1B9kFgmATb2lDwMZTnRkOCU/HGXM3ztyGLWQEWYMkhaEOXTSeozdKbD+nrOnzNX0JWXhz+3vANvoh0pkfIANY2hVZNkSpCsT5a4gTtX9Vo8cU/xGfo3YPWMDCpnbz206yslkD+ECr1hByUpV+YaCO1ID6q5JZV9KyL/6/wtncSACgBu6/MghvQvwkmSIaKMYLoI3Lm5wO7r0HTc3T7vzneEwK1aYhU5EYok2qWxS5dUtfmv2U/Fw/73vTLKbvBSfkjERW9RI67wLGboO+vC1RAb3sB1bp6kur4J4k91hmWtYot2bPMnMvXwT6YxHNobKiK8Wd9dbrEuNcls9xoxizTh+CUShybLsCHkKPLy8uh0NnnhZ+0xKWV7YZdhs9NB6G+CwWQHhts4+r+siJQW2F2ghAAq1peSQQ4eV2VqOoaEXPtxMwwDnundNxJYYsJnT45cc8krS+ukS35L57i7aKmhEetIIcYaJIEwlojEkgFHoZLvBkYIOFkHS5lyncSXb3hb2urMulSm2wRWoJ1lGVaZ6REXrNpO9kDAtmWkYc598yQnGrqLe6yymR7tQY/yv0jt56Cub9CFLhVeZCVhEMk8UB0eauqw8Rh39UKsUyk3glWP3jCjKUrCjwShVcDU/L1Tk+50paY231xki7Q8engkHcLZp9sa6clhEyzJ0b1va7ssm9kOxq4a7uu+ch5igAJWl068qkNUGeRxQE7F30ZPgiMPD9nPvE1s9QsfB43qo8yg8JRNNqbL5tKnboxmqEorH3neMa5gSMCq5hy/41o2dZZJzX6Dud4lQAIm7J1OFDNqgFKrzEjJz6mih1TLp9S0FFCl4le1PqitUUCTh2KwrNK0BKB0xvvBfr9L0GUbFu/MJmUvSjFAREBZXqMmR17vZGSB33gx6mKc0SGEIenyRdyEeDXz4aoVi1pX/a/xRiWZCikeozQHzOH2qinyxCEQ1MaJbLsMSAZgdcgzEqgxsTmFVF0/IlZUevuG4TzQMTxQPis8TftSrN59L9ttbrx5D/4qbqvkOeHpRkJTQwnSG1OmKGj5zM2M/ZC+D/BFdgYf/cg4pCZKLfrUQE4pOQRgZEWNnubgYulF/hxD34zEZu+hyAG4goPGJ/EfyqpMirZc2uiEH0/o//d08uwxQ32S8Un8HMjL389eBYkVFpfM726bJifQ6xhaXKQ3VWnYui3rmhKnRbvhHu27ZgLUfRj3zGrdwRy+p3KbkDmNgaeeY5h0QfUudKOROeHkWKDFrKpFgJpJIbRlPHZzWQt1dJbbSTfTPGWUuK1ExiHt+rN77rRacXFxdnKwTqMPekFT8jMm7UzJLRq6EzJ2k8NpcA9yC6gZHpilsr7NgOl7CnTKt+wAWZNEAWKvY9LknnRSA6EnA9rNn0jvvnwUoPWktIc2kfqzmDi8wPS6n6fPUtRyaU5TljhNNg1mb3lXiCzdLCJ4CWJf1Q7A+iqJSkFI9zt2NzICmEzLGd8Vn7jd1g5abV0xzsYOOVPwUUdc+cMmft4RU68NIEhMtU7AHL854cieqRBI7qMdc/I4Abbc4XHzpwuNacFA98q5Mm/iXridMnOzoaYl4rNDXdL307rFYD/ApsB87F5LH2Out4R5P1VI9dzTt4iFYh5E3Xo5nE/m0wVwyhWoFCUYhY0+uw4trlke2+UyrVpm76+J41FhkBnXWKW1qxXiOlzm8emRrfLNL3ocmxJuKtBedkYu24o0ue46f8BeaTR08Wbc3OYOajXhKwDf7wgzOq6tbzjitoXZEBul0796xVR7j+vik8KZQoyNhR6LjxQebDN6iYhIXUmTOsSHJpAPAknQNuTnMEe1yd7SS0ixf30CtWHanz1sAikZ/8tBrS7o1Lxpy0Rl/njFiRCW73qCJx9OpGsLWbId5WO3Z9U6JokhW4/UwzgdP5mEm4oyJ+9QkN3NohxfXoprSINIpmd06JGDbYMuDBxcyHfp7WmUJ90IubH6GiQgv9CA+o4e8xXjR/IfhOIETyw2yBLqugw06Tkgy4HizL9BLiiU4exHJpqBZcKM8OPaqDR14J0zvF1/HC2pLs6qol4znQ+zCbTO6SgiTFy5rtWmyLDg4YQq/5gk4K31iV/99zQeWVg8SioQhTcLhhqFnweCsHMfA1VwzjwG4kn+gL71bbline3hrtMqm4lEEd5gyjUvUoZHBFYMmaxPANbl59EUNYQk0xgk80VJmg8FoxnbRX4LubwW4sbK6JpXnj+RfUdVwHYOS190WA1DSGJasN3dzCBX0IBzXfl+6an3diGVIGsofA7IsQ2Oh22ofKkuO6wNwnjgrB62ya6qUbcevsCyZ5TuMqExE8E4g8U//4hUqeSlik0ezlVm7SUlcz/ZJscZFQ1kPIvAlLg12ERf0mW5oc06BwbT6JlVpIMpvTaX/QL1i6dVF4FKbsxs6nF7iYkH80KclraYYVhdJtn1vX1ac7RDiRE8F7jii/rmDwRdUE4Z/7MA2F9ATzrKjiHJvxp83U9YqyArL1eYrZlNmUj49IhoF/Couk5am0q2kFRMV6/et/JNYg4IOjLPuJXUSr9gjFXwGO01z6ryEYdy4jf3cNHOVZyplR+/mMDf51YtiXMfCdkp4AeuwAKZwsifIFIe25t6LOqW8dCmTjr0r7AfKYFb05ABTx55yM74WO3KKRBgZ02PC+8WddfW/qygxyDBrMRYHdONdO1MUaFAtxRkHCJDhUf15nHtTRNl91gqhY28qAvlR9o++bJGwTvUATuei9+G09WLvfVst3m1xZXKAM4Sc5KOvkEH0gGcOh++0gh30AZ+dNRfKPU1tTN1i7zjuBimjq7lCyqzvrXCnM43sPHHNJr9o7yvHiQl7vne/BzFRDfzJLiY+IIzsJDgP1ajoErTaXHlSgrdXDj04TmeBYE/83lN90LI/4wHKVmxqgl0jzUEOm2lgEQUDEIDmBL9SY2c7+tBd/kv58SMV2YJ43+oSA31DcydtpToBhTnjOn14O+NlPXdN2UdNkjY6SqVm7mviiFbPYeFhstA+SDsBp6NqvOjf4oDy/FDAVB10CJIYSCcwkpaisv7/5MQJCzGwuHdaSeybZhguaSaBN7e/kQ6G9hk4j9QhXzUXZi/8W1D4s7VgbKAbDQonsUuKVw8ZeHDCfLYoeyTbhdaxws+Aa5k7pElVrk8+Pz1oTs03DZyTikhjd5nQdPsY3jlupTaClQGZuZ8U27v74gZL4n+u1haIZbOzcL7qQVNMNAJFo0JzKYC6Cia/fMYli6XrJEvu0bLw88N3v72dQaxOQP6A3aS3Od0QrcRBqzgOsj3TUlM+RbkQiU03orWu2yZB/LGS5dAXXiiN7zKgcyMfCdxC7bpWCtIYd1qDAcmlqKChUb2/PispralCbE3VVyLaQ2qBRBjJe6Vr0aXO7pnrdi3v30i1XuSTXS5HAk1QgRAxWUxQcjnB3g1Uj4fsqpj+83NmG9bj8eKf5trROkC3WVoAMyb0xX0TydFgEjzib6U5Fp/9jrFMn2kiIOku9NwE4u5MWrEZcBosz59uryQx44L3wIJ/b9Ro6Q2CS3Z1BCRRsYVPeoDtDO2CHpkD5Aty8FtIqv9TVY866Yg/+7ptq80uIOWJRO9iyTNJLAaizXZMpCtfwRJYcWJRvaX2mg+H7XONNAxOLP2LaRajGgCEB4Wg+Qspmv/+Pyk8GoJFrqj3Hp4Sh1GuEa30UIFcjF4xa6gZSb9sVDU2tdLCLxIW2d1gWiiE/OB2euqXcQ3xd3FzuKkXhvORl9EAWfEM3vov7gtyUU0PF4oW6dqauyvcXwiMWLlMESFiHtFVu3tZPozEgPETo7Wql29334ruSkRoHZxpsdmBm2+BQG5KEwzmot20Mxrr2ybk+xtRfdVvrlMkjAydBhIai+WV7RoivQ6w9qFiSu6BCfjU5zWehQR9M9D6jAEzWwO6dD8Xkr31u297ftiIEMUj9oKQJrJhBYpihwNa7+el5O0f2qN0vSCKzDd6IJckjCxhEI0hWtOT1Qo3Urkj/jPVJ95K5OxOsi19xeP+vMj/A8d7BAGSc+JRRzs5MmdaXsOsggyqYYZqzq+d76lJvt2wqTiSlAT5sOc4a8UtEL+sGSNaSXgvRDY23QEzOom+9ka9L0dfNsviCIU6xOGznuJJKnPbpLRKXZvn+RMpHItG33dFucx4JI6KQo9kry+3AuxDnVyX/BO3dD3MOBAj1TybJa+09iUngxm11Le10MBpfvjR+U1/HdDStpo+oJfP0JUFvVbMMeNzTXxLY3pAOXQYaN6Xwyu24cFUQecHJHVGBBn9ZwrRZOTJrV39KrnjWXMz43aRF/cah/qKgDudm861cB4Hly4vG5yvWhojkRcioQ6vuJ/JFLxWQ1JFUFgVOun+0TidQwUA91fIiar2MI4rRyeuCkeNOFcglG3KRYkiIoJ8SBGC136EoQ7O3u21haBMJffVS6kAmfi8FA+WG+2RixsCLztwpXCOiDg5HHFFeLw6JDl26EIOhm+tlHn4bTG8b/1BBEdtHC/l+b5l8ROhtY/Th3+tg/n1iT+nqlhcz8pToxMXpbYfdXj6piTWg7ti2rdp1HVhQPKTRKmQ928iI0x8q+RMKPLqIcsfH5CKKPa5bLB444agezblv8nrb53cPFKe8txjmDUIGuNpPfFssmuj7L7mh5hYAChCd+kMQZBrQVEfDAb/w7iabI1ct5kloJwkde+KjCc5726IuOTVkIr9KV+EcKm/RtLp/OUaPX0v5DeUzUcsfdhdIvmT9CefpniuVKZ7qS1R3grj0zNi+guNTdTjCSV3ZAaFNgv6r0bgqPceZkCX7bI92zHNcVJz21sDg4lFPpZ0hbt1nax0Kv+68afwRvTCkQGTNiZqOi5HQ+4GA+CWSIQX0lKr4jiQZgycA3ZJSH3m21UzPDs7oSZnxGnLRtfnDx1e3dtLJJLP5B21qIPYEuK8NqxpPi5qjm1fcoRcV8cV/lJU0GRtVcJRgy+ctGFnCI87sLhdo7KNMVw8SniuuwerM4Zccmyiz0o1bcceViWIr4HzDOoY8sFI+D0Slj/fgCNX4MkBZxe5ZV61+pkcTIv9TlzhkD3fi7PzpZQJHnE27IH1hujr1LhbFf1Tc9p8deVI+2jm13fgHwR1+KT3Psmo4lhTtwNtD9N0KbKRifqqus33So8RyBwIa6A2Zwq7zdscKJLYQwUxHhz1khgrnK3pZtoJ7HSnuL4dwzVgGYaFrL9xbM5Du/mj7WbCU01J5ETsjXCY1rXB1yp2ih8jhY61zFc1GbL4cGdg+6ihnvkX8BJFTiVAygYIxsXLXJ7XhPmxw3YJPBYcjnA3ScuUXsL0J8sg+eeco5p3pA08Miip79i1JI9DlQ2mq+1AYHoF8HkHxmHRW3fdICbxY1EA1fZU/JZhkbx/P444UdRh/QY3Y/wIL4EV0yKeB+E39MR6HzwcEQ8bpkHZ0k5i3LHrCI02/Ovm+bS1okVgcf6ZGPvNRmAlMpKdjZBwGWZKAdUlm+0jckbYcbM6WIkTLREK/DTV1+/0Rwnb/VGZYW6vv2NOeg0gR+qp2r/mZ3nfA9MD/02ZCdVUQM2kipHrwkGSKiJWkMx/zHeuMkOOJpOg/uSth7EYP/srr593SHPMtOvJ0py5Vm7TYqTsBT2vYN/mg1ZqU2p4YsVByy1s4kISEtggVqDjALmjLZlh41g+f+/boY+wGNvI/wM6vIXuWRW8m95yAwYkqXxu6Lck9yr1O11AlqBh4hx9LSR+O789ADtsXXLYLUezAicJheu7e/WiJNo8HKs15adNcGvu7uiUzyA6z+o0e8VULmik4lf+KRXApMRIPo+yVNae1KJ/IYkkWHdbSyqf5qC7wdCfuXkVsJTDszjFcp/ZL4VsgAviSE+WdTxGGNT7fceKmOQjpAR7RwuZP7amSeqnmxwxMzTufLXDn7/tXH5CqMs6tQA6pUMLaU7HZVW1q+4rCYrnj8zfNdhGDeSzhMtuu0T4eqZGiwvmms994e+W//UpdLrvnzODa7Iaw4Q28QmHTiwl357N/MFyf+BLAz8BIAtSWLoleBzlWZPUiq8b5fDpCoFB0cJ8NoIseNvkgZRhN9WgdyB/2TDRMYGVxWMaG31HbZlyja6l6bhYC4xvO6vPIINmkJN76JZYsNucAtwaLkNeJ5/pBaQDnqxc/MM22NBl50bm1okEZcsLyRArX9pjq4iwXIaq1v31t+JBGAbM5Ft1+9b10cTxBpsIMOFcVdoFNA1CfxpdrBPmKaGwGIWOv1WyVE5TofD8E46mxOkNeXeSmbHdlXu42YESz8xGfW+yKxCnyZqGxxZvczCATU1YE4jIBRYtLEVhf9xu1JUEJ3jQSHxrnP3r/qKzWfeLWDOsF0nftm+XiRuPT6aMAIOqhB0DsrdJWk6Svt7X/JWUVdXrepDfMWO1Ovq1sj8Ovf+uyZqBlEC5s/yyNY6vVO+YQque65KSKH3VZh2i4VpGhiKyS6e/Ywit74LKoK6sO4vVXCBJ1Oi7Wp7CyvHBZZoR4+bGNB+8uWFsNhnIvUTkY0gv5aIPDjzprPKxMuFI/0sq4bGZVk2Tr+M1PfrAtXIZfsOpHZ5nomjR4v0Dilg0s9r/sUtw6KFptrhAd5jjQccVSKByfXD7W5mW/FNP/p+ElA+iZfu060ZpztnlfnXzPHejWGOQMQdzTf+v69cBZXfiNXkKcO9T7GbWjYdpQ7SPJPUuuskxa8wqvNEy15kRf6FDX0CqV/kHTo9I8SD/z6OHjdwr3L1x4bmFGgUgY5MGPvrSHQ4c8Mxz+py9VUcQwUzMdZpMDlMbrFuJtlDeoxFfzyoFy/PbIIDYClICknXvLN+boolT93hC5IWYfjSSMX/bYg/rkSKY5fRqbgVShdqAjPpZzUmfaFJICZJiN+e7+Bvknaf+Ga2y9dSar3uclIhck1XdHXJ377e+YffAbc727lbhF7CQf61YRjdjxQOEIUBzxgSv6C2gCErd2soz32tDlC7PH2Nji9gafqtV6aD/7sMFNv8MDQkzFGtCtKzZOIx+CgUD0nS0cRxEgM5mNOkF4vEDWZuMIUWGZZSIBPSHVS5qxMW7hRVR1gSqmQgahuI9tTq84GdnPXUUtsvewEZyGXEkzk5h3A9MJyZCWFmtPbAlI1h0NDUx3VdKiuZKGf1n8aRDmYGQUK0HBSYSG/SJLFRRfXg+726bTD5wy9P/b8ZjHj+c2t7VhNqrx+2eBNCIfzH1EOgE59NKHTeskX34lp+qem5E9HtHYXHS0ZxQhQGRFYFKt4DYfVvgdY4v595hunTWYAuquvL7P1f6EwDD+W/n/nsaQqovGF7Hxw9ixtaE5zKWsmfdSFfYaMSakFWo8J6iYoMCcTapmqaa1jJ/ScxszsyOmZ3cmgB9TaFADuLGgzfAvH8Vk9Et0RN5PGPgHRRAoebVp10aWx2EV9QXaDbzYBaiGmddViLrzTqV1RQHzp9WX1/nD6M+Ez226i2U4ipwpku3Ts2YyIsoHW4HVsy4ICtoCyZFbGEQ14itxo0fAqeLhn7LnQVmZcVXOrSDsq6bKrOXB26gStw+vsjLtq3wsJw13qcLYvZd54SdaHJynWxQwnzxoBJdGrbgrZGJ8y+B8UB6cZFThQRrqaSZzHQOdy+ET7e6hcUj0SmyXqDU2Zb6MPvR0PV2wqSa+i+uixj25fIV+VPfL5PXHvlmoYt6+2QDyZOiV/LOAgTLGe/ooSjcXR1Wt4IbSMUkU85TP4ZlX/NtD/p+6hpwBRUF3L4RDUur/N2uXGkTeyzKXKYlUK2b5tLht127q9g1xq0R/ySvEbWb2kacboo6dquPYAsnqThgy9Co23T2yrxA07jsxPeiFcPkS2O6XwxG+/ECwQoQFe52Jw4X4d5VPXRUdqSeAnCGFPCTC7I3oxs21IB0zFvlAtxLjRm13uIi/927KpZCaWRIeSRxSrkK+KfUIOLijqckODeYDJDTo4Wmnfocks9D8GgPjHJwpMGtN5lPDGJzQtrSRhTijDA2a2C84AhVrLjw82FDJVh54xvyqHCzH7T/kOIwf0ia4Hj/IWkMy6hGD26NQjQMR/ZXnB2A1GNxWh9111+b0oqjVDwfhTYMjTQ3328Hyoc/I+0ZHydbuocO9V8SNq9aLypvkUek+dSqsFb2vaUaoMkfUJIgcIqDbE5JujJ+fdaqj7FyTEDal8ucA0ANCoaCdMM9UFU3Hu0EFxMstZ+Iv5bzM3UTOtTk0YfhXWDhf8hKTBs2nQuZUOVsoGilvmjWkf2orwiNs6TOVVeOvXv2oEme/9VBbKTyI0e15niSwlQJ4w8ZVPjF+TpW1gHNO+NarKtgpvA/6ruWWUarcm3lusHQw1iWyfraD8QU+oE3NEMKmDVMOEhK10j90sNEU/66LouL7NfKBBoPU2uoNDBUQgG+KpL1Ma/7JnvDSSTzLWtw7OyprB872sMIr95E3ABM5MkQK6I3gNkfU1mzw8EdbknzLlXxEpXrzr2r4Gu5sKLKio77dWlBIEJum0fDkIrLgRYLPVYUA1zQiv6+sm/UFA6Cbrr3yxKtgK5P31p9rbBszIbSbR3DiZF1T0gAfHVw2czyTzzCqiNC8/GHJ6Qb046jPaQMhYQvs2c2yovxfElVt7qX22oKe3AJSbhfdovF2Wx9Z2sBx//DnBoFuMpcVk1fZtvq5IScHUndNkChMdk8L0YRQF5AbxXUJDd+H9QAuobCcNRhzyEFSrq4ZC3syhmwHiYaK5PLsHxbCczEwUiUDl264Ye//z8MWT071NffbQqInNjA6nlHbmTxpo6/hJy0WMKcn2+GudETZnH8fMkJbq7UtQzEJkBSueoRMpysGclrsK+rUbZ2dDoJdo3GnySMSG1rKZ3YAdvd7U5ORsbUS+kJ3P1Ga3lO38GOouC4ipO4XYlFfgwqKvZAhgvpJvuW/aCOxogjysJGawgYp54XLMR001GEqoyETdiqyS+Mf9q2SAXXU3c/Ftyq5NJAWYdiTvNX5zqszOhulc5V5wB++68oK+7QIK+wQTQpeDavaJbJk/NxfULNkNLlGfUGtVJ7F7t2ci1F8MO8FrSLxLsc2iRaTwFvSzM/LgYCbJ9RGOX4Foz+pKotwqAvphaKSCwlhWpfJ/tIf1fgweTFafPzhioVNqodv3jFmtWM42VQC5x0emACA4YcnDkNgAIrYWyDrMR7d2f/Y0HtapWk4II32drDDEBkJsY5AycF/lDv8EJTvY2vi9QfZr4XEkhsj++JLA59d080caBo15M9oNXjMWFKvX3fN9pfI6acikfwx7E/2xa655lOsUFzY2nx96FjJ4rfznqQ0MeTvtycMbZdqNNbj1NO/xv8D/uUSAxoz8lETuARsNghx/oEpVggaT3mEmaxld19D1we9ZSIaHxDQ+MAXY4gplmV3jcbt1TLNccW/XkGqmggwL5t5QHFOOStgR8BqZJsFMm+CPOxwJkMj9aDsuYXDEvOSJjb72mTrzvxcqdAYOgsDaYlGfPGlFL3Vlmd3DyzmBC3NRaCGpB38qD7asYzYw4vA83FCXtXS6LsfZKclqL1VqjwXGoScToZ0EhA87n4yV5VDeA7QA394kQFTh6QT8xDQXONFVD1LaDAzsCNEgM/B7nFlTXCA3DrLQWrOF4FvpF8ojnYJn51BSd4z/Nej8E0JOoqAYBknfBaEQH9Qy/sDfG8XYCfmNXMHb61W1sbQL7mahIsgU7UB5KmN2nvCYiP+rtPpzCulXpAYiXlvKxEV3liBYfkZNSuDqm3nJV5jgXtqYqvHEw4NRemW/6Y9nwo/eITUY7W4bvT7VP1FIR5/hdoHfcwLHwtUD2ESKVLD2cIjY4nEFu5c4AI88BsMuy6SUQNs8JbIFwXvQQxAVOeFlSjhAjPnNUsheCAcEmKMQsH/aA/RWNiIw8Gd5yzuv/y6Q0X2XbJ8Ufs0XItUephD8NsyL/Qutcc/KbAfma4wjBTiWo9yH0nFF+IeW5yVLetJg6w8N/rSNXDmgfZIVkR7VB7PcVulR8OvhptVFIwfCKp5WLkrzgJlRE4GPzeSGVxgRw4y5JrmjplxoD7v58catnleC6bYonlbR/uOqQu/XHIUfXcFm+09c86n7G4ZPHO3f+JqbBgt0bbZoyvIMaQlkonMCq7ifV6VcMD2zujD9sOIpURRr9bmPn/9YRDlQ2QSjObHlSpx66cFlIgsPcg4cJR/PnTDvICB63eVplB/h361BxRYV/tXNMuOAQl1zvejoMTa5KyEZSaIyQOTZqmdtnRntms9rpjVSlsGn1e0lvCbtbd7mpkI9yHyeRE4X75n46Wsm/aXsNoyXQCnxDqLMyM6kqeExwZ4DQeUpzR+3uHI9YmyLLIzqRMhDF0Wh/LsRw1ldX66Ft6VCh+mQIB7mQ4AJsLs9mcO17L2wvqNkBaSFwnxtWiUXOeJOGpwUC6gxDqYjOvC/NrktmdGxtfYMg3xIu13dtOLGZfr67WUDQ77EPt55w327wmyaDDIeHPFy7t3lne5QXC8OJtj8at7Dkf52SnQqZNDz9AKwYc6w934bqGQxiT4xR/rQbY2f6MEuYBfzPPQGyzaq+bhjs4w7sBLbYDxxyoy1yE0MyWsFGx0uTnTjoIqTPOaaiQcyG8hmSffMUXp4yTIjg6W2LKfycbt824d9eEZ++fD8Ef+IAk2huWHpD8eFjL34Cyk2KZ6TJgDLoLsN7ZFXp9gb5PlVlODlP3s+AVydYwU8RxkSkk3uekgvTlnao6RMc8EYP+ME3o6Lr6zl55p5Ue0Fbj4jAhziSJfPOTkKKBSRi9/pFo38IrWoxPg/nDs4SAKFW9CjsUc7pdRkrHgtm9fZaQEEQm/YQQGga4sNJxYw2MeYwPXyIfenA4QP5/EinNN4S7EegcN+qR6ox4Um/3BPBKjrB3vAEFOmvdPHjDL2tJF0rMct47Ur08nUdERfmrXMqo62PxyFvqeVN6l9nG4Iq/PPpZNUQw+/jjz/G7pLBABwtvxXfh9qMT7RhdKfMaCRPdfUapu+ag7oOIVIdXdoVWq6cOmyMyldUS79PppiiHVPWhoInN41l4xkTn7VU28BfiTfgSuTleD/BLvWElq8tnZe97qLT4Zv+sQMSAH7QAMdca9oRl/NfmJWmng+sttbwm94846vWZltz1OT4J63lS5seILpsBNnqS6Rwg0C95QskA6+c8uOIr20RJR3Rd3OJ/hR6Nh5BtPAITpxBKTFjCo9xvNXCJvahavTVbhWXDDJyQgtmT5TUERfZFtdA7UcxOuWwD1ehNC0vf5HmiFjTb32RegcitiYKv/jm654whR3d2Q/ADb36TakKBwEoErStFgUWfp3T8Dr9HPIOyo9bzicE/iE25sEkTaGEasCJG/9Hb4KSEHgiA9K7YCWDDzlak0GXuthGdPyOu5BnEidsXJmYzj8G1VbvMszGCkEmnivIyzVgdC82MSpcxryDYDYfQHjzxPJ657qYYAua0b1pvM9fcIGEZ73F7J1D8h4VoGq1JxJoz9WufAnrBPsIZvxAwAlqdeua6/NHRmgN16qeQOuS1axwFLgk9RIP2yfTTzlWTnZJK306be0m5hhWPafS2Uh2aRXX5PV8H0+EsBv31Fg2wMmTFwIp6lAw7+qiBoK0tM7v1otMicsSLqHJTqcRyrU+Oud2/t8gQHAIqH9mIRbL9cQgkQidduqZrKf/fE4R7SnAXIf4plgu61iUKcxinkiuNcQyWGhoxzfVJe2bJddZ6SnZ1On9UL36eLOsePeqQ5QHa7DLxjPSGMAWae5Ch3gYfYlBczNFoHWaHGBl6mRTOtluQbKg6W/+zFoPlexg6IsQLdHxsE67vfYcOdfBY0/C9PRW5B/o0meNVLZW3hgPV75wdHzU44o/PCuJbLAobuIEJud3Yh63LpxO/hDZQMdHkdiCgB+92n5u5TMxUG4tq+AaeU6dWZaiMO01FKfyUcYNkuG+JpdnrBJ/IeEjNDs9JqeWN9PAZjkmHVoKAPi1eIHfUBIjxUAZrV8PJHcF73Ob99gif9mAi7r7N1FpB/UxlCwBnzPhutmeZTpXDZ3cFqbEkTMSmYLJEC+eljdvwAJ9CqJYNAF5Wm7AVsCHboeYyhD/9PslInxz2ifPjpxaZDGFyPwGJvGiok+i48bh9RuRi0B6KKSH7S0iLmCGBgpwVMG8FpPx3zOLOcR1/Z8FkCKK/Jd3cI80/0p3kq+JZ7gxm/nTVGBcNy7DdC97afMeAjnGy1wniZJ6PinYAMj5ktMLgLAmeAEpad1lEZ8EfY+eRI5Mdi2TB5E7aSzUEYp1oRe5/re8qGh1WgUlS2acvonsvvfjZCKmzGzCJ0glqy4PosMF6+A5NekaSt10ZMqX53veqUDb967+ZcXib7vhhteANfjEcijH2Z4D/S97Af5dS0oM857oKB6/i/BEK0YqlwHpeDyqnPYUYpb97ExU5cRXxsEli2V9RMXKhhvfg6CshJ9860J45gt/QClcPUOGRHtWDWGn727G1a4HK8nocTKl3GR8VxLuTcytT9RZqhbRcyHhrCkNnKgQt962hUiqDS/GyiY71pF9udomjmJuQtfvfjoDfiGFkHIdXMGL98JRqe5E0WTiE1OJD1/1CdF8c4T9TDnb0ZdbCABbQ95fM7YynnYFk6XuV8cYWr981IzMau4iIWit5kv+eYWlihKJRpsMARd+Ip8rh/c1r/bd3DmvkI/872iqsi5djMAXG48tVFhAMvDKj05GMsxkFk9oarCJcvgFur5R4kOUPmisxdo/eN7Qr7/1j4ENmjnKmjKIFWUYqyaIY0KC/2B2lavmm+rZVre1USuWw33FTYbgP87f4Kc9pjrBhdHL7vdAirsOnyOtWCm/xanS6hz+ChqC0XDQG0MBe+sxvydwRU26wuVJH7WmfH5bD3ik7YtAAUL3/krVBGnvn2RqppMUwF6XhRgKaZI0ft1dA9BkMoP34giMgNEczsFqNvdTnRxt6fqAV2c4KXCByMgTq2ihl65Zq6AgZeQCaYMG9Pl/JHy5UZHbnA3PrpBg3NjietpSB20Amwwtjx7GEXHhPwhLTp3fPzfDvAKl0RnhSI1kBESW3bohz4/AhC/Or6oyxzFJJjKEaRpi5hbQa52KcHDj1rkC3Oieuc/4/pP6ijhu5yIJe9wZ6dLBprutTDyp5/dLbknCrGsJG61CFXAzgyQuQ6bgEWpYD2+Kjcf5F1c1vWIrvuEtl2fgkWQWF3icdsNP1DcDHThO7gX7qrg+JqPqSrty4HGAKKaxQWFF4KlMKDPr4EnUaXFURWfXPsMJYSLdgFbiENZvg/+dOcURqRKIF40PVUqV/vUkRnXDEfVAF0sPILR5BaIGVIWF/M+TbvbkOxe6oLoWao5U59tMHJohYxo5TJtwi/CmV/jPzbNkL60WqQfD++zPHytoVTOJbPOdfIOw5HC0yIBIrMtj3KYrm7Tf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PJ71OfwunJP1bhb9OnMfGF6pUGKCgMF0FxAW7GAIRZFpzT+BYSE6UAV90E0xbcqtuwEVH55XQDB5p7woC0R8RWkv5PLDHIwyqAtDHm4fU0SiAPqwME5TOaJyXZ6gO4L697NqC/8ucevvTg3iWNTAYtpzAhkBGocLMgtQri1WMuYG6T9bgSWhdeB9wJdFPKOh6dG8++8rb1s1fe1LwH34d3BCYxztxOGtNlhoaxT3DC7zqvNJHNEvfg0uUpMf3vQceaslQhrUL+1MQwhx/mVAU0TXOUsOrRxQO4kCtCnj00C9QEljnpwt1Om48TyqGHJXPDIjWWCtbXqfH/aPR2BE9TcWkAOvPZtwVV6/B96T0aLeT/Bpdh/EEx1S7EoOgP4k18VXsXpEfmbtSmvtXltJczzqw9q5K2Hp0OeL4nMYAXyQJOs8/nscb8wwL7GaO/2pZu+n2wBtoL15YjvjTl7mVL8wM4E/VbUI/urQlAy+z/xpDEuSkK4hHPOJdJDJZGYla6eWCM4OPBZMbEPiRFpgAsE6nbifBOKqRBy/jJZRzsvhOn5ehLLpDtncZail1xWQM51IC9YVV0ykCiYYd19Zu4TcS0u8KWuxi+zdniJEXZCnE8gQRAjyWyo2GqXxLQK6/K/9Swjn3B9gZ2m+cpzcGxBZICkIZK0MFOH02ZW3y3ExK8Z7KEpjq6Q3phCiCkHZmyNDiGApOh1X7kk5v39Xd/cCYmeU/R74bZMjCwVqOWmo2chlsZthicZ1q7Ham47fuXmsokgUFN8egAnl45gCgWctgaF1OrO/Af3Jd0fPQ74VWHAumhg/KE0S8tLRT7g/Cq94Jdusxl47EcUXnabPya/TE44mwWJhze5MphXzQrujLKsSpwmrwoRWPP+SEb29/0Njr0wVLF7QGuzexTm9Gsp0oFVO7O/hwjMCRr3M1ZoKyzUw3Z4+MvXlZAzJ9E7FjH3ipsMnqbIglbo91syJ/pSZwcKd37tFIJj/PnjLKwoG+tfwEFZtLCquZkAn3p7kzrVXI/Et1SDIGCigz5mZqWnIdjp5bbC33gVOgXnM+gExLdGaJCaEr5INKSwIrMwx874QD9yoF7LLALOYgR6ijda8svQM/DFg94rFI9H3cHt2J2NY6lg5qgklfaX1lftryw83E73Ug+X98QCgj+JPvf1uJJc/TmSfH3brwL2x4GisqxxUxN7/d74/5K5IlhbzBtWJgbX+PIWXZAJvl5PN2K0I6XB1gPIfmP73zVXDo/UCc5iFuTMHk1HYZhRZQU4TOTeyfxG6lCq3L3epv7bvAAbl7IqXPc6UG8eEmyuOJVEsCrjA8UoEbZz3rMgY2RQHMYFMJVY8NHZhnzIvCIPxwNfrtp3wcgwP8TRvXzmBgIjFWXJake9uSx2bFpvVCdCZYZjY/pd4VGFnvpbGI5j9L5hbThQE/UnuOPnoecUVYwxZBOJaWSthtP1l96eVTuQyOHvzOSrJjyQZJebODgJsps3mcbHY5+swt9SL6LeS41Y8lU22lwv7SEGT3et8vnPfe3E4RJGdaX5nyGMMEJX4V3urkQx25lznVQMrQqCCHGK6rMUToKMhEtL+ePkhJNnBOc4bJui4XBuxJd59py7t+V5EZEm106k5HXDxJT6YcTZJvECaJmRaiRn8IZabAlWJM9Qqp8EIw1+FK0+K7GRiieh/Bi6szMbgHszlqG8r1ib3PR+GKwc43zXuEhGwc+UFdbiSKuBsSC/ayB5h11VV98FG8x/WnzNzzepfJB66PIiHEEtN1o2qCy+oMxX6fLo5bvMb1xX6brhF1WcAVuxJliwHkQ11Y8nnbgOXE0lncRK9UpcgQHX7ofpZ2Mdc/JPCr28yKJnFKF2bUfHYJxVgyQkQDry0hP5svrmHnRslnxip8v++61A5t4/skR77ed8FbApEsxl399TpSflW7WTYo/VZo+dNuQm8VcuX64W0HhpIe222gOJOSs/JrqFXCZDCSx93crzPkwAcqX+T4HoKUtRY5GIkWM0NAIfjssFPzzXDjgt0ZFB3MoTDU1WF2ZNAB/VzHMv1Xh/5jpqeK7pGP3wcuUn2aFHQ8lYyPHd8xeGxpNYPPTEDhz5clbNzVDcy2k5pNcY2rK0gDObTvtslysGLHI0CioNn8BFYtHLtUJfx4YG4k2e0K1fxcMnxaEbKYUdp3gVVAAaZbzzvqHtDC9nQY6saz6tYWs4wZsVaN+m+v0h6Pp4lxLkkp2nLZiYG3RoVBILGK4O1/6ggmAJdqFC3eSuQKUVdB4kqQtcDPHnYEdN21Z3A1/qjBK6ne4pEPfyMgoj5q+gpPB9lgeweB2ncPfwiAK62TMeYyKzxbRAkgiTpZVYRGE72U2griVAm6ETk8uVC6cCjt6JCfqJHHAgvFheUmGU5eFyouz0FetLJuXVVG2rJRVkHtczooEr+E3e2dOGinL7U5HkhLRVRZG3rJw89a6g0A/jEGCaMjJnR1uMUY8bwAKBn9l+G9WNg4bw7phUG+CYJBay8PWBaRBuBPMo9vqEHzxXt9E2QmWXxCQO2G06qUk7hEeKx3N9v9NKfoJr0evauqGNVvn2yexrMpZiCIj+zRBBvnPzSmIvD5a/6GdfoMdXHq2Af5EGUzpK91nTC5Nsi1tLO5LeIo2SMcHAO8Af0DjU0dV4h/CI1dI2U3Zkn4ZHHJsu8oJ6WDTfba2KgTeGBmCexdIT3p+MDshHq5P54PKb5YGTyyb9wQxrHlFMi4o2lQf6XVyT0BebUs0i0lBuBrJwkye/qs3KB7XF/8i3Zr+CNl+o2gE+2vw9UW1y3uCZEXqYqqkOGlKNXGSDdwQnAryYwzNYHTSp17izsulDQKb0nRxNRbNVHGHmwqEdRFcfMP2un0fGNlgbdCJfWUIuqVIrJdTEf8R4OQN7oTpFwrO9DDfhVH1LKLNBZx/0f+KVKjJVMUvadA3DyL8Rx7chkgQpLfmuq6LXhiMzm0M5/Eu7XT5yABgrqSwoY2cdDdjrYDTWYMPahTZfjvK+leAmKMUanrnKMfAvUrb9YyUEmZg7JXgW5ps9rqFe9woTY9w7WIPDLN/9An6i6AGFm9dluCfIUWtacWyZTEu+p/S5pPVH4AMtXE1TslM18vafpNF0gNwc1U/C3HDwJgKB7YkUUXEZU3831DyF1ErRaOju5Cd/tHc98AXJhlH0d8zkwCLcHj0lGymIcOevat7Zh0s6nHJzymU6G2bOGsMSMc0UxHS9n+uYxC3NaTy2HryqoVjFaDAzlcjjDrAwtoNFPD4PNG+HHMSJQWZ3EKq8IMy0j1wGdKBIADQTI85Aqit0kEhjVBpWc1YQUGE8wRYhbtY3fnmg9oZuvuqgZgqRcPeEdoj7vRGGOkk99vZZnsgdNBGoJmyMZlsEzUBlIcEHwuhzQQLeMrtsQATDx3CbRpQXGUYMnQe6c4RZuJdRdMiCNoGuWJJNFA6gpa8hJuYnXi2u8jiqvKC6rQUuCFER1FC3eISlGHIaHuULiNQo1F5sjwkUcnh3l26+2Bir4cxHpS0tWNmmNqirFoRjjVnFqbY+020fxhJYfI3QaJa3/h81pFdvu3m39sl0vO6dJK7tF0dJ0cEvI4wg20bZsnjN1/7ITBSuCzIzKg9BrjSkQpwN5OZN/kReg/us1QjH7zVSEm4pCt/6ZXXDcvY9zlVyFKklCoFoWKaz/W9uvaXN9MhfzlNFhOQzYW8GumkonAaBGgjRUNtDjij0O2QG6W4dgR4DqX8UgnM/UrXj7ph653zllFTnZCpIHPfm9SqgrHDazlmw1Pmkusi5eY95NnU/3G5ex81CrHss96CnTuQFshROEyrIFLCpk7U8UADz5osyGQ+VawicgiTj+VxHvSCi1/KHL2ZNbwz6e4ptPTWHWlOt59DizmWnp3eBv/pTMxPFFwtxDB/uPF7+UpeFw5rgng7hnaK8R6M9165Y6dSfurLiTQF197mcqIuPEOL+SLL4hMfGa2xHBrDdWAdLSepE4sQMKo9VWh9NhY1EyuogpjEYfpkogvdjlphEfbXkRWTek8Y7zmdgW16BkNNwfRglIajanA2e80p56mYKjoCoqxqXJLsctpuqmThJASAcJN4FRc3ZZWoozuMsWbNMEMlubh0e++GzW7jK9yhtVCl28nQX8sKNgt285JecAK5f1mXG7YzBs0ItVZY1TQW2ujgsgtlAuSl2p7A1qe7aSkpTozQ+98I5sNnyhxPihZkUDMROzyxZdPlDauNcTohVNH96MsxmpVDyAfWoXFhKQBIj0kEj77IP+stQmOOxFGIyXUmNaoHhvRwmpLeDt9RciJlWqCurCNRijfFBlyRAqFVFTJ/maQCkjWjGM+P84PWheA17OoTCwOTgIuJGlOZRxy4fpB7c6JiZAcsCMglRl7nuzJbLfPcp6qp/wLJhXr7XITl0Xa5vm1iNJMhiDbNbP3ollpCiD1jmQkW4QtEjZIOrOQDIRuA+aD3eVf3Twt9TcYW+9B6nWgsSfO71BHQ4+Q1Ar665CVaGTvTb25NBK1XdCtb55jaG/P7InbZHdkYgc1+aJhhvUeyApKE/8qhOZTEePZ/hZTO9zyODUoNjFdFxdPFCYPfhz9l0l/v9Z9lkNnqcniTWtEKZYX2yolb/AOvHRQ/Bp/VhpBCG6iKueupf9LWxBrHGk7bQNaD+f4LkANPZYKtIxqN3Mqo/XLhb/gen0dCa9nrSh/eV0n+2d4TQA0DstA8pBVQ71K/k1i6abEMzByqAyDpkd73CNpKnE1lZut/8s6JB37c4zl2V0uM7RRD4U4XpXoLYtyNZ177vNEqEMdVod5I87d0hYeSjtGfnO3XIASvgIuFsjBDzoNAAJKXfxMRhziShqIsCDxyPWZXlelH6QOhayFUC9LGI4DdV+qMfdeDWLyFNgN/X96f7Vr8ZKAj4IBz7Hm4+3e9yhYuzdSo6X/zkMLFrEIVEKjQ0EL3CtxwTRT/v1XQqG2NWJAqYYdU+oxcN0FnJ97UXSl4Xp9x28CBDuLsRSJ3s6lG/rXhTpKgflA7iwrMBATu1rrYnPOBh8mZe3mnq/vsykZ21Txc+eQb+hid81vEj072c3wHE4fBZDLOzdP0ixfMppweHq/Mr2NidizgqAQ1p7CE/Gak59c/94zveLBQ/sdyC3gEwHeCM5SO8VTGZcS3Jzfw4V0judWY0xQA1FFC4H0h2n/lZ8lvlzGSbk4aihnn8alVsyfiBkTs0jeCnm5U3Y77GcurLJvf/PCWvygcZj3fa6xTHV6rjKbEFX1V56zuDcAp3CqdotEBlA1hxNoWmfr+nzf2YpAZSPKecPFFILjMieUKjgH+OHGEgV1QyuP+ZUD6Kff7vYjDGlrIY8hWnW7G7dQ8bI48tHHOjR0CszAiD3w6Rmq3CV7Wf1MQNZSzmHBNWtWAdoBV7TwVGn6ITuz1P8X3EzxPoyps1YT3AMfUGo3eM0ufGcFQ4JF6DtNGnLhrZXJ1m+5zhp/sJYSj5LNlK6pIaVuu191g05486bNvcYp+r9fUrgHbRCwi4lOS9PL9fPuRCIMrGaiVPq96ZuydBY5s1nkFgjsRX7k6qzHrEbIKg09rSEkUeKPfIo4sP+NZu6oE6ecasiTxeioNvIQetFZnQXMNhbKtn0A8+ZuS+6veY4YjswEOER25twk9zEDRsJxI8rquKHD51tnMRbvgqHem1YoIRMTa+OSCdPzzV4PsysyHd/83i8N5UGa6h7x7u/q/+GJSTaEXRCarhdJz8KxwZZnbRnzE10hfPmh7Fsw36GLLRT2eNNLAeF4WMZ3koyWC0dIMuDMB8QmurvRKKA1Z5EbgBVXipePgB5ZqSp7grwDylrPezHHIdSMLUVAUoUMI3tmvYJzTGVJRWcW8h3dLFRfdhRNgzAqPdGYeBP+lgdu4WRjvJyExbRPeQ9CDUOUWqfRgdvl6tZmkqfK43MRpzyHuXn+rpdj6/3BvKoI4g6yXFuukhUU2j+86FW02Bv/9T35ES/ZWVq3EX0nq5LolpUPKcWYD8eqLbfYfm94ehdeNSDEv17SpoIcxXQs4u5UqbD42RU+WXpTQc9lJojyIFLTyP0envAZ7Q1u0QqtmFie948Shxnqulvobm8rEwCs8gynCGKLw3/CRxD7Hl9sDa38gzCrDbt9CAqvs7M3uUcTRl5L1OZ9+2V+0j5XaVK0uUaol0fblUidLwhtVFfAy/B2wV1qb+ZNaodtZtNDdFUSKpsiKtZau+RnLYGYSzRDk91HAXCAEBY8+n8QW+NxpMduvKmjzJwR+1Q2aJh7PKdIDidTHEaVd5S/AgFrWKiDbqovg0oBs/Trw4XCaMTiXiCqkNEhzRs7ABX1TJeX6d070oAkrcz2LGSyxNPCagsumg6+wt1CS8Y/DRBxJ3JZg3Y83Pz/ly8nvSdYmranVg5XSr9kK9Eb9m9BRBtGnmyj8fvKbliH4INxr75mT4LrZegngMEb8rXYqC4HHqnwhe18jk7r94aFGDRtdwNfU1zwgWiQuOPkwQe0Y+H7j8SE8AYQDXP0MlyXb5j3J6zjAVr5aSHv5sy9Zvtlakf4aGDrLwpZ+insqyDkcL4w0ulpceRy9R/w2/23DQ30RK83ehLRIG2q7jktM8bQthycilbkDuxu5yYcB56slqWB1RHPzP0NQPRYr/PvjpWAqbrSHeHudl0C0PaBCAsVNiqsgS09vI24N/CSBtZ0MfSMXiojfTy2NecsAvw/Ci2aUWDCPoO2pT4MmYHYPWLtrIo+YIX6WG1LscEr5ND0MkEWgjnBlbpkQIZtnk89NDy8b+n/G1pZUeBk4PpbRBbd8f0GyZQn6I2zmfKKk4o/dFKCGf1nU5pJuXYpaZopfuAyJ6gqYxMoSgogqYhM+3yzPeGg+spCOS6DerwHWg2j8+LvxWjYH2RT6sxfuOa9uHltEw8+AMLzXUTov7K71qx88nSb8xoJTrQoSnEj195GtKz90eqhSk9vupRlZtA0uccZlM3zgKPXgCaUJb7Dy89V8Dux3S+61Xn842m5i20W34h1jt7x5tfRgw5tiaa4dtHaKVj1GTIcxRcwGLhcVD7iFoEaqVzgHYRdZmhTYXmJ4tFWa8e3pGYZ1j1iWSKMAn6z/3Vy21+3oEOTT1s6Pi3pTME92gKyuLB+FgoFucIDSLH2ZIUBz3N//2fAzuT5/kFirKa5JeYI3hEtPpkvoES6UrCBH9/qdJ+H1PBultbUSKsCypgZGrz2QPRR9U4TTuldar6mtulnNBLxN0mmmXILthpnmY5j4viefq2siUgp0RRgnKAccdF70PzqdG4t7dD6UfRnnfYyuwhYxmKIGqvN0bf/UePrHMo/rwIemtmcYc1PCEs+3XDdP5jJbxRbGLuJnS54fvCkhqrKvyuZYxDTCUyOv0XHEhE/Mop5glhAShipjtWuSjJoVUms1Wl2CW6bNP39ddNovo3VBCU2dPl/n7skyLI/UU8yd01XOsQrjS29WKjVzzyS1EBvHw9X95f4WuMnWy2FFHl9Ar+tsiS5/49czeI8y5Y3gU8D6GLSsE8jwMscLsp237QpUPa1L7YJd6i547r0VWPbRhtjiyfuzXeE/j715LwEhnO5ALYq4/dU2Qe+C5lfpGuc138TvcpbKiph4kK1acvFaKpnIR4Z7Wru4pHfDh3Q/oWbOkuCZZAX4NIuNK4Dq4rVXMCoi3H6BlEOWBdneFPJwYIK6+B05Lr9NbSc6+O8ST+H543x/1xKdkOB83Tec3kWW3H243HIARUcY0XZNP9fC8YQ2Ilpt+/bf82/66WHF8TMw1frmXXAEVOGSz2O/vs8zCYlgf4D6303YqaF7nqp6emRRk4MUK15jpkmiCwPchdMpQJ+YQxJCwHEuGG6IycPS/T3kGpyqrpkmlOAnD7YZxmkHMxGUL2COYrkeH3mJPb8SpbXCUGnFEDul/HyAKoP7i9x0yEoEZMRK8W3hq8EDQ2AJmi3t8kUV3fNTPfwzv9X7/FGcUFC+nxLT5mmFkOXwSORGKirI2v4pIfgU0EVJXnd0ys8B4oymfkkXelhrXwsTrGlDxqoG+hV5oD1hDuCBH8ZROJjEocDc/Dl59IAwp/4awjxKircbG2NzfYq+VOubld4Hz9aiPNAM+NFYJM12ww3YOVM8o4RhyuShze/sg84vIuO4fS/5WEpdLHNwe7SbhMfMPeIfICoZHChkS+SOM3gMrh+XtE9WAI+mHQ5UCfeAencVXFY+TTaCELhyMDE7/tb9Tn50BzSFjaKHs36jR1Dzsq3FuLlnW8mBZWmUVHg/K+1QOax7UjvkeDtsoE6tXXufX01rl+Gxf8Ka6mtWNyB0PFQx368YULMhjDVrVOyrxmX0eYudpjZ1Mrzw8blxj+1pAk6ajSBmap/6ShPnwrjFszCa9nNIXXoZ+mTljTYS31Z2mqtjNQJopyl5Jo/bdNoYxldHRe4ek29C6O3x1mM+4bID3HAABaVa6kCi50FTb5kZ5g/S6gl6A2DWeNw97jfb+0DzgWmmK5E8wrpT04dPlnebpDtKnj06/+fUOPJKAKj0OMhvaQq+Eg31FppvJd92NQsGv81/RpbRDgZMPaIPuyTepj1uS+cyMVtcQpoqNTysgbpb1Xpuu7lukqCimrvyWunFSL1WW0SQ6qZGyo1HhGf5p70XBtpXI7Q1/LJeXSLPVe4MbnsE1iiW6ZthCZQyfEnm9+KTgiSlg2ahKuAZej3EF6Md/lriQqMuQfdmmv8TridzevpTSVDUG9DjWysafaobIivWsZ4onba/sXgb0KgeoJ7cT5NhC9WSmKtuJGdbZ96VkbXx7Ui9Cd6yKM6ZM5KQQ3shnZpPrTrd5WNDiwdJ1dtH6HnBE/QzqYivUwKDiHjiJPviTGKy7zkyM6uTyRC2ADBkNgENG7VMqOHys0WI+nA9SzllSUF7Oo8hDKxiuOOupdP7dwuAvH1ObZOq8YuCIT3we7gUwUkh9ufKwWtZI8yU2jeNKIrfrZTbetCnz4udgMAi+JkXApMlwc5nRB+6pXltqwp9ObIhl0pceFl+oVPC1oYjB+RGQ+gfvp8UacSLXAcCS7wr8yzJWlMMjBDuSt+IDnIk+ESD3MfbmihFPNwixDsKnRXm19tPv2wWelQY27nA22rg4uTFVjO0Ngpy2BIM4593RtaYz4ql+W+C3Se2cpLRQ99ou1Pwxw+9HpyYwdTV5Y+ipIrxxsXe/ERzLg9sxGQK4rUDmV4wBCMwHtQmM42hZVA5exHvNDz/YTdXt8hbRBSpnOlYR3YmebCb3UlZKWzBhJJhgSsZqCKk9RyMEgsLYEFxLptaqMnvlPzT5iF7DFfopHG9aRyzRlW1l3Jg+SoKZoKGOox4wz5/1fSfqYxFsBaOcs9QBfOGnX6/4lBR+xHPUAlbcmwi3ie3iIDEwguL35fIePfm63rxsBzk8CC5B+2Hq4HzqHFRz1JKij7Kz8az/SRwEvPab6jxrA5w7kn50ECUn0s0BXF58maFrwbCsW5qhuMvcrHpZC+nBFIfEwWLDfy6VoDPWjYF/DH4qZXD60UFs3GaLsITbCWhzWOdzNhaQta+mfdGAAEDxEoAUdzq7Bm1wXSp/Zz7VLSxzKyBiHB42UVr/tm2vNS5XN+rfwoF6Z+ja5OWAIeUfhR318UjkcpY0sGJiqfX3lcMSB4nlR4WNJ/N4+xfz4rcnhnPWiNmKWa1ZwWj1UDqnxYEJJXWBggkJRmbqMs8/Txh7F0avsgjxPys7JoJ3wVAJvnfeiXEOZXOF8GRoUmgS0Okw1n8i3ff5yXWmfbGJHzpNzovU3aSFR5DQQXuwy3kv6pkOHtS5LMYUdXiNAm5TgA4TBk/avx4ahNypHoyOiAIH9yax2Nfn4cTufhtxajMFSEI5HKdvUyT5cHHMbqWPQ41DFwyNFv2I6AE+FoCOmtuJX0dzJJlWNwn/w3Ul1u4JeURvDUZZgs8LypR/735cIrKHy7uCVshcvsHiGv6Q16yxv9WhZfoOzYsErOo3SVZuS0UFqh+v20Z6PU2gQBBpDd3Q4O+wGFd9+fFqTDpj2YdYUilKGI1Z2nHosTcgIrgHBYE1lozZ99ipGY8R53GL0QlFXb7llbEiMSLLzzZrQe/wkeXgpAqXPAWiZqPXbeWWev6y6XzfBNUovCNt+KcvSwqRkwX3Dk+44AIlpHDsAnw7p5cSGKQXun2PGuqcvLGdB80wEeeLq3jpCyQXbWrfPbs7+5wcflL8iRNHp2mmjY5jFfJXxV3JTlkjb0/hofa+Pwn9zmI/CuibWY/Qe1M90DFn10HV6ffix2bKdonnLWUvFAwExCOGwLqb1WwsyAA3X2zOKkduBTdmIbn7/Lii9riodnY4zpR+lp+S8UNyKwXEwho5y9pzEA8P98MqUnZRhnGQLGY57TafHa6BfBKW6iUv6kBGz/2ArM8E//Epw44XPHYTpbiVeUb1q4kgf6CWWvuLMTrCOCWosWMd5J4sj6B5SvqSyKofy54TQWzQyyM/ALOOu9Z4bJG5HgMoLyyZQODejdvzDe8VOICRbcXzPzxGMoNnPXrGKwnmqqwyn6n5l5fEZSNHA+4bGrQxFwQ5ifJcmpnzrXXyS+CgfqPO7EX0mdw1weQ8KT6ZWkbHZqTpldqfu+0KcJiiKvZGjPuNyE+v5Gtiy6SG56gbNqT+6tTyFkh5Lo29MvK7izXxSl5bgHqJbKbGLwR0HtSgk6nGZCHHAHsa/mCcM+UDGE5wPAVp1CWXL8SZxKGfWSTV+nS8YQ4CuSl6TCgUQwSr466Op4uc7DLz8XKTCkyhMzBVt2pEECLOvgMpCpyrSZJKqtqkFD70f85ujhupOt17gDnUKy6+e8AZd0FaxGIx3mS4b12n2GrcFxJhQM8E6lnVOTLs01Kanjc8ATmbYAZQrJ5f4WXzqAe5t+ipCbSvMK2gurzU75HxoBrocTObarVl233VdzHPbjdXtnDYTy6g09Ymm3L8L2CoUQOxNlSqyYm7Jv/HkVH6jg4AEx8KM5aIBIvBS+Ie/GAJtjgAfMocuLG0dWbpon9gD4/FGJgJSxlVUNrpGUBu6VXhyGZH6cW4F2vzpx+oXoGXjrZDgRVsrBJ+ng4fyWDnvQ4nw2p2OnkBBKWP4AuoaFsH5IjsshG8ZHD8KWamBeFUdP5D+arxOc62q80JyL3NPwRTCAY551s+DlEFF3APxPztmvUW5bWevUMsjEJxxP43tXHGaQQAj0dju8Nm8TtSiZqGBlheZmiF0u8p9ZLgfuwwbJ/E+Uzz79nmLTiOwiUeofiTHfwutZflhRo7/rFnGMKEe/TvYJy3bp/YQIg+m20I+rYQGOJyG9hA+1F/Q7cKTdSVOZ5QYY1yKUk5AtDIj/X6Ajh7dATQBcmDI3GAZnSRTIn3S5rH54iAS/K8SnAVJ9NNhwVicyg4cLMIP9EJ73h3VRdeNb4OVILnBzqIby9Otb4Rwgu779+qDJHqB14LltmDqVarYepk+PFOz6UtI/2cNko2HNhNuKNfwLEIjaSYM9K67arEOdT3+uehtHUoXspN4f9sz0ejM83YzjpcpK8ylqBIEvw4Hf5uaeOsH4FTsY/dO+Iqb4yopGWbvr44QKXHTw19LMe9ABBnx+BfYvbg36oXBB8A5f4/bZFbpVhN8w4avHbA/4Ie27bfr6p0befNfLHUlH6AFHDLhHvvXdIeK/vH6lxKSfN/9dIPqDpOCdDnn+TdGcribLQWR3W0xxrtkEm/eyYQ4bew4tCLg8yURKA88d8ms1KtpUPY7C4gHxOY32LYrRUJdIniUW4I5/Nko6RqBrfSoBZ3zmHSIZT0PmSeSp91iBZbJHr4TJxeWFSby2Ymi3iqXFtPG/RhiFuV/cHyNP5DWR28A8oz7Xz9Yz3xNwYJVxjxaDCace3RjbtUlX36s4iVI+3kzOtDHlGQyOTibIV7B1wYFssuY07Hy+SCSPsnU1YtWVn3mrDT3LG4OY1/b3BZPp7TXlbpD0yuPhEdVlEVmYzYuTUqoerg5cnGk8/PU0xdSB8r9rb2+Y7JMNA8B/+JCYi9zO/DM/02UuSB1gVwwrPNRgZmBmOfc1iW23nVoD/bg0Zm8/nwjm9Piu4VzfPl8jYqPW/yelKcoSqhkGOIJ5/zn7SJtEU1Pyb3CHky62bsTXJu47dKXPAtI44d4O+VYbdpMx/8HLpfdPWSXdbilBAGFVUSuTKc3VblOeBvawDJDeiFtr3eT9mkvUFZ+3fwKLfB9XJ7/Ue6nrzbX8c760ATBE6qhXoVsTMfkqq0NCl5vI5I9WYkUyAxHBOslEkZ4fGcKUNpi3Nm/h7ffz8y6L1HE270ng3EacwQDRl7K9rfLWl/d3K4sMMrs03qXOCXH6HvII5pCSjh19v1nGEvjkp/vwFX+TtsECpJF8lITbiRX+TjKcaclF5pa+eRhGnE0ghmE/JjFGlpDNE3G2qvJq9mwlIis6UGZDDaR/KS/0Khlua89ujOy0JPTV6s9oZIAbfCquZrAVoleYqH/3WQPGnSlZSJITma14OHSApuHMJtcXWPynCfpmsdX8/N1Jj8Z6j+7CSRkV2Xt+VMY41Vjw2As+NxsT+d6d0jttCqFHPcKj7Ajm5Kkaji/vVEqlzrE4ezxXyyzf3u8zERNqd4vK7WHXEKynB2tkNNh2tus/WcFLysuXc3B2TPM7RQxm/vxq4Z+t1tQ500/zxM/vPAF2HM+P36xFfdN/8ZD5+N+Rd8lgJEi2fDv9oZw2apCm0puMgbzRg9sHPyJggEuezCcZ0YtDI9jLS5RCCiMFSH1nf0MzT58fH99iZALNzV6wjA4vqBehGJ+BPk3w/spPmh4n0CQ/g0LMjvjOuqtHMZeA2LPA8zYCRhQsvn83q/0CYthwh08FNc5U45BjwvjqQQrLjDVqng1WVBMsuQvyYm5dYvOxiVPmAH+lcadgUjsw/Srh4We+2lzFKeaDkdcxc+kqMFA4X+GhGTACjMkgBA9mlb0WX891IZZl+X7wUC+kKBeJ3qdoTBZbj0jJyftIheU0/gM6EO2+bK2mxDgJFeJgM8YTwa5uzhWVBcGBK6F1nwkPXtUW8q3TRdell9uJE3mqcj9JjTqSKfduTy9PhnXbAHlaoPj+NftgFeUquWZHCz+7jzSsLZ2wdA8rU1zci/NiANoihtHLWytYY7pTUuReucrbSQArGl6Kv6oQSWa9UzCBPPyuimWeuz0X3Gu5w0U0TQHhmFJHpJwY8NxIic3/MUs3pXLuFqHR5xxT5NY8alhEC1uplHHWD9mPF3vnQjLUL12BxeW8OTPwwBHpZGMxp1I28xndlRiGn+fLddDGVX3FXunsCZZpLsMnHoLsh+W9ChmIDyGb5Dx8EsS0m2GoFE7RMS9YAGtxdMzzLxvGmgTfghqpiNaFSvGeXZZkgP5ogPprAeq8HyVHqPWA3ot3K7qAHzxGwf7/qxBcmUSgtDfE7biemu4tRK3OR4iBeZVu4I6FcQ12/tfZ7JHulYb+CHbmYLQAYuwgOM8v/qCNjExT0WS3FGmUP4b2yLoY2u/Xt90l7+eY/ka80/2EeCIV5PEKTyyw9STVAOP4+DFO+KQ9jKp5LOGZ/4MAEo1oAgBuobg3KQOI1ACtsiJElAxQED1QRM6Bc2ctiKWTYnDitIHAglO8toXmYvSkG1y60fQOvNGSYi5MpiNkHbXHVCk4aJkuKglhs74ACsXxuIl9KrUjrF8x39btF8tS6XtoLOAW1pV98sSaCXP4KQrH42Z+qvN7FFM0WMRpaMIF387O34IAKnhc4/jztQX/ksJX7QDNYnITOnHuu5QzAPJ3rneeP86Ns8OYIz3PWDo1o/68qwD/krovfjsQ9LA9nLSzzA2FS1DeJFKGTloT1koTrBiCo0Pc/85GMLrKKQBVaFX8qmD9uDxq6BxNgzJjS9nlGNQtgZKVw5wWE40Abc0TQI/i/SsA1MGXe6AYR+q1q2NJcQM0wLIUmDG2au6J66KlCKXzN0ZpdowGCXGLQHb2rzu1cTlOtGc+BqZEnV7OyOSfNXdR/7XPp2w61IKrm1Kin1XNNKB8jpghuuctM/zHpQS5bMrb9d4uKvn3tFLFbvZB9ufUVYVnWp/bJsfpmy5IYUXNhmbwdmb8p4wZLanEWXw9VYBSLUqXRwYOz1VAiJSBcGWf4nvrEKkbG2FpokQID8u+E1IpyMwrekaviLA9orIXACL4cOvudipg/bMcE7CxwmtcShqzSNtGSHQaNcocW8EKstY8iAPe23x9zwDcPPwdBdUlvVO24qGL2PD9JoWwRMZGZtrHIpEbsOoZDgJcaWqXvY3SDf1MOSU4OHlpCdiTKZkIJu0qZNUDlYEFQW2sjO/dxYUNPqzpb+aj3jK+Hgj3QQ/fVKs03LDP4GC0nnFrfgwwK6qKz/9f7khimf2cMMXCe1VwzX2Cs890AxHubEihaWCqqSY4gUEL180BjXG9O0W+IJOquai2W3QCAGRzESCJPOAPvi2rjI08vjJus2JmEoHCSnYTLQ2lyl2wZvSupfEw9jkQT8Kk0HEnB05GkQPu0pZBCuRNFUyRstuLe7LDz6COoL7y/CM5TIZURJdHCwBXDVe+t+SN2Qvgl9r/0TSRJXL9Ew+R9g4BM9xKuqrzxsCzXz3tUrBE3zbXgWJLeLvwqXMTc8nKfWR8+dQYOcZrB1w+w6g31a6M1Ko10t6wK+BGecq6ZOZtJib/X61jg3uhs6hv4+61568MNrN/v5DQnyW+tL+gC5YvEhI+r5P3fOdmEuzsJe5K8c2yRaNKFahQJyV8SL6w+KH+7BWAdQ3b9LzHa4A1JilGBQJCIK2OPI1HX06sNTbtQDx+ftvRfhd0rBDzS4fiahOdJo8QkWtpjpDtJbMLsUu6eymFAZj3jtP0bhOZYB7oPyVdwOIGRql1LmFOT6cgbyF7HYF3MjuF+cazyDtPiew9i8sEGTSdBg+XshC/Y4yoBN1eyGRDMIX/RWqKNNp8scwlH+45jJtOsfrNbH5deqrh+QVg9gDLBzU2UhuL1Oqt42LGT+1ZOTo7ZLYhUQCU79JqQfn46fKqOX7ZzgygGEQQ6j3iN10lemUOSjJ2M/TLO+6OHzYOkdWWI11l3n3/SPOc76bCPGoJx9mG0PUUN7t3DoSgMA+itC/Hrj6FaTAyT+dmG4pKeaC58WYcd5KCtr+af4OkplN5kZzmW5ynnpwcYtyVWiW8pAMPs/58G1V/cemXgEC5NKXP7l/Is/Pe+4GL9zlTrrdlMm2kZEFuKIQkkrcaJmF6im4aNC8XIztDiKc5JlkRUSI+8n9D1X9PZmZPAMa0DisaivMbIZP/aS+udMVKdEs88ow9lRrV4uCBZ0hbkhahOgA+LfzFQHY96UTlMhH3Bid5thWb0QfDwsdixC1Fr77uX5iAbgoQZC8GysLAJnMOirkPu75kEOpqILriLXwTU5lx+j/UX/k6qqOsjHqTqCmuwDlO10oVmhGTI6KS6ROPUAgx2SnMPSHzWI/E9LJy1gayUc1LFMESnKbB2CTnSUMSz9kYKlyRJqd1JhgIC61IqNM22PSbN5MpapTae95uUngUpwO0Ww3edDfUEl6chNcfmIjuErjP2vMiYGDqr7wqN9pjtFShovvnOZGOgStOcYgs8/qnFxKSnfgjJ8Wq4LecoUfIATY0xlb9kykZFbG8nX0RaycB9A2SKx8latqw6mRsvE4VM0sgVkgqsKD9yYw3UX6i5lI01eDt6lQwbDxEl5bcry31Wp2sK+1oZnV+ogO4rPe00pwlNIdEQlH73QDnnF0B9sMKct/EIRtwDv08OQygF2d+bY6rwBwAdabZ94F2wG1ojUnQ9S7srhCjp7ZyV6V89DLEnj429OZ5kognwgdpi+Ohzpo3Xfa/pIWloJbFRwhuhIhc9YCg7wi7c5DuQvfYgo6FEITuGBwWMTT7xUzGyVhu6SqXrCiFJXYuBtJSF/vozF//gqDu2HrHUWg0RgJOtGS47rw85Bt8Jel0MdEXmGJxa/5gQvxnV5O49UnlyqdJXRqpeZpEaiK8AsXJD0HB27HrDEWAZEffBC1zzzu4oOZ2K28DsVNAehGfAFu1zsg2n4UZP90IErHnhQLkIFZhXrqzxFxw7+t9O44ZDAcRSgVUG9cTQAMZRTHD1IG1L8nCV2MyW1a6mGADJcUMxbgwJtfqV1whOZECOW52D/SmOY4h06LuOVQaL82iSyK4nsZTuhV16kGD8rUCNALrHrwrhEDp77f2iiCN/hRPu6RU/lzfvuJPuo+a8RCNyVzbs86hSzzyqow70cmHlbZ0+35/KjojXsOdyZLFPUYRFr9aFSziXRbal+KHkbnuWjf2DYIuaC1hH+sKJ/NQIyGJC9pnmEVdWplaZMgEt9eLamjzhVuUNQW+Hp7mls5xaHr0UxErOtlRHnK7maNUR9hven5TMtAYSg5knKxVxkLW6Tmq+vQAOnhxsjxkQnF82GHyvN7+CIvDrr0vv43SvEXtF9iQLyStS5LY3XNjzsbdcz41Xz7hXvh3xzpu34xZTbn4Wi6u4AZSyZskh9G3dOnM0tZs0RRN7lAtCzv4CBbSEWP1axSgq5kzlgGIOy1dnUKn1ZcTKD6zAZqRl702ywLAiwVVDid4Dd5w5uVSNDBsxKo6XFQ1ULlieftjavwbwWzDMA5drnY2k6TJFBF2+nEfNtnkJLNuEn3CPR1YVbFuuQ7H7nD2OiVjwJKauKdNmVN/mCPx3fjrgxy96m7+o2MZ3KwykRG0Kr3RlGL57HTNRmkVYJhnfM3L/x4nhVXPphXoRsxhARJWA9YV36IvM8MDY7nTG8AIc2rjzo+JCiihGYxpXS/zIQm0XM+me+rc6UtjFmsizfSkXGdaVzaEf9kiNYkKt0chTpNfJZHF+m9vPT4cAMJQeVU59KzFqT/INK+hrd5jEQG/tWsxKhnixC3kMt1XWjEuSnTjfOS/PuYKsq2JCeADGx8L7qriTB56y3hfvnQrvHwBA8Rppemtmm/bBHLs+foM8jCu3kuYDa8S2A+Xb+Ywh3bz+YHw9FxskaaEPsfk4l07DMncIjMNPs5+xs8XAji1SFIR2bSS2RfwRsSk5ZDgVSyuKGY7PQiBCsCV/PjoYgeAA6RIGZl6dMuoi9yaNXc/ePiXtzJ3ZlxT1qDt6Jwhq/Hxo7CqMtRsfcFB8qt6llLFAvGlCNTp1NWcmxZX7CTsATQ11+pw7HowN/QjxuYylcFgwfm9dAI8o9LGx6rSfi3KG+ebO6fggTcjZ1hb06LiVeTXFQB9lQwBLe+X3fYTTvucCOR5dr6ZoVJLyfuxxfoFL5A+mkJvh+lK699KKKz+e1szP1r3T3TOVT+bqeOFilkCGuotGvKNISQRyOEK6ufbrrdqjAOALJz6xpI1jENStL+t0Ce1iYycpFrRx8WilfOWtSTD9L1cbKV1KryWzMBKJqp6faka38KtXCX924Ap+pnwRJB0l51sjesUMWYPAVWcw0UOrDrXRsfjHZShsGCkZ+SeeZubzKz8xS0i4W1MEq/oOFgncrgqVqyAYJbi7KqkU9//q3/cuWtk3OUeIFc6y3J9i6uwEVDxf/VYeqTfvz2BclGe/GoI5KChPCDcpEsOF7SQhq6xd3NoBrtz65YFp/xEZocJ4MPEjsHjeBMtM1E3j6gTv61zpm/hYDtDa35iUDPojax7Pe01AqY6wn7gCF2xdc1eNZpmeggGV060aNUqXLF4aTBk+DFcfJbP55wSN+O0EEAyxRRK/r+WMaoUAluo6nX8sb0yKX/OzWszlTc6TyqfBdD2CHjKXN1EZHWwmaNcwGYv1qhRwvptKC0VKGDOxUR0CRPYVp20UEfERM1YAIUqPsXXsMfxiZxLqQNSrAU0x6diB5+h+0bmy3bnBjCDts76Gb1SBnRC1Ymtk0alsYY3eD4daJDybGxyp85hOXKqJ0R57+lqtjYAX8fiBN5s2qmDcfbVS7ghO8S8U/gS4gl2gWfAAzlt4jb8AF+r44j6cMm26pif2dlP7CwwFjb4JcXalLpxQYFhRjxCK0SKXzQxzXm6G8YcexvhDc3JzmxP2v5dbAMG0OHatKXPVr4Tm+wBRvR8/JKPvOZOk/crVdGYIjzIQROtOG2yYROfMttrg3ZnmQE3Jp2dsNX0WIiE4c5eOoQ39xCGUWynaCNqQ+k4tuhGW4mp5ky2GMW0f2hgehSvASS8kJiqdML7SVg/T1rJv1KEhxGTGzp8KC5zbDhCK5KJ2M8GjH+X/JoSTZu1Uz/lmlYbsSOtATqvhIwrNlgX3RRSg3jTf19t6q7dIsnr0QidjDsHRpurM4LKa715IHkz0jIX5yldkt4u3I0lRYQCZYMBV510wmAX7cBx3zvFHDCX8Ol5qjBjNp0FeSGOFyb051DwAs+LXC+qXguvI6FpvumTEJ/OPnOEcA4mjQixDJkqP+fsAHHGQmtKL8F+XGweOZzJfJmr9dX0T4eDhe4vZ4Ecm9Hw1kU4oC58j0jlQG5i83cQW2l85ysaIvuhAb+yrmIiinnnz30s8+2Czn5ouqtCuI8PjUMzL9Xf+wnTsS2vmfvUZXjEvJvLVjPOopcZ2KPKGpa+u66GtooSNQA26cH7aVr+Ie3NDprSfe5GvDmtFjeL32PNNeAsgwSA4V2aBjSOrcZKblqdH2D9VAHEmzDLfjY62LBxIOAtS2VF5AgfoJZnFIi6ECAOTrPvbgo56YOvJQXy1MFirTPd7GnAjgHrbXQQaSOarbPHXEsR3HidOxW4dkOO8URvl0ZrwoGYCPv8/NHSHmZuug/2Yw1dgbxT9JTVN7jPVSAWASPOlPUsTasBQc0QtscunE5yYx6rU/GOQMbQFOC1maRLgx6nd7oPUZa9Xd0akmUT1TmBKP3Ny0cK9Qb3X2+UtkEgoms3IHTqkoqKsykp/b9Gtm/BCOjOvjyLLtyeDvomcszKmySwTJj/tXQHqTXpYLGw9sDO7j7owZ+4P3W1hxIMPRuOw+pqgeaB2/koYY0qxm5MCXUAnN+ImB8nfkDSmqFMplKeIB8DFWMihCkZ5GZniiH0WOIF7oh6pumxNIhpnQUeIb4apf6R5oT+NBV4s7vakPZY7pO5hUgDxK2T7uY9FxF0TVNg7PktClR8hNxwyyayuM5pxlCVzHxocDsLLkYKiRW4WJnv1cZWWpqwzJHHiluUssFTLXYqGVckyNabeOA0fUUMTO3EU59z4ONThEc2/nJqWvm12I0TtL/KG6ttXI6YeP/RPDhTuUKUCglAlbmXvdmsUNSaduFpbI9MT5emeVPWGypWcfgOg0d1DBiFE82iaQMpOiPLmZnaFlVINAZRY3gd4K2DyHBT814oPtPcbtec0VpRcHL5vVsUWd3sKbwK1ywpgu/qP8jwZ9qwHKwET0zXr1uEFBrWK91FPoD5k87Zwgn1yaj7EAiCO4YrCCAkqzycwv15OlGR+TmrLgUCuAYqUMYCzFaT7nQYOGeRUQgCxE/l0UBUfq44UGnzpkOddCpQw197xnG/7vtIWiIsu396REauPvIPDTFk8fSVZzUxO9kQyrFNrrsPGdmQ7NS5Zop8cZV9waURp30O4vOIbfUDZPmf6jNBqajwAtq/HrkYoxg2DMngMgObs6S09/ehJ/74c9PNxGMVN7YIYfLVx0M3IsyhhnfFFnoeyrNl515oL7horTM5tQuYg+C66qTIvUEHdZrVEtuIp4CqkAhTybIjLbG7Q0Jajm2cN6P9FIR1o1Tcrx2TS7qf7QmAtTayGIULx24CuXH/TH3N7WAIBss3Il0j2DqTh1ZWO6aikYUJaoMyy1rA18Z1acNjssz/zoDljPDZ+A7rxItCQBiHmMA+pZc3Mrr05cJFMqy6YwQq5atxS7EeUoUIvxK9hTNXy3YZKC+tXor3ukHvjP1x0G5i3+tbfFC8Y2UgEemDLVT3xbGQEQTowdHOtEyBUTaJSZwKUWV0GY5OhjGISX0nekWBpB1mFoKUWV/eS2VVNihQ5Zsaa7eZSDMiflrT88zip1ZCfiFCHTEyQPIksIufgmaqvFX7N4tL3GoFt24Jn1VOkxbjzPHw9tbKaRd4R+V2vAQbgOrkNt3rmdxb8Mhp3BWSHpxyPIpU3GjawH3KfpLZ24lScyEUnIWntBZ6+Mg97u/Y+KjoaiY9p1i30KPuVicJgUbPVqfQTEpYHXtICMtTMvYAmse17U/RevHKcXbRu98qlvqtDJ/PZyo2roi+107qPtC3HKm+oiqGSrrP3CHXF8LC3IOAyx6e8KHnipzmUak0m22m7a3Bgz4gQiNKFJyrHipy9F1ZEmiaa9vkaslWrYMtRXs+Kjr4Mxnk78Up7+RvaHbKwCpnQDaMZQRAouFdmxRdYwNQxMkNDvOgOsb06N0CtaWmfZsY6y5Mgrtb6NU+pwAQRmqTjuGaceRKimAn324QjLplv9Njrifdyulzr71oacQj9BW1Tw4Yg0YyjjR83WOfkz4xMX/XyTpNPBJKUio9ijij0zHBWqr0mvpQcXdN9XGY+HEWGKKqJTyZQTyVdr7QLf+rj5ukjDPxOARtM2A2MwlUSlFMmxRM/udsWRJKOy0xCeYuiKESpx3CXeGPO98Z/cjeelSjP3WQmMoetNcRhE4KI+0/ob5+Eh7h3rBaVgOFCgty1qTvSR3e4Xwvf8ZD+lPy8lzqoAX1andIezyQfZqzr05jUOLlYhHHr99PaJqBXpDzDszEc4in8DnOcptrH+53IyFLjWuaoIoZPtb4q7qT9IpYdsG7ExTfYMHvelrnQy2zKWtAxvRzWz3FptpEO1Y5xwYXaobVHrGEMDgHZnLJ4wJJ+gkTMbfvC3lwgsueoqukd64luzxidkW+0eOaIhErD/dAXHzNtEi7jhtIueoHRpuavNGIEs4dazPvicO5YuS+tzZHAevVt+OBsB7cE8eQPtYABRLB/PnA9OepcHl5HC3qjK0BPmeQEGudVB/6sDyQgVOL2XsFtJfHT8R05fptQ4VrDiq+QpRzq1ClUPDgs6YAf+EOsno7Xe3YdhIKs35eXP+yNBTyAqqLua7nif3URSCp19o5EYobh5dXtaPyUR2kkq53ttnwCwjEAIVD7l7zt8AwBUcQB+dwpKTJTwoWDx130B086MThHKAdoTxlYTzuQdikTSJZ5CP/nhmleOcy2WhZr3Yu4ujVj06aNWthGgZ5BM4FoWvCO+ciwLfwTT1JAQl+DMNB/y9xwR5srwdJY69ndi6KMp484IsurM+fsUrAlkwg+HbQsroYtpdftSj4cgSP7GFf0lSVW9hICOFwwki9NAaqDCvTexYMp+qoqrOqyKlY7WJmisIGb115jpnpXYy1o8i/Cc3L+9HI2aKRuAfsYEF/YIN1tDh6yyWkMAdxqauRKuLyfK16nBCIV9ioLS9g3EYHwCQyn3AzkxRHhn7PgvhVwn4nZgdD4HqgTeyeb7To25T09mDtf6LbCBX3GhMMvt2YSqx6lkUaiyw8jldrCaXdjilNsi86ZJVCLws+t0QyYb/wOMxomFo6aI1fcKyOfjSYmq7Qk31EDIRVIrSlzBZm6P7NoII5C7xfp0WTVLT4cMtS7musUXF3gKIdf7b0EFTRTQQ3Nc388jqHsjWYjTaXZ3bRg3cXRHf+iIYe+mXixr5DxyopMwFksBeGIqRR0A/pQ8Tj2UpXrwR29pGF1kmlgy2TKBg2rvqMc+lv6y2TcvbgoPBrVnObuE3RvmEPes9nmaiOa+QwGHVpip3oD5hQFMzVj0dkg/TGASW4XoJLidAWmL/GoLZ402pQanVAE8SeLdALnRTxVLDdYLkzQcDnOzN3bhmL0hF3ikXf6r0uVVsrantUtw96XqiH8xd/Zh/edwBIkzt8tTG8ijc+NvcWeu2zsfgc2vklMg0m7TIogx301ZWPFpMzVHy2hRuqUV3eIR6J1CHTBqvwR8owkXZLLNrGu7lN6iqTUfgiDm3O1lXuV1cSnbmyKeL1n6ltSzB2dNCLUL/R2oreW8KY39q/N2dP4BX2B1koDemHgwqyRKBZXXAe9KIIzJ5dYuh3XknRUfM0yNQT+3NXOyz0a03iXhCB8U8MKCWXlGYwBq8RY2Z4gXpVWtEuoX+loJoPp/CQdyHbIHpUBcT9C/Ez3Zsn05BLlw+uUjmn4SY9NgKZqqrTAXFqxwOPQF6Ma+bmmFdR7Mro1FyspdgIn3qZtsIAo2icyOHxHXYG1/gNSUaYS26cFT6qRMxFCvrw5tYfVOK5v1gDpqtAsDh8nBgzWotaeVlGlPvX+i0hDRxytqhswF3d4uF0tmnsg63Odw7ec0DvPtxVryhHN8rlBXb6UwwrtnyTIfJ5HQSwfhCXLa5gANe1bCFmI6368OVoeXhLYlP/lNQEsZBTRRPfrvIoeXzSywokfR6zLYZMIOZFr5a+kL5dEg0Ro7JlE7B0TgNPXn4Xg8Jwpa4prQfDVpWMPmYUyYJeTzeeRjOpLs2773WXTSa7xLh5c4AptJ1ydaTycmvGF7QZ4C2eUhtxzhiP76TWia7Cfi59L4C5m0Y/KuYFrWXz4bXiAxDcCvl7iTIe495nAbLSffiqifwPtnIRNv3GIabcFw1IJApldSl8NSToQRMVLIHu69Q0oDYsyGcgTQig3AUkf1AC5WFNclzpCtPJRLlh/m9W7IHjE/fvrcvWBXprLUgxAl89fO3xCR6NSAMvYRxMQCDIcRxsQouLfLkULZ0VF14B3kBl6N/HTzvXRahbAM8v4OOqZfD8ujDuHrmpWf2/LljLoqk4psoZmgOscEOeNlQBDuj7IzxiB4NN9E6t1gKnI5VWd8i1rcQpCU7N7Y1RyKGETSelB3AvNCUHmyFY+w2L3q5tVBqpeXvCJMSprBHRFCUFEkpbiId8mWGg1+QUfdgqIWX5rP1fcZiqMQGaaw5T3feAI+YpRbFST0B3QG7L9e7WqL6IVbavSSCxkDlHZ4wQXZDmpBfMtBINuvDYbJuGxf5SWfIXzHe4BBFvCG0mB3yIAlzOcSdyrXuvADFjgDueZhYX2OpbJoQrC5MvUsoUrJkwFS1opy6rQaKPv3k7vJbtx/E96fix8r1szIaLib5mV1B/bQwkd3j7r9O1TPrmfKZnp6/cHgQq8Nf5RrGqu7AkHVsZmXguUjyOYeughMT4QT4YKp35O47lpoPNiPo1EBNqpsAg5fYgFycqdPEE7Wmz8D/Cvekr1CF7ROj+PmbtxTjNH8gHATl2BAG5OgRMcL5ZwgvC9N0jHTeN45FduKH0QiRVp80QFSJVF6V0mWPAmNl3/cmPFYuwdqvPDfyFU2lj0NHzSpjrSWN3HZHNeubQO6D1ZxbbTCXDVjKi1VP7sOzg7K6kOz5I1Geed/7Mf0pWgml4f9Sv87wVGtIaYQt3AoIVqQbAbogsKPjiApjxmj602YYtx61aEgYezb32EdcHAhWHvipauGAReCxt5ZYwUVady4suGaOaKQfQw2oyIbxgOP7VczZIZKuKcBWW/OKnCLLztGnH2AQJkDCrZRGx6Qmp6+aDvxL9BSFCcVDzJh3puUr3oeMfXmPmPAI3JDFSrnrhwIHJRdi6YlH305aHT9d/Hxs54yZ0+DXVbN3OWbly0+dJPwDPDQg5GJ2BjGYIPFsX7f9aETLYmwb4LZc0+Q35i9FWCDSpKQWiCYNdAKSGsXxPTucS19YoVGkpAzX9CRSdnCk37q76W0zy+WzB3ZdCF4cZRyNcfpDUCAZj93rx3y5NtFzfv8TyvXOTSY9QOwo0l0W9ff2uwP5ca0MOVpTTuy9OKS/zFAaeQBz6mgmMuqnnzIqaBIH5gczZzo+lTN8byvlnTsc9O/wJij6G/F5MdUjaaG1uuVz/THEPAIzDmWJ/ZjjiPV26HcialDfo2dr3sgxudttZPwzET4VSelyqXy6f8SqoqKhHa8GyUjdaIjXOU6Q/7Ovq8yRnGTRar8If6kWo87RLvMYbqN71eIRY07UMrsDsyTBZLiGBo3jt9ibeB2TOQOd2Lsntqbj8j5yMftTxfkKQ1jTiWXv+qZz6MNPSeRoOjRTYx/DDVYVH76sNvh/nYu2wey2k+Xe7GGyqXpiebCXMBUnoOAEL5icksd9B+4UV1JzjYwXBnuRjHnVvts9hBQX9N1vHNFEV3+yT6HTTrZE9oPuGPYwr+NCLrY33JPyAzVSfU8gokFwNL6/3d4HDcm2buoLhcTxs+KqnNAbWOD51Vp4/g7N3dy3IDJBxAgH6rnbIfBo/Q47c6xIGxlaR2DPrmDc3dG8Duqv0Fs7q+Iq/LHhqqOVTzMfrx5UtP2V8GdGZeNMf19lqeqvrzN+/aJj1fph5TFXtCLKfTTQAC3jytbaUl482DZX9o1D/02omji3wGbsxFl4z28ymU61Yks1Fp4DHZB48lWdhtC64hOLgXOZinVmlopI4k1r3+zUr4smktnl04GnxdieMlb5RYc2Lsnz5VkiHn0vpqnKYRu3qd439sW8qYQQqyogYrio5rDZiqdanioiwFjPItfQhQP4y7xMBncWs2HkmISGWAUFLJxzFcNFXkHR3Qavf5yagGuBomCt8ThNVPHSWiCG3xAVXw0jOAFpEa3RkIxJd3o2b6jgpLCnIuEntTEGbYBQzdvtPpmBO3NikWf3rCUktnfjyIQTktbFpwgT83sFp0ASD6RdG3RPmxh3OyMJbwaWTivmuDtfV+M+Rb2pxz797RcEpufCKcHh4v9wUEpA0F556kgeM3JqIF4a95vmgF/K+B34bERQemuZJI5gz5ZIY1JPEdDxJrtuVc7GJeW8t7CyYop/Tz5pEQEicl1wRQARp03tu4DF89yYYLLB+hgz7CAKAlINWJdzuWRvOE2ayzhdTzzX1z1Mj9SQHgi2TetxJlhLGuS5rtxjRLEqdmjLKUmlCubgnRHXHvTuZfnm3cm16Mi1BhHur3snykWRi9oBqs902w7tXBS2EGzw31hF/nLcdNyV5WWuGKUViYaW6Yel/tSHzGTb1BgajDGxke7N2BLsbj60di1u2VTPX2/FihWBKnNL7c/X724vE6PNv6h1jXIGxuEjQZM/m/7YT/usdPkLK7om6ItlIHmSoq/VzQt6CV2g4d/141u+8LITRfZQVWJQxVsLTI3ckxfa/iAbyw9e8zg1jtNqXfjFqCPn8DU9rG4D1LZ/kwlSTmuz0rynJ1+nlGQyi7c5S/LSzzvZyNTZzw/qKltZSaizynSCuqObEtg4D9rF00nmifK7bBoFUM8Xwq2iIWWdJnyjKiglNuT3+7wt1f1QjcaqVipqGNqk9ulhuiktFxzq3W5+a9LBziWtH5kWSV7dpFCaI5N4DFSY1qqhq8cZVGFMb28xjMr/Thk/fVL5gkbv7/3q52nWI3cIAGmnWhzOTyvQ0WeoM3uuiDYh7ghQqHMkOzVHxjm3R7pIW2E6XrvcfwyGp7pjuhnmwKmRhuh14GHZrnJ0BCTenY+lYzGKf+R5EwDYtWADCbUvNGjarWQduaUgarDYTCprGEYuG/DJ+jcB+vLBoSQ5YsZlV+dc8G7YkOv8mEUaB/fQXYkgDch6eRuqRFnQR1tTngSlelTl4KPMudJueWkimQgE25sycTAVThWvSLQXZmmWehAuOhBtWbMCI/of037geT7W7zllKzT0ak4v7I6dlHUbRbO8ILP9E1RbDbiJOfjRsgVCqFoY8nYezzhHBpe1w+hxJrCqIyqLjENTPfItaPU5NO7MRxy2YFsDFAdZ0R6M3UE0YwvnrwK5M93vl5lOxizqYWsS04B7CzK9AOf8XuqCPhnCVUcz6Mko8BhxvQXbuMb6uiXxwc1Uf3sP7a0oCeg3Jb4OuokT4NuoSg2ms/Ih39MMzObEvMrW0o3LXGSHu2EhIJrs3ayIeKYgG3mtPHTkUQBBH9uVmfv12LUAGrhvmFaQiYuwIyJje0FGemlWk07AapMZ+rCg2HQmV/jfhpdU6VI7pnvZ2UGUo2or4nheDNB5OREehmi+/ot69ZWmSYiK4WmfSV9encEcDFKyUI+U1b6kTt9APTK0pDhudp7KBgpyfPtajfLy/1McNejM6VQrIOkxTDWp95SOybfDaE2dJjy6EQxVD5vGr80xjCY/I8uV2UjW0H2sbHtugjHp4WQBPCmrd9JNtdGMpn9j6zLmbvOxdhxs/uKAQWGvACemU0IyO/QwrQOMsFjEIoW7SoAsPWs4ewwRHkqtjOWHD4bqiCIoZfs9meb+uUrjOTR8YiLiUpjKCH75NvDlE7s0LLOkqzIfak2TgsjKq/zePNxQm6gyUPqFdzq4fblbV6z38etg8BjN/bT62n/lZrsvW/UEihMcbAZ84fwFrT51F8H/+KTW77WG22MgwbvFJ1S1SA9jc2GvJvJNYu4PPwq/hULOj0Ok0p9uPQwGnniFKgKikWTINhWZlpThTXTDB7nk9tBeGeWjyFhswj91MfeJJapidIxO8DjPsU1xqp8QOtUZO2dbMDD5RykBBprTlxhBpTSgHuIC7VPfAAvnGlZVeC1PQQeOvt7M3TmeU92egAgSFZEewXDoCqiw0WNGuNzgUk+3td/o8C9g182wekZ3FSEEFcTNjvVjWkeCVlU1aMIm7acczF7RevS8dUXZnza9DvYzKeD5um7DLbxjIIcWaR1nDrLOGoZFXrzHuTXHY7m1c2n5PRgXxjmaeLRGYgjBviGZ7JTt/C36p9Q7HS8Z+dFUxUoTr9lwkwGkACHCoIbAc7bhIgtwNpaYNx3k+7hKzfBH9TycXjbVA6siVcbxnqc7KBhg2gayZxGLsgjngVZAuA4Q9KYWCR1b38pGPDv+gPpJnoFGIusIHHHf/P0n9P2pH/ZL6/gKOK/Ls5j/SIk96lan3YSrHTyjlbhEpzugadNcW0g1FBoQtSNboUm5MGH9KsStOhqijZwNrckcAF3Uq6kr1iDFJbKJYfe5cC12vIy+ypswKONWiIQRuPiaZnFNtCY4S80YLuOnKtI7lYDSHWBqa+or9FZ80EKO/1G6A4fFTrMCxjzFy52zrvDC2uqCT5j02x6MyE5GKZU8BMe1ac9yJ/iRyMd0y80vD5shv/VwdXMaBejxqd3eyAQbwhyZedVURHmOSMUD0pnMMkksAhtqB6Ek/frdpeNACZu2hd8Dgr69lMToWdeynaevAJmjv5xE+bMfze88qUHb5ZkVKR1mHyCsrf3d9aI4VNYWvwXt6yTFoI6Dzq/NMA0mvLfKbvA7F0Jy/qjc/vxCJVSpWtztSY6z5s//2wm6b9xit+LyeJ+6aUj2LTeeNhbb70fwaXvA7B/n52pBuWSOQqznjKxrIjVpsTks7xQli3og69JEMTbETg5g8u9Gs/2rk2akvp36fEYx825+pdYnivJlxtDN7aGHrjxqZyjlLUSlKF6c4pMWTn+ItsrWsrypqnu58eI0YFV5KPffotTuvw3rkTsZQv5jIMe0bTXaUatmtPRJrtMEczjJS45125J/yq44w0rEc7sXXZO5RGi6V3rWxtwM9FZhg3H58iasExlTfELLmnCZaddsuQzxsAOY/SKAgmOtdJUEoIcjeAfW5I/JND3vJQEaqpXWiJz/C4iIIsTnS1kL/+PdEqHb5KBjKNUXe6c/KFMafAX8fVo1vQlJxvSuv5eDLvWCFvYvxgCo6bSsQwbb+5D8u50E47QjiMKUsBQ1fbkjX38TRWTTlrCSYu0cuIz0CF7KDawKX3tiTG4ZWzip4SE9murzCgUzwoEyULMq+xgAK9ZiMtyPVqMkDNqhcCQDE9NUwhb4HxM/6EzzwVhotxllydv7VODkpG55CAjwwJ7ToBnjuGG4WUV8waXuyXfPhBKxuSuADF9MJFP9TGIIC9tETvJI1PUDxL8uE5q9iwcnI4XrftEwQ0xXR8sdCGc2V6/Ks4vDT09VgrwGjyYnJO4yMznpu0jo6ivGRQ3n4H2s9JVsqZ1XzxeRMfcMFSgo2OpBRWP4OJ4Bzg4By37qbIRL7W9TsFKwqDxagGnyXokRuX/UycjvMkGzr+UqpxXcFHbLS5BGx2muDKcrsm9fUGYiyXnfis5z4BgpnX8DDx6sZzTvbGuiSjSS7kp/aLxAYFlR8FT2o+ZdMhzz//YGKJcM7/QTIym6nl/973P/RO7SAdJqWZ2FTDNNh8JvexHRejnlM1t9C/ozU51bUTXtDo4aHz5wkyxLx/BaMsTrTGwsouCVCOSXCk/DE8lpy877kvbxwPiaAMbbsOwmAkNmRn2+x3b8dzKKczA7cm55CMa3OrJAm1TYBdkQXw3w18RPwoN9yGYvuB7tQlLk3k9KHBbwGyplQxMCuY2C7dj358xcODzGX0c1hnuGxAk5T6achsP0L2BuXJnUJ0C0iX5F9hyPdfpG760gXE2bH0WAQob/ziwN8S8B9GPDBI+3MoM6CuWzzp4/ob+w8YAbxuq1v2gwVXQgUnXfxOqW00G938FSxJ1jBfuHFQjCCO/J079uexB6B7NQ014kuSGYXPCnYjgaShPTl/KaV+ifPDM0V2j0fuYZPj2sGqrN2hXjkq4rkkJsYV7sxqm+V/cedJbQ0zS/WDjSpwG8WJkHTrOu5SCXtqE8wNEF6LKCCZLfTKl8tkCl6ZVexesb23Ll44oyoFmQ82Y+EWpDMCKGHZvxoYpoOQvYr3jJaCOcvBcpsJDJ2MN8Z9mEk5v/LMBzL7zV3HDoQYLR/WkU0E6NsKdqSVGWXKwoRdchJKIPoae3IMcVEXZEqmPb/r1LZ2YRgg05kdwRBJ5XJ6IFBa3Fo+JAtLYWTm2aTXDaYq7MGaF1NTR4UfGekbAk+PfxsCS+uD4DP0eGTFLGHKcwGzIO9BXXijIINgcOKkX69olFthDMRiQG/zg5QCJrn8h12jD2zDUD9ThBs65xrvWQ6l2po+7ioAIMztHaUfAZIGvIz5ohr9jlUGYApxGJwnN20EUXeVElFjL8qCh3WHEPj4S4k+YYOVqwo8FKaEGh2V4jZ3ujW0xXmZkVuVc/7622iHCJPWTLj3qenfjBcG+OTxn8JbhFeh15ctrPcM4e/k50sBmZRzFseOZNQPWhu692eBENnnJgqzmSqwd+uMaGznQEKEZCbY5+b3VxkoRRC6N+U7oNUyYlYc6fI9uRXS/dfFjpZSvTPZ+FzY7w+8BaHdthe7+pPf0iLcX/dEqXSAHtUn2wS60aoOYn5iPv2Sq/chU9k48Xh6tmOkMJViTsJeV8EWpHM3NHT0ttvKCTzXjdbjf9NM200pOcpWsd8TpcJU+s7sNiU7MkxSBcqT9mTl79pqUXFiLCuG6fkD3zi9TFP/XulLeE0MnXoUOxZppL0rMGw0yWb0jOMexA+OVxSabd6WIhhuOeX6TYW+y4tc/OqSD/D2kJ0ZaUwDq5E/N28Go1xQrc5U9DvYqZ5nL6zFcaMznTSpVlSgAQsJjRVCXTztB4Mg8Ku/7E7FSYGJUB0+zq2PN527MAzGKwCRPMPaxRFapBt2GM6fdQdHy9/v7OUaaslVkaNHIslj/miyoKv7z20xSJFM9wfnDxrXJvQd+GICCPJ80++z/joB19AJ73gxBa9IsFrFo90XnFb/VDvpK0stZMQrXP+8mkF+QhUPRND7GE5XcxY3BsdhXAz8hbZo8tvQYbf1G41ZfkYlUxNSOb3txg8n6kCxqffoa0O05rN6JsWeaO4lxYwRgMNYk9qAn9Dq+e2x5O7gszr0m0CU/0EdmFHGFEGtOzW8xBLVXd8rzXPqSUTV+KNJT8KVflAAbXbyJqRHUfBI8ZZIGokjJUBZMPiMb/OddNzRaytGIuf72aK18fiBIbN+g6Q5bI0pGRqxC03n+CUS8Y5FvSxwg1WJKKhucP/LZkQQVF/VLSI0jMrnStq/yjbJUKjO7wEDiZbRwXKw+jSEnZQLso4Fi3Y8ZlzIkSyvLheATLlNNaj0c6fkWbP42pbucfLHSh5GONWUmg7DFUle4z5Xa5n5YgQ+eb6Qki7peT6SEok7+Zu6msG5GunzbWeVENS1G26xioQB8GSt8L2DJQB6OhH14ZMsn1B+oqR10APfsmpaFBnT/aHYCkyFJuXBYPwkXNvxVTwVZxDNmJE/mHFXmUFOztIYmDzd1Q3vq/Fq6RKuNMH8SrCOJb5vlW4MFyK+nrGw3tniuHlxSFd/hosVu1nBrRHdIk7b50BXWdjC4zWQB6J4dYLKCY/a6RVfgsflAASLBX+QB8pugqBXFYt9zVx/rVzVMjs+H/ivjZoY5a6Tp8OTalQiB9/hl8P3uydQP8a/P94IdtxmiBbkYiYnVIdmrZBVS9DPO9ywXYYs0bu8i+++CFGEfUlNFTUqCm41daOALrd453lVPrvq26PT8KuW89nFCt2KcpikxDEjsPnDiwn3PVsYEZElvw3kuw1hFzm7+fgr+5enAZX/k9lvtYk4VlLzCr+FzgQFBjbClO5egG9cqS8vGPYpQGK1B7zN1epz200dYbpX64qQX2xnIRqPlA28rVZvjunt8ivoziHOKXdJZY/RVEAwqrdPQ84bad6RGGVd+GGQZMpDkyzyC623G7HwSwWpXWIY+mXDJn9m4oquY2opfcMBZW7pcBWb1gSuA7M4OrSainWpcQS4TPHKRjjh2RmHT1d/v2gtn0s2E22Bi1mBegNfppXpKaACMCju6PEgMDqOvcEg7txODEKuUoU14Dd/e196LV7eZ1wi9S/qDYzwz+Pb0CQhTgwTonnVn1FD6LplB53XJinSb7nljw2wS4+N9TWRnHD/DRSfv+cAr6UnLbo0zqNopMQYRth65fkWoU+iMiEo5EJFIwSKA6a5gDFD7wPB+dcNqludzEl4phPV+C5vkFg18Wz1JtvxpO9QeMXaQI6EkVdOVoHswtoVnZA7AoT4hEHo/GiaJl9utHuvW6+F5PnITRGDLwxWqixZeDmRKY/Yqe7x1QBYSoWS4Y4OH5usgb6e1K7JdEtETBjjXglNwDjXNWkoVAg2xX35MpC7eDA5vSbYEwiCt+0GvLf+Wbqn+KMiNES5+ukcShoA6/9sl3NnZUU+sbXxDxR8M2tJR6AXGbeLlCbQfF5hCZdNuuLHNTJDRHYL7xJKW5Ek7s+hzCaSHTO1Wh52wTetF9GUigVIBi73XrnoOpLyj4Cp8ylck5xgJo8kX0c6gsEOAClLjqzfobOCnx+ZQS4zKbJi/hqakSAx8yEGcdJEkig7DofSRI/fCLeI9Yu1xBHgXalMIksKAY4FoxnPXcjOJknV8T45AZqPOQ5pEGG6nldQhTk80p8EQhViGT4bFQJ0G7sHtGQZvsNAs0tE15s7BAB3EcUplSrAksF/q7/5yIL1ATF/Onn1KK+QNIsqDxChIOhMAhEbEhc2MEhDXUfU9Z12Qq4/9+bmITGMA5q5J9Xft3DsyrQv/lPjZB0EhTxp2A62QgtA1/sqfT4uvebO4dqrkk+v7Tniyu+pBZAYEbfIXfwbrpjwSiCjNwWkVNKylg3Lr7TJHyfySN9DB2CJpFNJ6JB4QIywZOO7cWMOKcUPXCYRHr99AmZFra6g1EDReZ2epKk3/qQtmJmMK0xgmCNTeA6i22RqeSuLMjzD9eDrJduYCVKylTuGUFUoRcC6PSh54JyR+I6vOCbSm5OvZnogar3kNkm7MInn0qmcNVI8wMtQSFTnUNzU4IgNHddm/DzvTstS/ctMOEAR7hQFepxx0hxuP3qOVZPnJDcM2Euf+5DgEtpSE6b4WyGiVXAJL+HNujQX85ZKT6bw71vd/664JiOFktb2PpQK3QKJeb2C3aEgiOxLxCfIeKedCVdeOhXS+pg59owcIvl61RHWTnWznI2PNNlkE1c8etKIPduZgX8lP/8wjvqt9Utga6eL6hTlWdX94lhDJIgfzS/uZkReuStH1NKgENSIO6H4RI+kIdPY288hLPVw1vz+/XZ3bPlVF6pcqTBhXTziAVV/cdxSHwjXTGh7274mbcCpFBjTi0z5hwdzc6oihqaEVBJFl46hHwjiR0edTA2RC4x7YL4UPF1gsJcag935yeUFBOtZlB3yD+VWl2GgUi8vd0FD+kqElWAxmovs3Ot/TeSyxcAAFuRoh9UX/MpUZHwPR5DPmSmtv8Z0rz1hfFkC//OpXuG9f89Rz/yqNL3my5rCVrLHiVsawIiIgfPrWHtgEJcjMjJYpmGr9641yoBdcwwqQevqgG1HCJ1PEG/Mtdm2vJwEBnkVnr4OTGhY8u9J911yZRVigDBle73zCwsPdssP6Gom5iX0ESwlwZLjqx9KDoR0oLez+e6dtRgWbn37xZ64KuIFQ2Bg33hNcuWKyaD8WUHbvewliOsqFIN2VrgLabauZbUti904fyxytaE9/5kPZ+97tY1kEtbOzLsxASkfdV+iZ65M+I2oamBbFvimOV4PoII0YvAs1H7iRvaix9yY5OR3BIjZVGRQvYJfOP1Ly4G0mm8ZEUsc47bvxZYOx/cacRAQC8PNHqDOa08loUM2pDvw25/zKSY/aqyWeMqf2/ZE1/darn8O/pXnCdhdYKJAb3knBrqhmfhN951LfAE87h+4UVjyL3pHOzyaEtIADlLLBbDa3EP5+OyOJY1BMP7ZzV5vi8Qj1ci8lr/lGal2Ttlfmopg0ROuLkzYdM31IDCU0yiu3xiwkDs2HRpE8uT29I0csj/iui04IOMYXItFISnMrEontGEJ13q+LOAtZqthkeGS7GVUqyJz34KhHR+9yaClvKqUmsVsXyYVHDYTKqRTDaf6dgr2bCiebDw6KAuVUjJQdoqI33+vZAAOq/h1l26mAmWFqBjum5J8tGU/bu5FDi05x0RU2sjNGCug4z7GoV4Vfpu12ysk0sUUJvjuC9uls0HQj664gBkLKUFOyU6Map8iaBHgZ5JtW4sVUMK59lCw53Gt03eaUWBdyDa9ImeApXh+t8Gv3WVjlfwv+9e3quCHbxxexws7O8R9GBYKeSGboanmVPS0J6kPU45Xq5cvVbDeVlUjMQCegRc1cqUVNM28ljqNVckDUyL/ixvU+7jwE+TJzDHABGPmsBgtqeO9FxjO6SDqJ6OIvn5oyUwkDghoJqEToaWyh/lcYcts4N75p3ghmBNO4wOXXKDmp7axPayyvj2rzVE/fESHcIlUVSICD/Eut64yK2F9fNgoppYZRp/ahgMlPel3DiSOp5TUydk+qovvIsLI7Beb9JXZwuf6mAipE2qN/REhTbwPtQD4UK0q4HX1lnF2yx6X7uolIV16SvzOCt8hK7lf/ClfwrNSSvm0SCvaizx4RXUCKVWYqhWEHftAkg2IXenQz6Je7zJxZvV3FWICLmWbjwkIRRPkinrjd4sYZOuFp+72FpOWNrkVCaU1lqmKCn938xKQoJVKmHHHZDW94fBWiqOnHmA3r0FWJmc5OPuG6Rh6CDxDxIyGsmJ8QmbX624H2nYO7VCMaciuGDy50SPgisTlW4+kgfF3qrDocERpBSW6pO2JLTtinUu6o7UhtsDCq6JTaOvADXzDbP0sxo1O0mh0qLMEGCESw01mC07t8gUR3k7M43avxXTaWE+34evDYSQYenOdS4IKbSHTVydeOAZw+bT5o00rWHGGmNIltpfxSBczFVAHpa1tK0xKlppxQUrAwQyHlWU/+jvW9mWz2eXINif0jIYtnrBYQ4a9WC9uVGfJdxMEJD/iTSxAnLXZadGjiKQKbLhco7vlWhmnrm9+07x782BpdyCQ4BzojteF+p35E7k2N1FQut4kBgfT3RpHaWpZDFf/d4r6aRgZ6aOicF/Cbo6eRe+gIRKXMNVNyoJj6uxVp6qGKRio5n9DDyOQJjeNo+JikbocQzTO6gO4KDGlQfP+0AOVc0r5e46orZ3a5vy70nD1fIyf6no//JYdsi7lK7SUQxWBSFwNFZG55nQ9TrtYP0ZFfX24eWk3sNZEPlV0CFPDN8yNiuxqj5leI5vnGzXMlG+ZMu/OZNJlRFzUwckyz+5UmwMfuCP3mSjI/AMLMsGAt02Qxofmt2pyN9YSclIqaWQI+jDlwpTFnZiQDbJMkgpbaNxheTz/IRgo+bCWBzeT9ga9uXHuSM4UA4vTuXiFX3Vc+CP62H8QnOfW3ZIgETIfpJR6wB/U1/EiKa7R99F+xjJajkeyCrbjAtUv7RCztRV+ZHgV/JX+w2a6/OGvxlLzEsQZv+9+cCBNu60VEVjXbN7+nhN+HbBXi3bFM85S2aJ0twR3zz4LvlAJAGAKCRqsSMnrWapZfDx/kw4Qga2IqU0SHqCoomLRCknbTgVsdbtGi1VnmZtfT9eERF35f9Q2SR0SZr22t+RaHzyZKZo8P6NP/1aXmDpJOQB30cUQZZNXhNKM4fejtbT38piAvWMIFBkVDm/clUz2Nv8srngENtlgZIYONIYQLmcHgTEZWiLIcnKF+ln2LKqqZhTpu+/XoruBY3ZFbfxX0bSNIeInkou1CWmOeIww9Novbj5gBA94UfKEMHVt+qUykEthv6DTt7X9LCL7qT+ATjzzZAK5EMW3QrgQReUuSwOSs9aEnMRqgq0pf+0lAYbe2+Ge6ZO7INLUIQqGKgrcH5mFx+ge6BlB9vUINeHslB4tNpuf6VwAqskc6bJPalwOdTB4e37zOdBRd2NWNendSrBVskgiMRpMe4XZkp1aYm3ztfbr0MlxrY1DTQQPsjZdzQKiR2h9k/J9YTo88ohLky/GjFtNAqQPc/UpecWrNfeDx5LTXXvOreiWY87qeDXCnKTZ7hgvyzVbGK7dhbATNLejHRBAosQxGNYZOfwCiEkJwusD3jHmZ5WuHp1rzxR8FpQifW6Q6vRiucvBGpAPMCqCojLy9oImPzT1A30humw68PMcX3W4TklUdOupkr9spW+388HOYwzx01oqNTn2YJOwfswRjjjtpAHrIW2jrREYOmYyMC/5mJAohvL8UXAUdR4XMrbl58UGL/px5qHCzqwwip5DQewrxgtPvCO0lWwWw1i4qfOjlCP2+JVcGKMWUuawguW0nylq0LLC1a31CZUN0lFeLUoCJgtoH87WTDyeeULU5a43xgJXCKIrkVELVIQ26zpTK8OvsAHcqKu51c8LXOVM4uWnDOC39UgUeF94UyX0hpdIiafcKUtaGLPeAWSjNsDq5fEE+EUvuIG6ijg++EVaf8ikSm3ZD1eXIaiTQ27SpbYLATNmEByiphzkCsHHh830qr5jmikRTRpBZcY1eS5t1VBlIBnHsTJVR+6k0qhOMp8tnRmiU43E7iXbOoNvcsWdWdL0nuXCB0nclFQKrINDMJGLJhqGrW0TZJZdVHV4qU47a7h9hgTvxSeqqQoqwH2rUQeRYeYnYs6pD/hbv1bPbPUN6JylpgjE32AJuYgfJTnUocCNhX6exvE25tI6kmvU/OCtdFskqypCUhSpaxbspMuCjyo0ohuosz0y8AiSps5VrJ4NcQkCrIzZwl4KXqjQL4cd95xfYzbAbsNOcB+qCXoeutZOUoH1poWIvKo0eG5E/z4+VqhZmIoz9QvWj2AMKz5GsOiAQ3Vvs/1rF8O4QaAjzl3nIOI2e0/Yr9KN6oex+FfbrNgPo0zeE00F9b/5zOHxbZzgI60uEj8nKvZCPTsdyyVh/G4c3fSO1uRp4L8K1AMj2IRQBK0DanizlYpR1CxSXVlqHn4gCdogUDhlOUlCaOlW/eTn+ta3tWBB6j9ihk5Sr4YSl4NFW9Y5Z/j5YVAYK42CE1GuOTmEzLfd7hQa6yuFC1thT+t1G8O/7MQ2l8pJMj+iiyzq6qvrPVReeKJbaS3bvI//gVfeoJYWO9re1Yob+igvYdQoZxTwgtPzawXQBi9jgubvchbARySpksQ5Pwuf2/mWD0ACncaB5ugXvUKPNN4ZoCc9avY8LRN8EMydYv9hVOkpw6ApD4svs18cbNXdjVj1bXyMggZbde+IJW7wnj8N1VTy75O7F1gbixsESwDtQTdrWl/rYYpTddJlyTBml+sLolLcesNQ5PTtwcm3UZ3fj+mQnBUfPkNWPyh1hipg18bo0IvSZzW7fkSJ/jX3T4g7CLLtRnMNMOp3G/NRq84QoGcqA5X1vxROUE/j95Qpafoe3uQGd54FJPWlob0hjJ+X546VZ5t+q1Ofl0Bwianu+ZP5GF+fx2QTNvArnW+xYb3pRBz+j0HtMahZ3xOpqb/acQZtARccTaEMaQl3SxlCJYffnALErAdA0ZqCjEOfYxJDlZkqVw26IxWDW4qCnTjZIU/i2fwMbZMTesDyq+JQhlt5HsoBnmJrMCSxN4KhRbFWIBcT4DHk425DSTHW4JleHA5C2iwh7WHAbdhbDpX81xL3zAYsYjztyn6AGJErgxOPej4miCFPnb1KAr9moOG0JivFfj4okGwZpZ1/fQ5F/yVyKg05+fQEsrc2tXRT8Q/zsPIEyiPpKcs6spLytY0qa/2rotQm/iedsYmqoFfJpjuw01JL8qEwYLCgwdd/vTKszpI/YBP4po4UZdrQ5cZPnv77rjoxcYVVQd6AurYpyRrqY05HVX61VBgdWyaKXkhb/5DXnYeLvZReekEW9Cj12UHsuhityHZhfZhY/wsXKhzU9UnV3zXVIH+Dgva2z9U3O4FrYmGrorWj4lQA5EvgNU5Uy61DaHIPZ/dCOhEdaNmq+ct7x1VR+LRYHK8Xizg3sB8uQGA5Ji32Tci5Oizcu6Ue0NT2SKi8yfgiwNIrrF0Ks5G9skx9Xp2hDpwazcc5VUOa7fFCtsTkfR9DmAcjZTyBbvwS7L43SodBaYxdtwrIrm0uiKx00WvVcR3nUGuCWeYVEusyiksOa1xWWq0JtHe0Ja1Y8x3fzN1644ZU0NT5rmuZEqTvqlmH4aBN2yMdgmMu9qqmVs5ujv491anTHblraJIo7TCSw6ieCl/eUCD8CIl62nWCMx78ai4mum1Zd7DK4vpUnVZiyzfvH+80wsdJVww2wAY5gi+w/pU4Z9uLbRec6+RizQeyMhoj4aPFhFSSQWkStbh3eLK1nXSV+YxyvEfr0370xXt4Am0KShUY/ZU3i1L+grzlr4MLii+Z0zbRhZU/zqpTynE/D/kNcCGMIwSxyyWvw+F4Q2zCcChiA/jAXxFwXx2dOIm24WYSHIJ6ive1d/CaotGsv3IUepZpYq91sMOrrhYQjpLJXhqRer/GlSbCruRHJsoJX5bVghN1ZZU/tKLIc1b9hmHe2TKH5Bq07pGjHHa9Cv4Y80D5VyApEiKvhSVr18S+jn9EPEqC28Hm8hBf6MOHgFHWKw/+r7Tg8HKSakDxU6NOjpvWy3CZ76aIiiBR3azfpGf8OKy83l/bXCEINxIUeMrc8q5jnp2G+4gIIlK1ZJwOv+J4GJ+GO0gK3Cs0mBQZHSi5cg6+NmDBGD+aR3AmeuCvtihiffXN9htErVTLamt7SisE5RIGkCInTE4DRr6ueSzzPLzYs1rB/ygE2LfatDmVNnXCeT4oxldlZiDTTKKIS3IhZLGehGu7TCMoyEN1Vp4qp/qqAkNN8F3FRhk8xpJFVnHHHh7b1na6jxyOjZ1wFHzEb2WD4peWtWj3rJBTlbJice82vR+m8VrgOIPDKSsUyoWMyortzy63RXZvuj4KEJmlCp5nJSjdIhxVD/iSKar2yKYyZNoh4x1+IH/utpU+HhjrzzZY0ENENFaZYpIH3e09CE+MBn8+Tizc1n6/cV2B3atBp4Eeo0gCir7ujJBb930CLP/c+3qzlXndmk7SSfp0Rg8JjgPlRZXTi1L552slcUO0av3gpymQM7/sU3ja3anlMDA10dxirTKGsvUd/D6ba4XxyhooKgOP5+lNGFhiC9WoxJibBBD4q0TsB73fO5r0rZLJ66FjR/44NkoHqFuFFAPsQUuvHQJz+izGGzb08egC7TmWNy4f5/2kE/yy+0fFtdBfLZyRYHrNrGG9MlTfiaKXvW1P1toCbFQx+rw9h6S7+SC+2/hiDJf54JLZs5wFdIisqUjKghN3WYfMQA5RsSwaXdu7UUFy7pjR5a0PC1RXknLrwZFxnrsnHNVtr2Y1gOGP/Zsunbr0/tleyGFcWuFxbOZVJsH8usKvaRZCKlmryoWtKTNaLlCSR9LAwAgZgBSljpFkcNDjs4QT5earDxW1B9G6dMQAiUyHeGuz2s93IrfHIup4YYPGlv7V2lG3HNuXLoox3OOEviLZOu/TUh98nTRLQxbd0HjaFPbPIjiXywvTXhHTgeeq8hv/RgOlXgNulI3hcgFH/6cqOE1DSb6x66HPr3IeqS1+B9v9AHfXX+g3TxGwzDL7/xusINc6FusakJUbtOI15umsFd1laNfwtLxI0igTRHC9UmS3Bnjj/IgDCoMk5xr2v2xZ65AOHcHjUCYOlmcOoHTxieSxJBGCr9skPCRzCIFQ/Cb/vDCIt5Kkh2dEiTlPL0r26seGSH3x2hQuqQWm2783k02bD1DA3sA0FdfYoFEqzHdQVHVj+9+HDYBPUzbLVKXz+dpOL7cS6QeKgPdkmTBtWy/OncMwnwENZMTLD026NtE4plddNHeSd1JreYjBZFmuD2jpiR28rgKOI7SOndYnccI8QmIzPF2jSdSAlC2VGMtlJB2dw6RBPFXsHLD7jcCtrjGb/FBQoHw2akEnueVlrVIT1i0JhJ8IleV1mO0BX02qUbZ8Pxltnjg5eqDLkAZglLnP1AT9I44yEqhH7Haj7Z8YbYnSOe0NJz+DFbvuh/kLGiL3nxsTKmofAfpWqhlz16WFtc1g5BxVXHy2sDxIY4gD30rcDm9VGVAR0AuHaWHORWlQeGl2EBSVD/rVg9U5FELh1sod0T1zH4l7bu9zslEHMPv8OUTBLUprXdLwq2mDHI0r7jpyP4ULHsxUawACAZk1lxlCfEJQXXl7lWT2POZVNp09thODkp2/hSPANm75pUEAFkwymN4TlFPQ6xqzBOROWJJW66/VyVxASkbNculuKcin2txJJbF9UyR3e+ufNEr1inHCS7MxOFez76PuQYrDq45CFXPJjyjb08YC6d0x+tXY8Z0VeFD4Smat39b1vrK6PE1eq7c3imzh1Z0/sHiz+HQ7b2DtPt8cmHYHPwz+t81uea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pSkDynK6yE+QMFSKLqQ+Z5VwHawRQlii6kxGv+lJnXUScs4rwcWpqLVti39ssHBQYKKjSIjsgfvyn43eJhyl6houPDd6cqc6czqqwHXCb2OtT6iFRa3dg5kypl7tqlO6Rz5xFvufwIExuXFFDH68tTqR5SCu7JwoxhvvRTvn/0E3oPQLao4xv6SVRKP5YHVYdhCVHbPPqiw1eu+05ckhIx7WT8YH0QA0lc5YIk3P96xDhT6D76BN1ZldHlIYI947Lut4BxvEU1G0bp2HYhuBmtvMPWmZnpyZfhWP/ec490ft5GKIiD1Qz61uCF4g1ux0nveJb64eLc9KqxQwEz+6lHQSODSSBWnwX3Aw1+Ezu+ZqeNH5YfyqPTtydTWRHyW5vCZRZPO8WpzQOdb+QXJQd0jD5hHz1lk5cKEjg+RW+werXbzba0bNn0wgFRDdUrxP0lI/AhFcjGDlVCFpw355p/6hVlEM0Jg0cZimHjyBJDTrFMv8/lm+Epg7wNyGh3de74cQXcbeB69ImIifpgqvTGXtPoX2tCv8a13JI9synwCnTTlQwU0MKPqYFVT2680kaFq8op4HlBEtYSz6y/S0sB9+lhboz+zTpnCgJeMp3DUqxeyokyOm1zVTK1M8rL/5q/evdmSbGztuPREgx8x0JjH9idk0hnHJTXR8Mk5RAh14nkHZUCHZDy8jgCv+HAChk5pDfMD/MliVxYHsoNiiqrXOniP9DUmPKHBOGAIdmuueBPt8ItveYqqZBMpBbpipZPZC25QYXyAH+rZLXPmnOcrQPMX76Q5LhYDzP48zuJiMG8MBCp/Mh+YRt+4eeXkfkHFsP4yE6u/v+8dfyCgCiXjVBHX203YT0Sr5Q3rfjdD+jZpXnmtCHuiQZKFSWxL6Wh/5fGspt4/cGAR36TIn/8ZxPebv2Q7+DI7GNvGCquKVS9sGzGxcyVzUpi4An/EGQ+kW8FKAPAgEDr52QmuxHfyZ9HBoFVDUM2Yo18bT6inIEvEVWNY6j+YIJh3QhUYX3kQo8foL91iK9noysSa3/cuKhdzHA8mHX0b6QYyQrTkQxblzJDP/75hKzfpeyQYIXHbDgjrjELF/kCQgD5HpRhWbetR5vluRSqg0qMflLWte5z6mMTBnVN7gSrtrzPCUVQWSHa4zNTqPF+mkDduqMHFcVPZdXepNR3quUQezUTtvjXkAQ43TycCpQdMtgvHcV01P92hERvfq5nF+h6pWtggMQy1SakoSpyTwM7xUg0d/9E0pwYo1bUM0O2dcPhFrNK01FI+GPoTD1MSm6BT+6ksI5OFc3vIOL8zOdhMrmHS3UyE8FrfZTlz0hi7k7RdBYPNYCEsSKQKarMX2H4g70N/i9PJCxjMzqWmwB7ATUPwTRBNSrcD0+gYRawupa3aJaUmnuFAAgfVi+C1qsjhadpiS8zLIluiWZ2bkRR6PAY3CYJ3UWIBfdeYLtvfezx3aBCG2jsuWI/FyGee9OA3NIKVA+kwayaRlMBcqjmOfgApTVmSWdV8VtLvqVQKUhMKhRIfl8LMbTgKghb4Z8B6NNjq7rt8IdQgRDnm/xtKhlXznvCLbEZ020tdOEUntDnX0DP09Fu8N8ChhS4lKchlgW4nhYNE95SEHS/OLZ1fFIngRXs0RHYJBBZXU0ao9bV8fMN4PuONVxZTnJLXlpYFH9FGmY020GQQF5je2We+varEobE/TuS3K2ypsdTm/OAyC9VdUeBSXWd23y18wlF4rXODFUTNJXhspy6YX1H2qOe2eQPGv5B6uSHhfU842RvOQlQJv3jwlDG7HVK+vnY3y9n29A073qeoH0sxj8tW9NCTshr8hsnKSLS59goFSWUdiNb0qGcVRIkXg11oOCFOOfPut58c3mmAREWzruRd/UaB+y8WjQZvAQsRXqKdeGy0BAxx/P9U5omRnJvfh1WfH0FAQncNI8riCaGQ6qfirQJkpxjvdoSx4iarXKJtGfJdDn4SVToKvETQ1sR6MOmPcAuqaN5FUtEkYfAVkpWld1VwslEaNvEyuundy+iZx9lNda2BtjJOoqCWdjE3UoAoHFVDTAhI6P9X3K0krQVnNRSmMQVseEp37fdDedvA5WGrqDnkTHgY1nUR03WhWH0YJwvMbvX5Yp7Vgt3q0dSYmqX0+fh/I4WG/xvZw9foIPjHST21+sf7HD/C8NMS4Lsl2tqs2Ivs6WOAuJBbEFIcZtTAX2FETrnN3PCyCvhnyMMVPVbVFAqBBXEhpyCyjqKObxk4TdvZwbq3HhjNXnLh/hTCwLAcjBPqK5PDvtH4qABBiI9MUZZ9+8UcBJ+x8AX1W+A+UeJpPiSG0Z8uO2RAAYgrQxO7ZEJiXgo6nqB+rx+DJ07qQuMfbRTscfEqGtX0tZ3M+dblHuKuhURASxvWb4N+qtr9nqVLSso//SHiVRwnJAqc2TkOuaFiKpnSMzKKJbVZ+5iO5Jwk33ZZ6WPOHAUnoDMH7yynK835uYIMyuq1bodEWqIeOiKiGHkvVI7pZ/pnqzcgpz65solgQ2J+0+XsWKaSwtpYDbnGhXbux5khxJrMMz3JeSlDLW2FAgCPEMDnYOoi5XfQB/0SqLZqfyMcy98+sxgMuFZfLreC9yGmzHUJ1vPNisDPhmrUG/HfQLqi6t+OnoSCVAjPNSRl/8huyw45ig9NfRXkchDs4j+B3jqW66lFf+0qmZUGzVOKOhulPeMFP5ob7FobQxmYw5z/QOfX+Q3YhxY/zObmOmScW234t3ZwSTi9T2xABv8RM1SoHcpFzQG3ij3i9FMKLw+ibqqXUloPsCTHkGJJ3ixFTR62gZgqZKzabys8E51m30beXErA9ECtAHQXxls5k8wKDvnFxaupUHxKG5pJ6Agj324jrKOEHskG+bqB9tlqi0FuubFLPjoxTAWEGNByGiIZDqoXW+W2Rf6GEHmBqGsiDG5Qx8yr6lpSl/JSRitGvg+sgrcOV2lrJKAvD1Oy7PaVq7/q2AChQI4GPVWvYtqAQIQKEWrvqU3QTJqYNKlgIHHGFF4ncTqDaLVyfRGn7kIAxV3xJWlrbIkynUQHkBEeZONimeB4lxGGA90x0CxKDyj9C+QXWNaxV0hbk7/mA2mOm+3WoU647yU1N7yzyT/Rj9kB8TnJaemPQVjB79XviZd3y5OTAXw0PN0aHfnrwI7yYzbVxti4PPxpGImIXDDI4jL+DfGWu49FjpcWGOVPnXnWvPrSTeUH3vib6pjzLba4DOtQaKN9VRAoNpJbI2z4/OnvYLouLycxyaneRDGP4z2fGTu4ueFWVD1QAmrZt0Zeqh1EDu94FFY48M8os9nw450fKVGkwBmlk6REPu/nvsqhslLLyNdfzhjX3rwH+1tfC/24wOQcnCXTL/VWFjFWgdakTeS8FPX/MtI/rfhkB2IvQUm3tngl3OMF/AA6YsfSM4IbFVYUa6Rdcao7sDHCqf0WDihm8GorQGsyEjo3DKCtbqXXy8BAWlfZnPES38l0sClX1WeHFg4R0rEJUiOPmtZeTguk6FlwjBFEUSiqsbHx+Gxhe2qNVdVAVmDrNwOqst5RqI1Evb9s8pqKls3qKVp7WrucdS46776/7bzx2eoxMjqAwq8NK0PpfNXlcV0Jf7eE7YG+WonFAncgIRB127eVif4sxKVLCvws8i+E32/FvG+fZ7K+ry09ti5fxqCv4Mr55DZfl+S0NFxHYExISQhaXxFzsGv+ATcjSM2SaAxNshV+ROQT0CrOEEzx/WpfcJjKaPJDOdurM1HgvBa9r/EIjpb1fH0IPAezXZEswNPz7uXGB73jptzV4nADN4JWZg4drPMFIrBlQ+HerTcdE7IYnecLQr8PQickQ37zPlC7KrFUV26tlCSMhiUGWb8JtxO4eNXUwRcZIQ8PQ5xOxt5OlM62B8XEx6vT9GG+lNryyXJW9Y5K1g1f47IHJQWGk+TnW2roorGqxJBdetwDpuDz6vnx1VwlC/Z4MlJLzphloJQ+YQKJip+hQEg9s01QIjE2rPhgHEvd//zza3hYUQvgDWLWZbZHErVSoUjHqQZfjtVBWjqyEjjkB4VwAG2HLOzYcEG9YoKdR5Z6gh35IKMokcMrbnJuzvwzAT2Xnlz02+LtWV2zZZjbkGXc1K3KD4+1kDSCoaWajUTREHUtaDFWtwNLqQ+Fo01UGDY571BcowWvO/1H/LFTa/yPK8+yN+GtjodaOMeTA77OhC49joTkaPKxjdYIs+JXzlQN5cFaXmhU2KP2xK7kLGf0sFMXSWrOOg90aIVFGyexx/t+Tz/QjnwQob3DMtfFjbseWSxqyObwYiJyQ2wA978EqqjEeBj3fvBU6n+SUGRXhBIYcP+aNmTg5QRP2XHyI+lAX0lfYAfR92INiLn8IhcVDgvWEbzu0KYDPFy6aM4942JFnatHHo8kkaEwwSAsM16BtVT17OEIlzmeT5xmvTFZyxm/Gigy6nc1ib86L6qJolPz183DejGAhCkW3NMdn97Q+xgMYFze89xmWhSCo+ooxo9PJFSPKsN08HHVr24bqdMr/DdqLAdXHlN/WwMrxJhSqEe51APus3MsQcoXJYCKd7+KPyagGu4xd48svGlYIlelikBSSrqWFJVZjzN4VXhMs6t7MofiVIfWloWbZO5ptnq8SgrtmAmnp8L8QlfsaPTVHb3zqFCtYCs/oqJ7wGov6jydaqrw0NlyNH7o0xIt+pxQdrKKmwrweizg3cceWOB0pPoVA7YCsgBZWy7tFFJrUxhqz1d6jrvK3sueGLcA7Af84KJh4mghss9F++/0YBl857Tfsz34gxh691oOegqUTshjAnRIAJAPNaJ8QK2vrgu4iCKuIxtSRMlxEUmbdMmDhr2U1cHHrER1yyWXXsmO+DcDJkOGk9VauNsFKmmYZl+FtLCYqZ2t/SimofqHshZpr8rb/a2odFk5T3itcz8ZJbivGyxnaXD2Sl6i9/OShxoxSHv9Gq3D1kdsYx86gWevMGwtRKHYtIxORErjKrabHMzcQViUYRjp8tSFLPhwGfvfpuKtZ+7ZU29pgXfauNruhdsIzB/2Z/aOS0G9qy4FPgdOdxjsp+/yrsxKZzpmsDiv1XmslrzVCY83rfcYOwa90E8IE9iNo93PLAuphSUa8UD+xkrenK1Z6QmGY62oVhhQMAmhXg06xqt2COCDZ7uwRXEfJsMtrZHeD6hv2Of4yB0ouYtsGwH8K1vgUMukla2pbwd+eyTf3OmVCP+MpBaF6XS/z5GwI2OhPdrzKUvezLvzI0c3GywWl32G9iRHuAxTYH/PAje802gupuI0x8OxD8MvnMnRC2QmXTcjY0jh1vf0YCOEyeJfSbxBdWL/Q4vc38uca/CK5f/gUNAuZ+DVlkj1q8UK1N4sPQuR66Zl2rVHS3rudQgpbvilu8sUYjFjUY7rnNuE/+14RkTJKtbFBVK8ti8iGYhcvZIP4qbG3LXAH6tWR2eMcvQ9IWxkNkpXDrZxJzigXZfh6qb3CsRFlDcclPtsF5VGb4TmAs16DhckL/doerWy9fAQwHz5iSobYpHYCwVBVBHbgm3jmLBmkZ8KxBVIb+LOs6QLceh2cYMzv1R2mO3ISugkVRzXgaKnP+nyv7bDLdndlTfptfWudZHYpRnT1czFGY4JO5FiF9sPNckBL0pTMIFrMllFMJ6nXnGHmfNAdPv9SgGWmomlPUCwQwBKbPFihM/cCuBMkibnTxqG63GIM3leBFE0GondJE+cyEA9tsfCf55pyGIpioe1bk4qULeoUftMM+z0OviPcKGZCcuH2rPY6xbN+SKja+vVfKZbQyGQ6XvVO1TT6gr2iv9pBpuF1AuIe6iznVtFwwQKZFv2zYaZXkOOhCqcT4hro+YP4dtjWckxqzTbLJ079WawD0YylzI094GoJv0d/RPbQWaqRijUTVO6v0m2sPV9nWPB+KKPPTBvl2ZiYhIfqjFKFfcA70GL1IMh5fz6g/bncFGXPxZnh6voP2iaP5/O1aJaCzMXkTsDhkiw2d60EYoryc4ZLjtNvLddHGnjwsKaX31G+GZW5pB5r5jri/pYCzgF7Kunf5Kd6AEFfVSvdu+1rRMczX3p2wzXFAcoQpYit9g6bYfhhptM1bTxXPcnJ4xHNyBIjupczITt2UvCgavliYuTQQdosH6XT+23Z0QBzL3wnAMS7Isy+K5jyR64WxlOASamK7qWQnx/uAIahT4VgsRylC9P5i3ozWhegmaIXrtOEr0I2cde0DoOsxYbrTaUM6hnSzf1KrIfe9AZli/0Kyvb0QmFQGHIjJ6e7zJDbjticBINJduOBi+F81sLs88aWGN1jmbo4TITLnRtTBluwI0kwwLbXDfKysJjGgsJzIDFnSYUmw+G2lKcd7izxb/SxzWFuhVEEShhX015JfWIH4LFt1E5o+Lz/SQYRHGIIW2L6VJLkoVSEpVI0bagUxz31y67zZbxCq6fuy2DKQ6oZ2Z7AxM226ZsX3ahn+Mvmtp+3gqs1/3dxeDE+XOSMyqH7DismOHMz9fdBToAIFGHApVjGoWQpC2RcMBnnAswae3fkZuVqr3i0MvBmAlhGGbbiLYcjw0X7NQbm3qMBbgBMvCnoatRv6Eyla7phgUZGlRh1lU7W329wWDc5skg35uAc2kD5nW2bZO8DuNhWYzF1253WcXeY5eGmfsTk/L88qGwHpIY9tIUFEhiA5gkOoe33nVy1csSkT78ha7RN2mUFyDTIZOHc7lGXcBWMF63EWB1x3p7r3jyF1UQ1PNfXILTFNlvjXIuhg6Vc64gaU6NzmfY7FDlXaLW42SSIN3Hs4GLKRq367c5J0tqHcwS79OktlvW5mhIx1soDf1ipm6tP9YRrX6icjdZTvS2pq0Fy2SoIyV4ZQ0Qvcw2mdQTyTWdTsGLNtKy/7dywRlgnoaVoObp9Xugfc+IjQ21yAlSSiz9kTnbtOWfIiYk37S6bJJthNB40w8GSsjwhlGVnFQwbZ0yokjOALYrVkt2c087F9mfyztS9q8uj0mOA6ZGwTQLy1NE+z4H/UhQpGFpg6xgSBN8bYsnB3hc0dCKyLTLp8ZdZ5atOwS8St391dKen/yoEiXSyQaueflPWUf1GJ/bnmpAofn5eYoqSd5d8XYoV693tVv1RWKt29y+zhCxw0yB/BqmBgprUhRcnrr/4QCKy6TgXj++u3b+mBZHxcfo7pIp9L44uYN84Ft/KP2K7b3N71hd99sTmSrvPgiSPOeb741oPjCgDfVBHBjd0FVHsHhhVnJxLd8GmfB1M0i43BvuUVLQdf1lIQ19HV9XWEgdJI0aAN3Mx/Mmnorj73Kj75Ak34u9YltLjGoNfHxjbp4f6/XDEf1uT2A/d1sTuZ2sDFnVu87769BU4HnL6YtJh8J3O2muHTo4P9IlFPPAS5LIbAUt0mh23stN7t2HOsyQsqjsxuoQXn7g1RuDtuzhIz1KtplL/FCOoqS2VZb3DhM/dGb9c8bhEBVTdbVp99pakxNluRpCSRa36pzWwyz3bCpPi8cyhwpJIk0vYd+TBNSaMoENrTKfigqpCjhh3YfYeJ5htMDhkkYaYiNnjMc1V7VmiIByLGwqmZwG+EdVotQn1AhpJ+Oi8MYc7RusuqROibj2Tfp9zHiC1XxudwdeNriQJyCRGl/+GgvkSzLWXrsQ64hFR3wiW43dTCF1YuYPP8SYjIehQmfxdXrIzoF1XINeaDHtSnn9jdV7s3K4+MMKk4Vib/7zJVgPbmV6E+Qi9RfhtJqAMiNgrsPFzcGq0+7oHo9W/fQ7MUnWcelDAbzH4Eylrp4MAHd5mWAum+2PqTZ0C4ZB0xnESqZ2ZR9E4iwpW5S+P8kQhYMY5BSq5CPyvTucjuQf5v7YFSeOZdjIIFqhTHK0seKza/c/Pv2MfoSduaag3lsCWGDvBTXmTPhoSC15g5hxiDaSoJz1kTJXUwsV29WH1kkLPGSvPDOqOeOxQA0yOgV7e31nonTkyCSYA7DeVzQlMOyB+mRDdQa66byNNKaqC7nqDjOOmxupElJTXrvZyPGPu54C8JEH2MowuPglQJ9ni2AcJBY2rhDmSOf0KKPILK2qhn4iahNk7L1a6R6LGcb6vyKUFiptuj4lHrtZ697ihgk0cijqIFJ4B5oLqllsDSxRWhWNorfD68hhRrFFk7SqWQpndpFcQACowc5vmZ8EQynKm38dtrbrfM7z29nAeVdHmnjbcSVlkpuk32ahXceyAWXfVdblDAjI8TOqBhKm5VCt6XuVt+sUgK1S08CR9bOUB7U6wkBGG0ENhGOwxpTG9HNN2/0bUkjgHtgHPahdkZ4xfUCuOeTdfDg2uT6THSa6U6vOupSQZjutX15dB0NWFZx3VQqP7nH3bsWRmoGHMQl2N9lBDqaICSWLHqGjVnLf4SpRHKLlDRyH/L6gLzs4nGnIclMaGUQhXs0ITAE06PGPWd/NtEyyuWpZ4Ri2uM5WnhHDwkDphC4qkGZ3c7EF0PKG0agMLRvleglY2knyEIMoYQk6TgsAXK053pE7QS6GRjDWGmYr9Bpzjj6eE7Z6m7gkvK9pZ+ThlRfcInyTcvGqWgvgT8On5fHAIAvO+KbFKKwqdIr4vQDaWrh5K9W2tW6btuJSQu1S7cahBi9k8uPgcBdLggMXDlYOiGo1nHJkOs46OQhkntxT7G1ECekgW4YHxxp2YdvXVjvq63KrPHijLhQxg8m6+yk+LWrBnkvLoSsnzSAXgJvvEHoVw+45nB0vjWZTqYKbNCVNESWjLRNf5CSgDAgtKidbF5vxsgNaI2EZqHONFCzT5KQvX/K6Uj3LKqn2/x+xPpSmzOFn4Ei1laEMmdw5t7UFEA1Jx5/Fsb7yCLzjtGnZx1jneRkI8+hNqw+mxwd80+9PFKBcuI65VYnZGpD/ZuEZrHSd+pUzqPB4Ci7WZF4d6IpShRU1O7xcJE/XaYRf9bXrihtZvcGf82PhSgoqzi23rgQMrxn2BzXb+HxeOLk78aYIu3uJinBr0NnhoJ9uKCadrD5VHLutvwaaRvJeDxf+7/t3mpgKW5yMYxx24+ysFXqtJqc6SR02jo67b7/Q5LK5wYC6C8nAJUYDiKhtCNTV5bv57nTvZTCruBsLZnMp4EqxHwJ6UbNEYcqIIV6v1JDyl7nQYVgdqj1nUHWyNBrx3uXEb+npuDGqlVXX3Q2wcI6wAoA3sHtpMLRbEIBVzo/Bl6S4MGNros/aCWiApWp5BuTsDSqWU8FkV8xLpv9gVnAEPBFniTJvEjFazO3Kp5R5Dv7+tBxh/uqrHpj1mxbhKLPl1tmqfOGAbnjddFcqiqyz/8uUkkNadUnC0Q80ns5KMLCBKr27+iSCP11NB3sOFO1lxA2XperEyTw7aZ5Eau/LU9rRMWG8y7Hd6EAtYUOZJCmmKSGPQyI4qysyMRfiTetktOJk/I2TYGLdwFYXtrdHLlQV4N7ZgPXF/iclZJx3HE4lnUB8SnKGycmgsgH5QhgKspECtwu8WO8g0KCXxy81amBB9+06MLMH5s2U2jSnIPhpYiNflinmvhEt+HumRvHmYjPF9EGeQlwa4FWDFL6WqNhzBzMWPXBG8dpGcpaUksEHDPePaSxVb1b48yxogOSZ3Ci6CFTZHJfl4Uvugi2zn11PKF7oG+cWpY5KFIAJEyPTAq93WaCujGaz6jY918sDaysOkxa515rhK8kFUDWxrv3URIrenxiKNJ/fxQI4fOkJ9YIRIchAzqwbXPXjulP4nT4lib96U5nzdAuC0Z6mznwZa3lVQ1Ed9pCHKuZaiJcJB7VM+bTONTNyyulpBE3IB9DlKB0mqfKAjWzIoEhAhYo+53b5zsACSmD8UKeyBrxbh0zAly6R0TILq9cRpREbpsdB6CzSWTKvXyKqMZ18NARFLrE86MofI2fo+gdZ4kkH0Dz0uXxA8AEXxEW4tuSpqrTdIlSfnO5Zm+wEsz42KqZEeDIk//F6fGkSOUYJEZEgVel86yNX6TV6Cdijr+09kPhAjbPCd0ihGwjmFKKj2EBI7inUiKzNvn+Xt4UFQuz/kBBSF3PP78H9TwJv1ywl5g+PXkutZ+r1D4vC8IO8/b0W9Pj1j/Yj1FrSPlObfVAEKqRMV8hKSVKziMxlcwHgZ/gCRDMjz3LLG0PlVflOU57qpTuXT6edwMTXuScfdqqUD//ZnJKDUvyR3PfvfQbzyI3TOTINUhOg+zuVMJdWYXW0qwlWUhbiB/jw/9w3xGizKKJuUUEZj7an9NjQf6ELnkOzYQg+9GntSPp8ShczX/3aECrV2pERhtSZkiElzuKylLBQnhyOrxYx0KHU1E2p6BB0YkcJJvgWHORjk8jhrHr3Hw04Mxz+HUXAYrus22D+iKHjgeMuyT5mez8zrtI4Od20ZO+v9Zlmr23LdqNRvkZw8iEeFh4TOWZ7O+ViVnL29jQBa4qRtmy4eio0BYJ/x/w+ZUqwnuKmqiavVjre0flJtI2b2j/KGuk5oIvGFL6ahgpQCpTkiB5BcVRzrgCzeCaW1IiCxU2gGdLdakQMk/YmhxwVgFRwZmpowpZ/FkWRBK4ob2E2REX0SClDrUbL5RNM4gmlqjwKt2QYC5U8S4BBYLW5ha6C95hxFaKDWjWNG+VuebROsXtSQHVVk13gqvvRpnnNr0fXw0jKv1Ihy5wSpIdJFxcL/Siwu85zy0olO+VAcOgiU/sERZN3TF2qIZcsvzR2n7UN4yZIpzQgh+MGONCJJGJgcudZ1cbFpf0EYpC64cscHigQ+Rp/7ZXWHA1Q0+obqThY1JjJXSS+MdC9vzKV8qaKO5dHUZBnunvjkJPo3S6qlfeUCyTo/lPX6eTK+LljdwL5rh4Ih+jEU4zznb53L7cutQsNj7tVmU+CIsDq18a/rZvi1XieXKTllHk854XPCG7CeE6IjnjKqmLI9+JAN+IoI3eJrEdhGqdagLjIZW2vON4vn47WyNmpA8KUwnPIeamu70gZpWectjaSrvr/uVyXocbuJw9/rZggP8YKVrJ1Akis3AhVyWT1MiZdismWTqAAk7WJabwSxevOA56QXJ6cd5pChfwO80f+wHLNUT457AMwQhCbwZFedL7vFHX8e8o8vUT0FqGw3S7MvSg1zQtkym0V8WIlxdoO2Og0vz+QZLQw0BHopEysPZaa6tFmJ3F/tyloyYjlKrn02aHT1LRblhrbpR738EKBPnEwGocIfPRZuWhac04gyXT5vtZswnnwTDaSm4vb9upFntcESek61Klk25ICCI6YSBTjkI1MHkuNup0fXVQm1PPuASR0gVRG9lLbie9442DfBME7sl3UhmYfahLh8oka10vjiKzuPAEtujpWccMfs94JYtIrvIsflPMOcejs0nH0OgavmdAiC1z4uaD43ByPeiuzViBYK/VKTbikUdpKlY+akiLmbiQxMT/z3ZVPPHlRJxIvEjY3AhN1atZaH9V3NrHVJNtmHsr2ytmfTp+8UaSDMHhkyO6RGiIv3c98ka/1nq/R6KbrniswX+NjkohUpNiMAXF254uDzk06FIydlc2OUps/ODiBmaaHLC43UYrtGyPi5noOrHSoNjkzuhwwJ/ofTjDNSQnx0mzL9WvJIOSoAc2TCPyv243Lpp8FLA8M4B9nsAVT6CxvMr94QtYG6bJHhELvXr6WlM4UI4S9ZfKGjLREXAQMpSfNZjJ0YLz7iUa9CygllxbCAPLcdQuHCDZguV+PMEOwi80MAIWBqm+qc67hFOCqprcmMrmQeGb12UzSgCNAfL2QkTUx0E7Z/uOEEqBv5BZQ2SWv+IS3xYDMPUyshcWqHMBAy/5MMkz6VLGQus6WZQIdBAEkrVjGNOHN21vjNBnirx51TFQNr+/4GJciJrKnFbjM5nta8x3HKuFjvRW6zgtBpjoW6y+q/JsToZeOkSM8lj9KOK4Sjtm+XGVw7Uva0u3CwVj3Qz7ERZS6Z1qlLCQRAtgGJsDVpTCxzFo6bZrb6SSNyyJUKWGjYnsnvjK1oqOuF21qCqGzBA/vncmwoLfIFc9nKI+lncHjckkmwTxA8vrYrvyD9xZOOAlS5xepD5naKhzX/HESc0jpAUfDucThf1PYQv5f6O77/sFKh9uz9S9jDlRTX3qdj89LCZM7kgNyvEFRp36jkCqV4wfOeoHlUuw668CmCp9SRD1r3EEsqFtGe+Vz5uYJA70OkPn8Fm39kVe/o9ywac9rkAIgqcLZForwmf/x4VM/BEQ73UOpeMWH/hSv1D1jZUdvSAWj3Z18D9O0pUDb3b1Op3qVMdq8kMhBGHFd9Phq/sQFo71qZimcsnd8ANZoDdV+653j+WWjtS9EY9hhR19Q+3MqADOVu1vtLeQ424vd5Kri6MlW8L5iJ9ka0hWhgr78nKNKeIq9Ah/oLSaPQdMnjp4JCHNMc5ZardO3t2G91jAno3ldiBpMWQb5HWsUbpKTtERyxTxpMHuOwhVHflmVbOXKcZ8vyVABCbcoPeY+tixcbe9eyQjb5udEuGEvVGrWAf5kEtn/7tlJ8h0Uph5KDpeBHQXDrlFpz4h1O/NbuCI6uUKJr7+hXud2VfG6oz9xgvhubDFv9NuRUaSmY+/1eYOcZ7XMxayvLKcwCwqb92KKIXhZ6i2KgLEpG2Fcgmn62/KWsKI74TSCR6aiD1+ybDpXc2jBAZPUG+hLAxXD/4iW4oXZ8Kc+05Soz3fjsj22fQZ7DvWGxOesinLuO4cu2G4HpdqF/rUpINvwXrEQKnW/y6hv1QxAQygmHHdFb4SXfeWEWClJrHXmx9IC04A46tblkNul33kTZrciZF8E8p0M0FOOKSXpidVRyEpyfpFhvNx0iiqWyG62GTeEYbn8I+YLaFudgWyptL93bh8/pA4BTj7snQqK/UY4/EcUdW5TmNlUR3gkMkS/CSJOauKWlBxIA/1yK0kWA76E3gb+JWNUHcHEKnCrA7rtOlVy6nwMYH9uGtZB4m8kWw7nSFFESHIF7KhoMHVBFaK9CHm/edHeGtSh+npN8JC16LO/QDvMrzItyDgwydV75MhugAnSx7xnJMNF7uiZuqE74rwkZrGXTfdnhuCI4cyJX8/iBwZdeU8XOVki5oGic5RA5y2/tgC9zzVipIdv5EJVRvzZML3Wmgyw6jDVyZ7rjxoGHAtxV763DDVw1brMUvVRMxRG876NGTAfClXfHoU15c2rdOLImi9gL/aHxh5p5aEmzezMLkXy9BkP6eUncwTki1pM/Ifj4vKL+ZAMoc529F6/9xO2LQ0C0MMu5X5LK5HViYn8fFcEClL3wM0fHu8dgbDFlhq27LjQmRdQZJtFVX5g2oulbB8T4+WdpJkTOwe7HL/6lgk2B4E4XQylD8eOH6YFEt/Fxax+TJqUngjPPgmYYYWbZvTkkzXLAd3/AHIO2/NFKh181WoJaTODqV3Fv8VkIH7n9xY/SPEANOanvG/PoaUf5lZUSWq4Sp9qmhH4gziWTUC9VPEZiKP+WsUqSLfBw/7J/OYgx3ul0+f+5faVu96vloOjvIBuHE0Zig3P8aCVIqxUhWAXVcgssclFYTTn5Q2JSfbtjbJB2Z6qsUwF+j1XQhLbYzz8VpI8VzA7yo75KyanhR2XApg/g7UYLo+o4dKzbcVDhITYdiA6AspxPXU8ACifgDLwU2dWxeCBUM6TIbaNaLeJ2lwuv1vrVm4APyjqUn1pjrB8dLBrc6gE3jBisRWfHP2Y7KPrghJP+y7QxU+R8f9LqGNmTdUgdK4F65ok7I+LEBnUw72e4DxRpQY3jwj/vhukDi1JVY1SfznKTOdYZCz+QoyOKS9TahlXp69tH/Fizm03VvYGVbhA4JqgFnTZ5AJ/o76+acfO1MI1J1UjnjA+er5efo0YrJYIRNkZaY8ypsRYUK9HfjLXP+++pOmhhgyN3bEdWSbEKS0RikqdtwtfvkLu5ukkPDnl4rdQVwgzuGEF+dAr23ZHMODNAefRol/hVrXdx1X1QNInqMGknrxkkGz9KZKL3NYhxZv/9Diaje6nd/GGSexqAq4Dd5qGKub09x5MQUDKS+YtpATSX44W2cmQSVbnUrTsApUg8ufTRRUIc03gf/3wF/kLl6i+7gZKHUvBRqqeFDCOf0bXvea7z1NEruCa0QYZIN9+VW0LuwZq4vPC8bc7xp3qJQtof0fA2JLTeOhwK7CimM83BuDspt75RBgYi/05tP40AvvXOze0RyAFF3QQOVAL9u+z18zPhe7UlFcnCix2Z3VjqCtkdAQn/mY+gJzo74hbRVNWE5x484pdaOPp6c9gndtLaIuM6Urix0eQX4dmRA/utraHzPm6Iu2YQqWCa82YugfOrVgVEgipevyx6sHJrOgvlO8z8rutnyc+x+4YWoZUN8Ar7PFBdmI4M0Ui4+Pe5JZvfYw+uELA7debO6ZLmSkmnunboUYq1/nuN0oQN820Vt304KbpstV21+o9T5tBl3g6YNK38Ygcf3HZLPNoKYWJl/hMRS1PDnsF/MmhMVpfXVQyRijGP/SiH1vDhzTgohkIcMzBATsLaXc0AFI2O3dSGm8Nx8jB9mJEsJwqt202Qc7qxCX0SXxoP3Ihcy1N/Ifn+hyvEiHlPBdo4///+VAhfICchz9/0oEFIkeD7WJQCnUDBwsPY2ZmPQujMpl3yJmFYwGepaGTrQuDt9fGh8eNuSozKTILL0DTLjbUS068OOl4wwgKv1mANI3OlEo3ZlS4xl2LePnQxRYUiA32bIbrQU+rmNDnrR0eU21cBwcDXestWVT6oE6aJfgJDobzqP5IIJ8BFBIR3gDvec19lvdYoFQWlYlU38BS85Azzpkwcux8u/J8gE/P+WKRkN3lWcWvmvDWksy1ezkqbLH21L1QYWiZH9ASoDapiufQQT1duXsVtfPXlMz44hRx4d6ZuZLVhyESGILDe9pCyrOiwAbpfegcWDdmmxSFaZzzxZsx5x3dDk+g2zNdL4naBG0aYtaDEyjo+U8ff94WrM8GKYXrTnvS4KxIVJoG5D+nFsIzTtxgTzCrOtg2dCWHYQW1K825fhSRMhdpK71d03gyK0P7qby6ice/jZR0bagg9q4aeFmrtztkyXfn0/zesEZC0HG+2JAgM9ThK+yNedLamVjVMN5fR5F6DovrQsx6U+nMDfV4VaNVWCznffI8UdAdWkyIJ0eMVmZYhSM3Gl08jKOo2m6okF1gMgssS0SKuXAiWVQDmfOH5Br/TZRkTxRQL56rSL8NsiJ98FkAoFmc5OIRb2o05RMtJubUNSLrakzepPt1vF/Ob87FSQ0ejLlOgDq8MCWQ7lBgrlCLCd+fWXEvFJVkSd+vOoJ5uqJ8gWKhTA2LcFDDhsILZDLXsW4EdkBe2H3TygNirBDG8d8p2kp5d+VlDBb6TUvdK89wAcAQPS11j+MAsjE9MvoEcGosSsodY7whV99artuLVn8TBU9IbIcfcu1JBxQtr9rcMH2ISjbjsoTgZZ1viIKYA1DoLrEebf54Yu0T9IZuwOVgpSpwaaoYluzC7pC5gdV2Oh5OY8qbwZNV0JyrUYr0dsdbUzf6NRJ4FKPyMkPKrq8/QtoeZVrIEN+5L/MdRO1aiTrpBvwK56nXDYGAN7flkD6eYA585yGY547oUFkUleo2aLktu7FOdN+Xs0PTOuts6h88XCk8exCRembFynBEYjOdEtiu8ZHaat+u3453ffzAX5IzV3cZswdgj06Eo2RNVXm4s1VuGYQYTlzXaEHRat+zQbm08eAN39qIKBO+M6hAk18g/1iO61VVjkMz9oiRkdWc7TPCIEdcc4aRNwHUDTeTTk3S431mfCHiLdhfWeGnapg/od008VafOjqueRx7ni/Y+GdCR4nB3V32XKw3PvxbESo1wsBMPFZDaTpPyHG94PxlTI+T60OD2TDl2YMY5CFKWAtNjwDuJnDItFokvjfW8iEfrcby7QA8/d8OQPUmFYdh01VLaENH9yiD+EVnXZz5CqwqzlC6eim7cuxiSQ2PxfpcWuJ/dwh4utKdLtB/1O5w9dR9oioRhuv34NbRES9V8HiIZQOalzk0SqK0B1pBbq0ICB0HBZK0GTiCtW0Mzt35an6W1vPkLIvG/3iwaC/fGRXIpMiOXlVxb28S6cXcCWwpof2+Ja+WXlpx1Sg8NV08qPDwfiLVr2IBmL3IPpz7LdHx0sFua2HZAOkuIN0MBll4AiWExziNn6HhogC4AF7PwdOjDREUV08NmYNitTeKWPT6E/Tryo25CFU0qRcb+MzAXV/6u2OcG3hRK3R3K3hlYq8f3WzVuFX4/Yw8nIgGJ59aK09lCsLUxZ22BCucZI4czN3GaXWX30Ed2ivxaBYclCs01IfDFXnoJuYbnxGgFSobgNqv4kCX8kvJncHR0iTTDMxlk/63MeTXTtXscYpmAgO+Pbhb8HKf9TGX++r+rKmWeM55RkGGRin5ooIaASNVRdJvpqoU36tGBd3Meg8BR2jCEcY/6RFuVmZijxkmEEAERxAhBn/GLUCB3AHvqjkrtC1UfVGRXmfa69mLV0IfdIJn956O9oxNeXw0ooCfWGuu5k3/7TilfOhDXCoY51j44Cy0+6vqMkXMeutkV9oRI89E7Gy4ICC8ikk/b8bfHoFoc/d5rNY0DwkLcqZROzb+eAZVrZ+zM2qbeJFoTywlOKPECWgga11AelzF8sDQuNSpcwQc97vVzTokpaUTF0+1FIx/4s3HVTRPl4L+/HEdXMbngk0Dah719XGt2nxsHpFsSg/gRU31g0gblqtHJfyI6foq0nQhDfQfn5c8CyP2dPjqKcvs01UL7CWpX7SXBe17llX9TC+hzmXRlgxSwrG+dUKerU/ufvYJY7HAN+LGCtt3ag4b5SMsGKbJihsQkODaUEBy00HNN+SH3akhGuUkS93E52gr/IVxzCNB4IMLh/KiOVVjJFfvYpljKNvMiM2vPo0+PWPd6/kYy19E1EYKTivXJ/OJOgQ3kH9hNkI8gON4TboAAtpqTqUBKdQJe0N6Gef3Sd6nlbnVaL8TdWaU7QN5V9rnD70zMSLktKImPcTdkFscDUu4RzrOf1h1uPdMgagU5I0NIMEqPCMPsPDUe+4ogg/sPlq5CVW/Z03SOxzy41G7Ko4NAK/ovKCaej7WFngqu1Vf2nA1aoDefs1+5JyOqaXU0BKY3i4Bt2zD2jK6yB/djOblXW3X+KxFvJ9/YHeccRW1a4X957FZpkmwGWjYBWtLxOgRog5lDSmWrEhlweQyX6MDTzbOG3fIjCgnnoqqpWX4OsEyBttq9O5Q2q4DK/AJBcykiyRloB097NrNC3AXzSmJiYrzve13JeY+rDD0EejjvA+xnsVD4BoBMN7FOWRD/TqWWciJ6fhfnh2uajSC3T3lXLlSynDciaVoVf7c+rv1hTed467SdTwzvbeNcOTx3l3oga3WWp5huRQ8yW8sgRHYG1BKxXeHOFt9n0VUraL2TSwcxXDyhyXAN+kdIaSf70P6hH4r2enHAH5AzrOvvq2MvzfHONnOcXTpQa2ON7t2upStq/jYI3xnhuw+qeJiywHG3FWof7Elrx7B8Keqvcau14gK+2nrMyOjRIT7zIgN6BND4Qz9fGDb6H9X+sUw0NDIlrgxfSBVjexwJA46dhU+yGLeuwT87rmOqPb91UbTh83tbr3OOpWBfxL4wbWou9EBQrBIlTUEsQnkxGwstAaN96BmBVC5fW9uXWifDb7CBIEyuppQGF/XNcTUbHbZZD+gJC1YS9OG57kqlurfcEXLFnAYEcLojTo5QP9XskUngc1JUH0NubYy8bpvPDYPPw7DKUegMOIHbEU/0kCJRVjbFaYIcxYCYXbXUu5wh/AZq7zmml776yHY9MtSzeEByrHarOq9o3ujRBK/C5+ELxOgNduW7C+I4FeE1dSAJzn25Cd5pGS4+Q4Yc9sSCg6M4D9bWQTOL0j0k8paaxRxIOvRHXM8EswWjWPw5BAshZz58ENh4xeya/g/M2gTQ7S+VHKa+L+xLZRtt6K33eAxZcE4+IFiGIf1CeShNsoHUO1Pt4z+Zm3bHPiWrClWHrDtw6Z8UudxEPbJIHlShwhLHBYlud3QOsuE74Sdv11WM/8XMBYzFoHUjm9v4Da3Pi1vBM2rewu/78GS34SiyISBVVZihAMMHRSwNFjwFRcPHp1OnIoKaEqbSL6btK1BPccnUP+kRHUW7h+ks9slQ+FZma4YIcc03DsQHADyjKwJ+NBgEtwgdsQimyJ+IwsblTzHjPGndnyTlT7fvGK13g7r04zpuOM0AIDpdXxsbG8Gwt3tixnBy843ocnGIVsuwSYiYKUhh0jlefvsOvhp18mPp/DWd2FScbL6lDZglSirvcY/+J5y/m2vw07pKEPoltpMelua57QIOEy4vIzbx+m5JpaZneOwjtsE4Nm5SUrqW6ZrrobB+jno+4Kj5yumVm4jhnWG7WolT43iJNa82d30SkMl5OuUVFmdTCK+G2RuipvZue5dq4KR8yBFIboqQ2bQKgcrmQ5qKHROfduscjOm+XLtXnpFZdrlab0/EBfF4aA2Ae74lhv3ZLYcplB/X2R/qT8EuMMz1Z0/QKDKw7gtaKse+vm/o6+AjTGYpMDRli372MwPoy9stcucXBRmO8ZDrUvl/F9S5EYppdbVscpgDUx1IwyBoiT8etfEwOrVvx5x1Vrfg18QHpSjVE8MSytOKMNsZYjVbs/jBjn0fWxLlAWOL9Dmq694P8pyZqldDrxa2xy6H/2pgeyQq/jDIHttjUEx4MBNiiY03dMLL6guhKOw5JkmSjSjcGNpB8/+NFAyXD9fYHuuZN8OObFotRYdk4tWGKAQ49hBOhOEhMOAiMeYaSwyjFQ55z21sZX6d2JBCix7W+2GKsY1zT61JYA4+Lg3ihvRMmjavOBXs1m9X7ZjWLpy1tfKdj2BXjLWy8mN7qR5I0ocIy70/6AjSdqDwLLPpuaSAsUOAXrvnwForUDG+4m5SQ+dSOM1XgDwv67vZYwx7t1aZZs252AxFc4tNU3l5ILNFEtiNUWGUr5CtAXhnHF3cEPbSGpxcDaSdZdA/FVoN9li3ml4vc6/ZMG0eY/Q+WLC0DuagS2LriYybTOCskSXlbCABGgNgWOV7698CO/JNax/41RskrX10HHUYrsZBYiCch/3LBo68i/tRmzQYw9vd6Z5byly+7UK435mwbeUaTmdqRfl9OZQYtuPvA7mJLEl/wfb/21yWhH5S4JPVh9xHMUBnwJKKB73E+h8yiUFzsdetKWG1xeNG2yp5X38hOv0HWdm+if/HXMbxwV26Ul67WhKCYEwHvvZP54302sMVdv03KhuvuGuMDpfz1/ZJWWPN2oZ+jFJr5LRisCxLpwM4hSM2q7j0a60LRrsf22lNhvyXlrzz3bU7yJ1JjSE7xgab9jMglVhsxOnTavD07bGXrL/m4ag5s/6ZlQN8cqKUnq1aQNydrSLsEt29CifJZPnhNWIR+8H9hkLPZOGQYgPnCABTF7RLA9fz7VgHrqgRvH9OZKj8/b7/RatnWsJ8+QVTa48fSdyM1hZNDVdkgxRyu6i3d1iVzuIdHkAG+IMCMm7ZdgyKof/pauC5s75WVVBryPAFQQ3c4n30C8QxghweBl8cxDSiZWa3qF2djrVXDE7qYQQSyFxEwECbzU1vB7zHeBAs1b8rXZHTHWhkuPjCpbx0T+Z6FinjOy8VA4nuSuFf7KHffqhtAWsL1/3xImQm6OI6wSuRKfTj3ZGrNxV6fIcTwdd/IWxwGsEBd9YuS26rHar60zWhMFLz7/kNKHCtMDv5nybyHbbyLu1lOWnlwgsMDG+Cu9KUQI5czPZKV5De0p5XHrPkSvp6aWi+5KFF3jJvffJ3JFQdHsE0vnVE26569leOqvoOIC82IYv+ryqenG3q8FmPiWdkAS3H681iYH9WNpiDfc1urqZCeMewAYldmgeh7/YrB5Udce0lniYR+sRICvKJPGfe29bme3aAbjMQ37kvoS5I2TG5yU4mb1N/re6+XxxuCD8U/gD0a4rem0RT9jiLtvkwLIbSsKdYQYfNgM1NEKb6ntq/FZJs8ytN6P/x722p5jE3StCKHFiASSWCpVNQoMKYklTixXYkqplRQjvhyi68ndbVlup1cfvXA6eQAeUfQ0+E5ajSATufDrdlb1mzsO7I1hsGw7V2P7mIlIxIP+zB8X4wgFyFBB9K7IxzxLnhqUoA2qeFA/8WE7M0JvSrQFS8ig55gbNkLdOz7IZY4daNghQE6TSP3NbMqDnHlfMqMbAE2EIwfFM0QPunXVmZwF30xbYxC3VQBfkSc/QCqRPKX/133HY6prVD78AXItpnf1GC2m2I14B+C1O3r6Y86OZpXWk4MPq87OGvp03bY/or1JcqoHcosFz06Yiz9RXKDZSCU3eC07LBqaH88mjwvNxuo0JITV59vdbXjr3u8Xud5zUSV/wpfqiZc0btbLwZHqz5TRgOnkU82AvvL2/QLrbkNf5fqnxcswGNHcv1dAojt0H2Nu6EPk7VwkTcWrLMcS/rxqpXuOdv9Y06eD/rId36hYBLmwc/g718M0w5OLlhPAaA1Yjiv+lHebeJzF4jcuHRe1d3ZfMdnmICQyCnMeYRP5hdWzgntGRY/eNsA3v/a+tft7nXMEq/VI593sNdbcUCXqqSbBX1s8LFyJsOjlstveo0/JzNasITbltPgtCyY9y5XmRKGt1zDJQ0/wgA+QWefAp2cZdLiLsPYBc5RdPm5gF/PBcDQnISZnKNKU+ogtXP6vNIKCQHgISH+x2ziUrqpPLbxAsxBFPq7nZPwNLKAvDFC7RJRaD6w0nuWDbdzkmxR4fz5s42zObelvE2EpcmHMMIAHdgAL/B8KXDXoZcGtpd9h6oQqmQJjbypeYvUV3PDbyqDPrJiY2NxGj4VEqrt9pi2pwCRbIBlHtN4YG/9HgKfCPLLA+wRP9EvU7AM0ZNtdG8MXnpxTJDCDrLr64YLddaQl+RBVwudH6TpGzb+dvqLQ2DIewXGJO6m7qrTLUO3i7ZoOGIjzqMDeZx/7/P2xfqC3c+zbUSmasws8NlHSOex/J6Ug8kUzqVKLs7hbnNgxgqepKUJUgEbwDpfHJQezVOKg5qTcFkXdfl+SXLmG4xJ3XmORjEqXJjHF/BfU8pUnZKUt60Q+34c0ayrFU64G0+Ou69AE4u7lwZ0A6WDLChtOp+QDDcyBiA588fBRJPFdG4rxzuBO4lPYTgctz1RImwGtfkAsTrRMEmcN8NISsPwLHNXibZRqlh7NF/lYl4tzQ1Zhzu76VXbJTpeNMUIw4Fc5yZ4jKauHOFOQ0uYL3RVk4UdriVM+kaY3Y/xr/1iRuV7edBY91pt7f1riauVbonPp73vTnu4u8yLVUj8D0G+P+GiLXRMBycht5KqS/2W6K+/b8y44HO0Qhh1flrw+h+PzDkcJuZYZHg2S4o2HEwRwBOl3zAcIcq3UM288KgJCdI25qiqsdJ4QrvXgjbV5JRWTd2J2e657lwSMTBLKUH/PR4gFL3166cfj34KwB2ubUHevJ5ewndQD38z11kla9bjhqr5GsnurEbH+D9vPYfgEbptAvXIcX+o3WGHi2PT3VswO51IQ4SfJroOEBV6JdyeMzuKQZRjVvomb7UpvsoazQfYYP/D9rMHa9/JlzrhAZ0xqjusf2Xvjq645c/rK1+XGOSMsgKPnS6Rk9sRMu2+fXTADo3k1tEgFXfFZs2DYZP52hkDvsokUi+ZlBCcIfPIzRXX5TqOrJ24Gwm9x5fms91d23zsDpq7tWMDDT7/yhBI27upd88CymfSr+XrUxlibGyb+JGteQV7zjJDhh9+B6gn7v+fM8dNYF9yxRKddtFo5hgwUwkFokuKs8qx1zFTfXg1YYR4h/HN4WxBbL85H6MVN2Y6wkHnGL05To3bEC+v4aL7dh0LMlot8A1JsOIeQhGpS2oxxTWuQcR81lAkiRk5vRzB3z/djH9esF6kHYCSQ+yPucZEt+a6FxuQs2FtFUNnE8fkg3QxfdXHpfE21pl/PGs3cdtzVsdGVfbsPafD+3+psS8QwgU6+18XxIRi4hIA+RwoqHSdmnycHkIDxVnIz9UCa1Z7X6awQHsOogXRWEtZcmGsp5YVurJCYo7atbgMzz5xymLqwJFG+pOV9HhUzQAlixRg/O6KlOIrEBPOywZVJf6bumimYpILyQEvqE9QdqBdk5IPzg36wP19OC3JE0JPzDECFbJGKs3p1mJiyn0OiyvFbZJoxcJOdXGnv/8cZRkwQMJoeZEKobAFDKNhQXnZxlZsrobMGTTHlC4T0zKUEqwOuo/5MU7I0XDgmiNiT7dEJQUixYHw2zXPQ4TG0Or0H3KsQsKWYs8sycGlFM6pv4VlAIWxahrkl5toT58FJawj0IdAwlAOO9EUyot2wYxQ807ISAxBzitU5tx+hVWRLxU1BmPYf84USxNUjng6Va0MLDbH4iALt1WV4Eg6LotifA0AT14KdpMEcqGjwsK4UG0+9wsuFFgJ5YZaDbsJ5g85xJRKTIASMiVa+Mplkz4swQ0pvkNdS5EBFWaw390mUmoHJZus4ON38dObI7MGZaes2NyAe2v6lLwscl69s77QfuEMgFvcA2TAzuFEwhb2Gtgjry7cN7dsH3LlnpEzNIRer9O8oQPiUDVDjguNGEeYkrGCgbaSKr2k+tc9Angk6K0izYv7y26AWp5IVBwJxjQMZ5za8Fz3OXeShT+vhCZN7xI9a8fLaS12kCsaXVMxnK4O6YwyxmPBj+G0ycTF/6bDEdaXN5e0VqlxXoTwDZFmQ4KMbWl7kOWh43atqIal3qke8gIjZ5s/RWzqPnMCJjtKxbWrgG5vod80tkggm9zYMIpAtrxKBQUG9zoMeRFq4Zfk3wRk/6lFDw6dMrXbi607J/9ZMbNxd3mKZ940r3vyh5sgcjB5kHU+eWkzYzXvZ5fnDaxVR0MO4N0x2O6QFnhy6cQcAHO/4zNJ3fSW2/JFdrD48FL3v51+taRQsQZTb8eceefTzvvqBNI3aAESHfUX/gfEgwbesa1H82YH+xU1jarovuB2N/unOr0kMGHXPf5VRdrGzgvEpcE6EEA1fEC2H8IKy6tjpuesV7ZELvauRZUGcv1dmZ7Wfj6On9L8mv342i2jw3bEvXkHzhKMoTCoRa+tGMDxU1HW4nQ4kzmakDwWLDMYzej4l+3gEYO/vfHluVcd6T+4xscH4JwnivpEXRmx4eP33VvkTCzfiF+zmhgksSzFhXxoTopqN77cc76erO8Pz0tiwS6oUu/xGqz88UNcJU4h0EAbxI9GsgPPDNCwxlQPDpQBP8EyAvNpfZlfqsYxC9yRes+Q27J7b9LfOJs9lLGbbVJcoDLB1X9aN7tU1OAQsnFLkTfqYwEc0ya2gd3FSMBNrqQxUe9dj3gq1mazhVJ8cEMwH0YjSj/0xF5xE/DRPu1RLBCW2cu6Oz/g5lM0cksaKnvqYqDGBdNWBicSa9RSpRCkpH/Mq4alCHM5mueBhcP2j3mGWegU0RprpggWPR527v4gE4Ak2IHMdfWD2g6bz63dR8msvOJdOgEU9Crmr/539vX5/8a1o4mh65tyFQFQZt9CR5Pgg37PWXpRqzYAjqaah2kL+e8IVINKHBqq3LbXsIgq3AmuYygn12SZGXu0M7r9T2rWhDyj5PvkOrZhW2lb4NpFIWiODN2QAtnwKTYQhRDOSGjmNhx5YhLXhQfYwVPn3kYVqBFIGVQw5JwGQIX+Vc+3AKYubuouyPAPiEt8k+ktOOn8ATOXaSXbliigzMlEo5pq87k2c5hSS5QyPJHictp83JMxYJqg+x6DrF2X4+6zSZmrILPk93TDKZ2mlmkxUcRl7dQ4a9+XWgNbqm4S372Y43gPALBsDQeUTfRRz3qFctDtoRe6DYJvGk3FywZV1+vFJwX2w+885M//y/fjb13Exv/tRNiAkTV7nNwJQTmpDfjalEo46VT4B013x4tbvYQdoSrpLCoeqt7jj6oRB7HmVcPygAUJmDHpg776SOq+SKxS+ppBLLBANTf6EST3ieSUPheSK7jzzLC6qgsuGZguFji8dd4pg0kxL+JyfK4KNgIPmDPS80752fVUg/Xr7cVqLPu/l4wbyHoHTVlUdfKMUuuFt7eEUksVLMO9KEJBH9E34hojan8vV83DR9mWrn1l4BWky9u+P2Q349M5lR1wejdHNdZbNetpk17ej4w6miCbJSjX/lwpMMJug3PZHy6VHimvbvCgmKr43Dh5f4tRhSYNugmyCKM225gUdQhi0cZhQmen7DHx8jpQkFl3Xn8uw4cdtLxwd6Yz9ZDCOpLXzYvz++FT2d/B5u5uwl4eKmXrmo4hGfV5W6YpiLa4k0zxgd/iSQVgxoFndaYWK5Tgd0gtMEEl8cE0Q01bjJtV7+7WooixyIXLqHUNorNKPUN9QVvOCpbUecRQWPYv3KvtZEAISqgMERcl1B0qc0O+9UVTbSzgtoPW0stN5ANINf4QSQAEKfq1ZdhiaINjxRYs88Gf/1ooPmviQ1NlPN7TLx/O4EIuU89K1IGlOHeW0gtJj2dHBZDyMhoWbujhJreTrC/9vnMt4zJMoPejMP+SiVX/EY/q70X27yrYbBaedUt+4XrIB8MSadC8v5jISTvmRYEp2sBOCWZxmmFENi/5eGhXL/ts9hUvw1QVOZSpkK7jACnw4oYycoXdxpr6onl4vJdE4dCfJId+J/cVP0m5GvoZCXzlq/UdNbLFUuWb/JMd24A/1Ma7j5g8JIJoiplZiLdawGmpjSDJSE9FvZVGSLV+sLhIWvWGX0OQI4sWDBkv4q915O6DgoBHujKUZdXlxyq2a9dKHYUaVUvWnInSV8Kbb49BHA0QyeQ+Q1d04VC58qJFCUFEFVy79AhzEvOgWIB2Rj3KrTNM5iuqTNXUfMovUnzNPLP4KaAGDwZUud4Er+O9M575r6akuunXCo/7xWmrCg7CO7Kl2Jfa11KHfMJ2cDEniGBQfjdOhE1YBrv3mUemCjMkMxRKFPQXzvHw+EX4PXlD+5bYhBNdaao/OUtnr+z/TJrJTgXCloeO0lOx7mK3LNXGIUd6sQgdASBRs5XWs/mcYXBwG20WFhaIs7WJ6dOiW4j4f8iSoI/veFxUUTrfidIStXYG8dQX4jIqEUTviR5UfmM/na5napd/Q0xOMRFkTKpf5B8AB/PHt2Cyn8SV2zysYEoszTmcTQ8GOXyj94+lRpO0Aj3cOMCApAcbmNR5IB/PZyCyMW3mn91JCy1kTV3QrYTnwOTKEthepr53NLm2bL9eAvhpzp6fP3+tSDUJhLIQgOTD6sAiShkZoQ4HtN6jWtKg4/cxujVfKSh4UK/cvOA3mgyWjywBtIbj7ha6mHw6+f7WDtDgUZNZHD4nmMjEtDH8Y9wWNPS4iQXWxpy4xT0HpvCGewu5AoN6mUJBuuYjnEftEVnOYuuUST7tadn7C1OpLANZqbVMuB3jerXJF628iNundyW/qVWnNo9tizjQNkiQF29BnrGNG+ldeUbDf/4uyOMdzbueGDq1sGsijPSLGp8ZlzfAJEPd8kMx5L4yxu8rNQZFfPXL32eweqDvfab/3t7GE1HMzld2+9Q8PMs0mAhsHTMgNIjoJd3f0inLzCFHxDsPYa1LUaeCVgjdIrNMa3cMUztpQt8gzamMR+OwKDiIaqSug6XRab3MoLyodGruju5IM1blJH4MmlmGt03zYIqzKt0qs7tsdBY14KQJmp0dYizYxg0vhrYwLcSUQezztLVIGezVZk13ILxekW79O12Q6QgtvoiRwxvea9i83Shcm2mzTqpeRbO/+wLIwDcyyAd2gbvz9cCquH/j/K80FZonbIYDpA+wj1nGd1nrnXhB1jH55Kxq6JBnBwC4iOXuoF+Ek4kdRZn69uFLCzMuR/sTYpq1mSVH0VzqA1N3/WDkhIIzwVmzzPGkCKiNI0EOQqm8zqB85SMG2xJJMpvj/8xRP35hlixPY6QT88pJRw2Q3wrT8ccUIPR/WJxF9kqpzpy6TmhX+auPT0Lf15XmiSSCLEJ7i/xlTypVo7Di2Er2CsidUy5oDIHiqHquNrIVuOUgR9r7pj6NqOfQEsL7a+xRgq1XJU4gFKvBLDHucUej0wglV2wJ6rO+qrkLf5eoYN7eSYAw9/5oY7lpglFSHA8Fm6b3JHO7aGke+DKnyDelsTbI07tG3h6OvQjf3UaSeajNCxobz/QUtMuGGB3BAB0Bs+j7tVO8ssTzimODl6jcmbwnqIwHL4Rau5/3ZEzAhyTjrrSbk8+PDvpmUseu56jEEkSLMI5RdPVWbaGJxcUha31yBYLgiewKbFHAe/WrRN0bYUquzxo3d5Y0B47VNu2jj/FnAaOj0c/oXKtB9BopSBuQYE6IX/y7o5MzXy/aVOMLHIPj7dT4q7LSRjzjtmqYZCq4nbfq56uuy6sP9pK3Rbz+e1Vah6nHsxaiRWzQ8ked3b9aWZizLswyvOjUrsR62NubvnvVrOIBVPzkqkUwlLiLP/2pEgW04BHndRwOQ7mzcurJDfRoK2h9pdp7nh7FPGPyK85CS3TnT2SONOVXnCF2+0j1gmP5rv4ELl4hZ73M1SDyg9ZRpc2LuIj6kXKEj6i0mZm2126pKDy+EUPtANgqzqKBXbgPK804ICKQW6fVi8gUD2qikfVXBWYHx2ejXLOtKh0C/zETzSRNM09t4O3ojR/tTpsKd0ccIv6F7h1zXhLH/rGO1a8dVDnmvf1n47bToWaFsfgFlgXRnTNp7XLuOZy7BTxCGkXpKqEeAHDk8EOCuEWvdqZGqtH1oGkOLp6VExQldMXTKM2V/vJVwOjRvRNdh3C8y6+O6J1j4TQkJwoB0JJHI3AdOXeVtq27TJVtGWGHGURN7fg4q1tyyqdhirsq2EMJjreBlb+pabdSl4EGv68daXRiLwsjf+NH8V0u8jsIzgZQdF501gwwK03l3kNCSBN2C6epQVJzKKhQ2ljpi/lEn6fUzCyH1puB0hVtNqTNQfm1cihua+K8Hxa7NUd1Kx5ftXZvTkhsF2Ycjz2ckAobq3n24FIXTK3tWASPVDbPUh3vsW68WMbDXJVbdWLfRNRy0Ym2bv2jFMoiYK+v6e6MZ0r53Od38iC40SSCVFBZ3JpCXNNd0abXIH+20pR/IvG+8v+yoETBUXfAl+x75+tzsajdN60rQ4JR8ZMQSaZoUnePbKtIdMK2TkdfIVLWACBrSGFNFgl+K7owE09k5l1Q63LoAPQX8QDVOrVCnpgryda6fffNM2+TTrTOGys85rjl7hQDkJpj1VKy7cDzn/wfnbd3g6WCyoMyeETzC77iRag/Qa0dKPABRZA/CsGknoVJF53muLnWz15kS+HMdlPyFVd0gG+LwIttrDEgYwB59Ib5RCE1XkDMsGmn6LkFbW2HNbf0EtCokeeYnyWMUwJnrjl3rds/4GmTylmoQFB6xIAG0vsfn/etPBRK1JWXW6BZU5bYBoidGAGAOux4sqDwgADXBGARqC4vNxp5NbPb8poRDMr1rvMzNuc2CbLCguCY7Zh1vvHiOFr+bUPQOHAR/vvuEpPWvrj1nFSTWANDRVLaYo+4TtHXw6VwPKokXzgTZUNFHdCQcf07ufAUSpPecaIwM/kV4z9QEN6n/Po7GGgb5pTrtkm7itYg73SU2tSxgWFJHymoVM0Cl4eRDpZIpemqw/9kDxyEEE+KOLnJe9jyv5We3GVcbX99mrbnHlaOvCxu+8X7MRj/MkAiPDA5JbVoYdMtLSbN3woEsw/n1bqMfcvL3Y3+dRYnAEACIfhp6Zti1KIC0tlxUjb3aE4MOCxS9o96tiPa2p3dEa64Czrv1lpyBr6UP49LOiZIQJziOG3A2bQVaEmvyFFHeGbx97b437mqkbhmHsZ8kyE9UASzNx6td28ejl8zvsAtFR0xwdK7Fw27EZXPFmMtZ2Bxzy3AWPs0vt4tQ346KthyHPdNDSnx0Y1otN2tBB6vgt68KBRBejg8D4rJJbz7F7/O0aZ3fvOLKw8kdO16myeiMIA2pAX3sl47LX9Jgerlz+WleUVaMrAKNUOTPPnCYMP6mSInZOAMLzOHFifSBbsn/kZNv3LuCaMeUPTKIU69mNWffbMnn9MBFspiKTGJ2UFO6CYhghd7R6P3u2qI9YEm/4BfbkeAATj1yLW2GpxYNJm2BSAGpcvlSqehuYkVkmApy36CjB0sitgMZEUakXGESX/sFiClZ/TsRZgApEIgpO/zDYGqLkcuLiGzXIxA3HsOujhL7P/cIeiXYRiXa8eW7LQ6SFhCq4lGo282BfiS6qOif4OGXOiG4+0pzuYENMHvX862z62K9QG2uoX8e1iRiLabM6smY2IHtNtGQcnKwEnlqRlDQ9l3ngVummYPjYJtRs+aCD8a8qSe/T64gq/N0gR48zKgPepOMa5WunM3LLl8yuYIN+YGPk5zJyH0e7E0sAdSdXgmhecOhblJhLQL9ejw6y0pl+UkfDSS/ABiRVs31A2emf/FEpufh8W7Hlx481fKLNzNpEvGvQ12LZRmfvCEAb2dfNs53dplvr+p6stDJM0fVfB+hpT1LuPFK1v/CFLdINAIiBsNCml11Ec009KPmyB4AFG0eAFgTjRjF+n4BNGM9HTY8nQxk+7Q1dx1Oy6jm9y64CHpx8Za5gkSAd/gy+S/oQk4Ja36v0G8Veg0iugVZ6dR+PLpSjN9EIyzMlz1h9v84wQVLdu4w9E4Dg9wwxerTXT+QrNBo32gPdFf7u/YGsfqEcnypC2/HzXJa+aXGZD7XwHnF6q5H/W6SYeVxu9uPwwaEReky+X0ISRG0eJ20/45/KK7RrtSDPh8UpmgCkLiW6Wo62EhL8qoLIT4Y7qMr+Ao3QHDfKVtmtH6bFk1yirx6G4WYj+5pzzEN/k7BTCK0E1DrI9Q12AXFAiaQq6bfnSQ7g5TqRnGIpERe692sDrBNHfBGFjbvXR6gjOcaP4yaQrh1Tr0Fm06orExepnaij1ubyz7qXaMHpyHfpflyNppCEEcrsJrIsFsIN+voFTRZKLqIDdP1Odt6yDbgAJGxofSCeEeM2OiiW3g1fK7sR1/Fc1GMHGVzyZPNyff5fopwJz8mL/9tc2j6O48vM2G451z30AyYEfIzCgWyjb4Ik19Y8JiwIr0rMs5ZxCIkvL10sUuEnUVjlXhNby7eCj7cDzxMcguUL7xuSei/w6sD6efPdqe6B5mPNGRtdlfj/g3LgojD8YMspoGpCLFWzuprpHQjpqHVoJ6YtCnz8FOZ4Ic8xWXCts8AXMbqoZhrwpczKNq/Q/r/CAYBCqcjINAoaRHQ5r4dfd969Lh5nOQ06Ni0OQRs+8BZuZ7DMq6fQTsZ/PGOwDNfP67xWQrZXXgAtrURAZGrbCs78gqhJx3LX0ihZ4A8bjhBQ1BO9VQXpztiKzYn8e0LRduwbx+xzoJELcHAnqZC1fomO2e8XYKIR4NbNtcfU2dzj4eEOJwGZGH2NHv79Ja5NicyqwyvMgxWNqhKu5yq4qs0H/m3Sq4RtxUzu62AK1Vvg0fWX+tyY1/zNobcqgkItp6damQQMlN9gzYBQNpa4G+ezVwGhrq607/FfokPrHALRzDbGsfgWJG1u7h+YLhJR5ihCarw2kNvcoKLGY7IUBnoXJs8ShguVF0gvdELV3xaJigLzj7fZHwBJum+FdP4rjk+Zz+ZJetZNHH3Gljch7Vzo4ssm7LO+xiktik2FJB/+vqOlA8SD69yXGgUnuwzVjDlKjuRyzwOwitIpSK+HVwyDyQIj0TgHnB4ryhFo9bBKO4famdn3KhwkJtyCjYdZr3EvYvkRRXTHi7mM5aDwdAyprpdL4ajp/e4l6KlxFPfsoygjxHywOiro5DeTn10CWmyHXEr+oeoqIpDEMZjFLV3UjhYe4W2KEDEW0msiqgwCxhDOw83BWIj00tkZ7s0jkC3rwmFvGdMhgHZEUyIx2dhs3Jmdn1gLg3FbyoSv/MwEaEJZexx0QdNd/naO9VYCvcIGz7kE4r+iWScboBNst98RlxhzT+U2CVSpRvz5Htl81WZz1OfppsBF20lAzIfVUQCR/b7epW5JX/JJPTCm+PLFhx97Kk7uvQFWM+bhexXu8OQSCNNl8PR4X03Uh6HzJCPrghXeGoddTDNaNhZa30wke+HK481csGUZEeKH8Bmzc0KCqJxdAPju1s87YnbKA/M7v0QCBblk/X+4P56+0wG4lCzyoZlzeGLZpiBz+8eyD8xo79aqnj9Ys1688LWaqbIlatjQJH31/hz511glWdgWNssvdCTdoX6w4NmH1nmlCqFuANt01MNzNLw3R5t0TYF9rhjRp1JIUOMnA77IMz8PG32i6rU5pCev/eN+i5oYKMRRD285boNelBwVkt9GZrISLA0eL96M59TlKPpOFSTSfSe7bQlxmtFijvRcG94ka7NekbXv8HUnHWku5DHqeZtZet9nr/4oEKhXghodei+0AoOM0+Pu96Em4TITQon3sXrb/tau8hjWkrzz+qGAEyDvuZMhMEIIqrGUGQUO9sl0ZkU1HahgPhfMj8RPLStAIHPTX2nCVUOlnROxhwHbH/YvrHG79+aE4t7z6IWHnSHJ97Ek0zvM4nyZqW+kqVv4SawazPkQTtpoJ5wQgaxUpmT2GAbnVz98vHJFLp8K+0ibhVgQwuKYjMd9Q+Xw1G2/lLNmXDYFaYV21JQ6ik71pzH7SwJ0iBiZk010lv9+8W8PpJ+LddkKhz0c9JDl/yF8py+ColR76qPh3Ey+fkFWoPSMlG9t6uphEXPlrsK8KxFnsH4GbTECqqBs6HAIhMyvphOc2LQdOL8xzDwV+g6lnPCfqNUHzyhBasM/O54a+7kEjvsUx2OSLfpaRq/HWhLHcSVIa4YwPuXksAwg+H+LwN+1e3WsLdaEfnpZqF0SyE/eS1lBFVpJgEMlxH7z1LG7xNlEe6eLyq1cyp6KQyDYWFeEt7kMpZHwp9YEE1sf1MRCmCkjN4RtPw+K5zHQhAYA3jubCvi16dWmaCQRfStFnC2JuBG7F0IEsMGosHxKeqrPyF295RDUwJaCokWHF0W9scZBgCFIdkIZvevpk+f+JBOlg5tomJKkvMZhX7MsaLJZHEa7BttQyj35ZCGan1OvZTWyZt12L04Fqi4hCWT3IsbYKumXpTN9YwnkRmvsFxPGN7123u0kvweqSqSMaoBCJZRKxbuX3RGkKLV4Skonhhwc7pAHnkCjpjEjpxDckYL7IVfSCI9CStclf7yS6o2hCP4QXudrBXRun6ikTUYRvIqg9OBG76/+GURmFu+MAfJ7D/7y6aDQ6qxy2dmZHjLbfIF5BmD8PtMS59T0LLUQCF3PQsKD9O1f4matywZHay3k2NWPSUg7MWPS3S4tJWjHn6/ILQffud3pegYFuOl8KXw97KsPvGlH9wBQZUACwahSPf9AZpCr5pa5wi5mjWXiqueeBETR3dEavgc3tWrx3OoMTClVXMg0SJZW8O3zjs6FKokVdERxRYsD1an8Lcm0iDFU1gszFs8hBdW8NS0lNMRW83jGOEiu2au8dJS2wsA5jLqozONvQTGnCj8DJFiFlfFZCXdagqlEzM93zsmYhn4iwA3tCTP4p9RzOsnwlxEahmS0gKoeit77Rj9ekHTDAyC4IJ9HSH8j/TQx0XVME0npBr3CUnjEk40ZvynquF+R6PeLIn4+y+/oYVBINCawvV1DK8HzW3JDRMxBEdoY1Z+gsnGRV972Ojr03tYBjmniQmKPgiPyRfTKRH5QgkqgSz6qpSpHyslA8WMBciVZJr1PoegenMLyQtfyfAibUBzITLnsBSQU4Nr+D634CbK2pjU89NhyAzYrIDByRkE2as/587B8tbl+FEUYWcZD6DJvNzbLonS5QEXSef+K74+U6ISJKJ7CBU32Tn3aF+fGPtJL/gyG6Gz15Qgq7tvpcl3zEybKSpuW0V+xfKeJMIHy5ylx5GWrOb4Awg+1b99WonNZLNeo0uWBeun3/LuEF7IFVnqIDsPVo8WLN/mfCdYNwKTPNdDm3/3wod6Cv4e1DvboXLR234vHA4/XGAqkqid1T9/EO53+gE12iiPQ21siKr3oqMebOuBNRb4O6RrzTuRKwUFVgsBcgsyEY+CbvMgaLbLCCB8X89ujQyjH9D5ugN/eVmIdTfQDOl4LBQ472KP96VdtQgp8LnzjyAsY2hTGW+QkOCwopUg4Ft4301ip21wEwUlh+OiWeiUB1k1eUsFw2AekBquosa9LBpK/iGiF84cwpN6ydk37UFkOnL3hHK9YBQQL7nVRBLdW+v5U1BvIWnggEVSv3ZnW2DnqPVvGu+mqEWjN/2PFKgj/6RWMeEdETzeXZhPpYDF6ZFR3CVyFdZn4FOPkOP0Dt88KqDgaGLtF9JUSsKxqaORdrLt92uCuB69UwF2xslLo1qar1b4JFs0roPzm7N+L08EIGVyWSDiDEJNu0axMSrps+ev5kEIU2lhHoayvMG/xiJseFSz6/C4kVxrCY9TsyPryhD2JH3pmxw8yeYUU04RRnGju+6FfEK8wDjL40m8rfKta49yHTdtqCS2m7qWG5AN5TEq01MQZ1aIwUSLmLdhb0MLOBMHr1Dw0dStsFr9iIEPlk9MmDbh2qOUKYiS+Ro0dINFbdRHHYcYcwuXEsWoIgptlRo6K57QkuqWsAOwz3NR/V88Y8G8rsFT8MBuc4sJMt/2YBgvgl3msMD+76R3F/vWnSe8rlbLXCRhUWRi/X4yGlCVcAwnF+DnuyB/sC80MqYZNDNC5hx8D5IjNS3HtyG1rdhom/0jO0Yt3U9AXFsEgoet6XsQmhXxfptNSR5+JJ6OGWrPX5Gxd1sDuUIEi3n9++Sw1a8xcj2JtDrhUpWKpSLznjwtKB2BBrJMkzZq/udroj7Oc9sQDg3SXua2TG1NjRWwqGTZS2EKNkfovFS9l0wCoTFq+o8retyLP2j6pTmdJTVMOppaZ8H+DbLeXbNLP42ZhG75dkSBuf8lsFzaj7FncZICMSmwEYOkFOMSa+8gPiwE6sgyn653XfprONtUuSxo+4o8+vid0GYhWhi1ckmaQL3qxvJV27AkQ80nrxmFZhcVv14DzDtd4LY/Du3Kc4Og2zUKuX5KgdMU6rygrwE/106yVEZKRler+orLNjcCHSKDFQlrX4y5q9mamPDqNWo+ct3+LBuTYAASzm95Y0v65PzvCe1RhmVfMUvpqKadYABqhFN5suvW+w0BwHRC/LYvE3LVpYl2rTI23P23Kyp13aRKK1a7tjRVLJ2tVyB6YAl9Sq7T+bhiFZhhzzZXSJGEFJHeXdoQGJe3Pak2DIC16kzq3qr2LoOxnDhIsqkYakcVsyXU3Z6Vy64cKLdTlbS8JI/7+zKloJYuD7bgkRhTVefiz4G9cLpInGSpqnltgGJpSYEBjYc2OZr7bosvhIJ+ezaBFene02CzzIB/xXuVNytnmmATB5KnNI5D3LQClOJv5O4GUi68PrqqBv/zmYledJlEr2HUUFi+6M2XAcRPxwPjLivWVEFIUv9enVYDtuAu8YEX7ERSRXuEBWxai48oo/3BZ1kPQiD4XHYFgw3NJNVUcgs+odgLEAcb8AJmR93V+IZShaCffG//oSPVAGkRCeHE2HBYe9u1iptLmuroEYveJHaWME5tRMygNgpW0UhZmB9XV7oHL692IzEYtBQrzhSZD/nI02EWgwwJz8oOuab/FpczaIiKndx4hWi/ufgGH8K8YUBM+1+92wVkDfpA7gLvRiKgn05F7mBz/8Wlt4i68vGuaN4tEY99+hBJzJfEwScrZpoevUOVLlxNBWay/GeMLvzKzm7WHO2ocalYsFxhVSaBvv7GGOrJF5+X36CKTx4IoT0ZuFy0c+nBw/z/mfV1sVpP16z2tiVKfo42aq5tDRZ7GYe5TerUDnS7WZxEcaBt6NK159g9HeuzZoRUB0i+KnF0cS0S6AfdXH3BeLSogJTLKIV6wbdOibzA7Y3uIbc0DODRAPyMug1OiBp/PgUOocS6Qhlh5HtasH8SyzBNWzwbWgocVmtL2l6aOeJm+C/9EhBfHBDaW6WAoQ0ewLFkVqV0+5gmcsMkM2ThosO03fiDne8a+5KSVshYUdTpuNg0cYvO1tvqE3F8lqjj+9/4oLpgiiyXeidLWUC9NBpPB34kLs1Hk6D9Yy3te4Q2GJnwJ51R39fz5xn6vvZrku+Zj1PfHltMxKYKONaEJ2+Ec6xb+aHzg5Zq01/GuAgigOfW3m/HVd21IBP8ZUyKPccS9AnNE0J/B3CvT64nmsfgBwp+0Txv+jR2jIVMJ0/NYtQbU1np6vXvLa9RCSvh78RfiJowz7PnO+YJTfRpdVU2a4sHkmAzeCCvJWz/PSgvlaPo7KOF0mjK1K7OD2PihT8ozJHsLiUpoAYMjldkSsAjESV5pl6eC9RltnnpPK3O793tBTgCDm1CwdUl6r5ubINgKPFFQgxDBUAw4ByWl+yTCNySAyiLiRufWbOX2Ax62l0X5azwn3Y+Q5mHbS0RAxzedHY7orWyrrzFWOcqx9SXY8+hcqtf21f8QoBWNEmfoBHkCDqBLp/UIOZbRgqdH2ddNXrfiAzOSR80SZ4Dbn39RlanlLES70bAX16+6ePMmJmxRKywAcFf0/uBu820xcMm8eXaiwCAPVcuD51Uh7iA5Vbm7TW+/Kvaj3+tvIcu0RPf8m8jJm83Qy8BPIEOQTDIYNz0eUWTAqFhS9v952hCcgWzdxTgcpq5Xcf9C/Dr6mKNy/M7yBAN958pmGJ5FEmRzbzv4dzxuTXeo00T91EAClP+tFBZlaxiMyLprKmpDXun6Buj4eimAieS9KCEBlGi38Q6CouOvVALuvzkwO7j2zH/9b4uB1huvEMBnM6ERu7gMYvCs7C9JfzjMwJOdxw7CVUPtvpmhFqtPnF1J8l/X/+J/YmoMFYBTsD2CZtiQ9H6HstUP9/3C2Z3qfaNCn4bUbz2ztRGmMrhdtiECplR2l7CyyI6gJLmR2KwOBF7kyAllMyawmHGezlRUgiyWV9kGvuOEU/Vtx7ArL3CbbMCf9kx1frRKZWYDeCJKbXZmH4Bck1i6IusO6MhgLomJjF/y3AXLwxfU2bJwQZVwkge4OkiAlRgbBTjlw+xtWJx/S4984LeeV3UvexO84aqRbjsP/js+2Tsmg22q9hQ8O4a+yPPq+Aj8ZYtcWLvmpZUiV35rzY99H0uSh06B13wzeniAvshOO+1IbqqUHd2X42msvm+oCJwJ9vPZpegKWYzLQAX8dWvW2AkWoT91R6jfhOL/yyN9GxWeTnZ+iMWxX/gkDDN8fwCOgDGlZlFp4LURqsEz5J4+WCnQoA5FTroQmaSh5j1ai5dQbsoYl1Q0jTzHVUuUe4ahLHt2jD1zRyg+GCN6/yVPtCcEaBsNlGmYFSY7K8V8kbWPjcOxWnmefYVPhv4b6ix2W1tAtx7vEZPGN2KyNVln42jG3HhhiciyYHBH6HtQ3ZTGbH/TbJwflK66HpWkBhzMKYXTNaX19dQSSjepylR9/vLFN1X+45rFRkO+Ae4oNmZtQg2ITaDp3JJV/rDLb/XqK1cCaAjyv5IIjpYReGTFhsti9iKzzmByk+AWT6OYAAYDrVOlpFF7EQC5kh49upGeckqLoNMzxcdQcfY2Cr3TE7CJbYwNyDK1s60B/ujPm8zIGyBe2nu9LO6IgBnyK1wfYqTTXvC8tWbIuDC5yF7bsM/kv86uS3lmXdXaopQfII5Ji9w1OXkkVWRy8FR0J3tDksTz6kKquPXhBo3yVru4cz7oEsHW6ytbE+Ql4zhGvJPN17bmhEclJoMGLs89OgQ9T3QIJzBWe7GyKF7/GzJdFjkzWliO7HkOFVM50Kfpmnh87C8a3oBCAbKBdQfmDYdRdt5mISQoPXkgVkOAjeJ2CyJEoDR1uo8GxvlGBxC3qyvqjaL+SEGDzSmbrhahg0W+7EDZS1rAHFGdJNAVU19hg+FKmeRlYjVxROKvd151SNxCUS3J+JVJZXeDIYVR+rgbn8uS+PYQt7ffduzqwlKi/HPSmWxA/rPm7jXqWh6TAl6xQ3FKNt/5CBSd706z248ObR1McB5v6TG7UBnnpRDPYKlUlQanvVC8392WT+fKDpYSZdvj4CDKH8sR8XhFsuZR48NQUoYNZErdDhOEut/YLxaxkHYEdxLe2fXYbi17HBLy4krFreD2mWPidFE+g00X2LcHLm8ytGKs3LOnS8iE9272rpCsk5xI4U7EBEFUGSNzUexDlx2i+vaXX0NNyKI6VhFVUC2kDHpiQJOYIpMo7gVoEa4I+2JuHs8PR8F9tA4rYwzaML25FZojuYUMkYOfJrzOTGN0ZLaj8G4Tj+Q3i2DMmE1hMFzMGtV3NWM4pu4G2Jx7T1SK5x8r7WnUuCPwZcceYfKwvsLh11Q9Ye1vFi2YX+po6Plm8vp+SuDAw9gjddKcwJgpyBlqVzPn/n8WFG57O9MnHrQ3YhEqqCZjrQcTgQtW/OthKvUjkz0XfEaJ77fGO+6RkLB0Dld10RuOXwQtJg+EMWPaP8M0lPWIedmmAi8jF+sz+D0uqKfWclSkrKx3ACCT5Zj3dEAnbJ+Dr4AvYlljSjnObWytzwEtQpsCogfjCSkxcM99D055PZ4z6M10YYiLpzceXMXLLay9gqc2xIHqKJUhDib1sSZFfvyKNgu22NX2xz+523F/IWPNu6L8MbRJjNtDvtbnPtfzJIN2PC453cmwqLs/a2IwKvBccu1QS5wJ2jtb7RYRMRR5diYKqSldR4JG2AppgFTUopb2tSjmzNa21Im19DigeU+sOz8eKL6tVUykjvE4LLBlob6QlsIMsqarN5JbYWswAM4CJvvfTNc89eUt0nyylcADuNaBfNAWc1/O7L8YiFRbSTBRxWk4ljW1IXAz1wEQc95GPm/gMLFOTZojfatQ4ar7rZ/BPw2rcPPe6Tqol5Lewa+NYKRh4J73zNIfuq6uuD6tZTmak895aLrX4cJ21vDwGobaiWr6neLaont+0Gigd+n8/U7p7LkykQ3cCx8YY+jztSc+ngbts22TPrW6vWOyb+uuPKwi0xv94cgawdyhDB1G+/dcEEE7VLgMC14DycymgcvJZt2sfulc6p+7MfHILituIsY9OZ0MyFh/mqti2+q5723IYxYcjmkcINzeRzO0uJsVcuMg5MkB3OBqLoxHo8d301hvyEiin5x1Mwp0Y1Tx5HDep2gtjqEOhSbZegQq6O0T8RZazIU2iDUEt0WkjZ/lsr1lLjyRq2Fxuie48mMcJWFNjezKrliXmLD+9T2N1TauDQtsNhBxLyb6rdQwuJ2ZZ1vnRpHYtlHyItQLQ7KWVfsPxNGPSbjfgAvDLVaukFRR2YQIOhFtHP2KqJ1xhuMCMyz82UjArUiHFcZs0YoLKYH910Jvw3nXivlDAmFx/xVw+7397C2s2K8TlTr90+NeJIPr36K3FjNvWLsgz89mAGh+db98dK/Ji3dnfxBMVXZm48ci4XiZdl9/uRe9UZoZ2iewpKKps4vw/nrgSW7QADiuqpbO6l+31HT4Ph0zAvQ8rFh5xE8RHUZ/oS0QuGVUx9m7ea7amxnzea3wqN6yFDjLEbqsGAPqql86DAyHynNBYFNf3F/M6i9SFUB+EkbpdPVU7TFSPniuVfi17e7g2GFPeos1cB1h2HgBnTaFYN0LiKyq55C/FEbz5fTLvOHn5s1PCXi9ACYD/wuZQiZT7p5ha/xhlSQJVU6qb3D4tQfxu2xdVbPBmd9AJslYZ1oyQMERW85+/QRaaKAPYU1pbv36Xtg8RnCE44AqKqhCAjlS9DfuE2THk1ZR/Z80J7sm69SG+nFNS+pgb57rRtNjZX5F9bp8J6TwkvO1BLryHBTLy5sa4xw1oMTzLxX86piyInEIXDFrjgppghhAXu6zrB3tjLpoSKIVVtr8gB5NWmX3jAai3QR9iBwW4gkbqoBhNIz+dPvMI2nGBfKMAMeLnElqqPwSuSn0+BZaGbnrl7JvQMbX6cr/8JfmxatXIeCvYXkBSqmjN2hdxkk/mtXVdhxU7e2nhoZAG4B4AXqQXrqRRcdsREgDAuit5WZtlOf3D2z5ImOZR1k6oDSfs7zbEVByNbRHY+dMZFJFCzEPY3Xd/qNb0V+K3ECbFHQAs+gTksJ6m/r4e8jEvIjpPyOdkPu1Y/cItiQCBU0RxaLUhD59vEaieKLA2dVi0MF/7npMBW01NgX+GSJ5oaZzx0TAi87mrUod1QVM/yDfPxjCAtslDJBOlj33nJ8gAnKaCh4sLdjKHuL4zYRPWInwVHa0BySb/uB0ANDT6+8lZZ3WNCipThwhGMyY5rFw9EzfE/ON79QeHKlvX6YZ+TnBVxFucH0VPW0FUzkbz2c18FZ9/nsBSdDOMfY9SMY71xmrht9Ir0hQnL+YmTSQi5gdWLn7bYXBipu1BQqqg/6s/67mzT4jWcQLzShpvm2OUP9NXy3JzhQOJCuQ85nKMVlqR++0a3lnrC2kYbWOjikZw34ct1K+uB10oVzlwNK52LO54L2ywKvEnQnJWrHTaoaLwcv869EL4F8sBhL8+iJt52KGAnmh8th4Bevnm2UeciDcskR/nJr8ArJn16dE1HKJzvvGGicmhstgIpxXYldcvrgNSXCIJ5No6XGzOaS64oakq+pkP5f9wY6DsJcaftQi4NOy1+kqq2iIpe7sQdYAoot7wYt6Yl5O/u2PyCPX/Mo1M56g9YV0+WKwV8VPqonxEFyL0lvkqCx9lbWZBo2DHW3TGABuYV94gF6mQ1smdm1elcIfQodJgJnydOdnRxq18fT8K0TO/9I1xAdfs1aLAOuthRduhuQxP6TNolAi9/ZxhMpI6w9GOMGI3So52tejuwZ7rs01+0lQaBpXiDo6TIVswptW49iCw9C8+uOTlUY1J5/NXZYbZniJRdgP77y7JFkZwRmfaMAM2EkW52Lkxe8s0RuGu1O9oujjAZ6OK/WzQgdmx7w1FwWSb6/jkUQL17bDUoPkI0R2yXW2HXwVnfu7vpaTL3BZYnzZgno9arWGHaHlewhDWzwNxOttrcj5OjtnzyV4fr/MkqPgD4ujYgfcFtP3F14s4F/i0LCoL/cOU3TQZP4WpuFW9t+zE3J53VuquNNDG88oAf0N7kCznqneyN8CI3efDYT+B+y9FHcHiMwRHOwrFVpsj98upaQE0AC08v6KxpsjqHjl1OxEIrMwm7JNC8tKX1zP6xMOfhSumbLKWxgEDD4b56ArAOQdsegGuViG5GtVME0jbhRpX7yVIOk34waM4Jay25s3kHa84Qumg2/A6t/xYATHwJCDd/G3bPwAWJe1pjEdg49Nn3yHfxv3qTdX3gOZ4h3DVJ/Y+U6sWcT806zMWA6GwIe0zXRKtD8BP9dNJg62g0WfuTGIDSd3Ln7c76XSwac+z7XD17tzoW6BVpLqvAFDmtYyvCraDVJWAAjBxtvrhvx/UjdNb5z5rv0LUP32pHGIzOSali4uL4pKYBewfbQZhfe+m9KqfDFh/PvdoeSqW5fpoheaq2VYDEbwNTdRrdxFqLc50JMO2Zgz0beCbrRdk6lVk0mYzKRGjRotKZ2DobeU3BkPYsle8oWC8cNaKfQed1heEDxpvH4i/RZEb8UaJV6xIf/hp+3x4khf5VLIpPd6UOZImGIt7SCXRXTUlK0xt0gvO5I3hZHTq+7ZcmfX0WwVre94mvShdBFWmlVVlxattay+Xpqqy2813EyRmPMu5ZZLAV9ROXTWsa5d4E+rsHvqujaF1MdvigTaq1Yf4LhKfhschrYt6FweT5Js6RgB+4i/Zblj4RQBtvYwmIFavB8qgtgxoU2NjDcl314IR0dLdeKBw22/chdW/diG7aGdVq2cQVAMggMTo1wgqvMNYRFL+ZHLIhQjNENC1k5pUaEh0NojUQZhR+nefhr9evIyRS0YG2ymKPSPB9Yn3jtZZa76LRLFmXbFbxPIePis6C+sxL66P52UMMltliV8kzTvha0Qohs7U2OX+ffZK2swxaYr6b5R2ODJsomEFSOPUlEuwd5a1L35Dr6YjBbZcyPDKBoEtPn6Ued5ibfrZm4sUGROx+HUhUeeVPEJp2up+F6TjhOY4qq30H7vhZpN4MqsOofoc40MgN00bhePbMWgcuor5exVpU5gwuFPLAIQOIlnC1LuMIyyNwRCo6se4wQNrGf7v3u3FD1+/QnJE8P0+DDozDdmtxUjEEca7eZnpFD4/XBJtS/Xx6j1pguuR2SOHHNrKv4L3VbmP8TAFPoUx4eZvZ+lsZDTX/lJi5b3+5p9/GFhTLnrRHdKRHa1F1wH8P3M3fNRPx+ycCaKSywLGGaAXlM+AxhOTShz3UuysfnGJj2z8oNMwPgkmv0AokkIu673YPOFWQvuMGJqAk2UlJu+6YbPtYdH9NZDCtu1J312zdvTT1DJJmMUg69AhEPiR8wGjN64rA3WWleMekdNRLZ4nGHEv9HABiAzkBig8/PInSEd2HSlmsYglkHTKSeTAiATUFffeimhaHAcr5m4tOXV8ifHNbwi5qow9fBKzDz7CH7weZEA3PJBGMFpVodLGpdzFf6mgRwzb8cjX7YzxvYQKwPY1H4JnoLe/95D8axWCYyfhgIxWvVQKYhHU2ZyxnIWRIUOIXsKpuelBTcxgcftlDm20sVOxembL030MUAFptXMdN/x46TMikUTOZ1oHwArm1RbRphinUzG/j4ZRNvnTjwZoF3v3wLE+pfx1JntXSb5N0gJC+WOg899PWrmc1xFLUlafpKOMl58Far+Bd8UhqGp9WuLs9gUqXb1gE0St7wF4z3noSY/AXXlrDQEOK0MJYoj7Ae7NCRQChJzJQe++5Jimarh2i0e9w9Sy2cFoAGYDhxSEfApDqCg330W3v5bz2qjNmHD6nyDb4jF+rZ5toznVzKc+K0utfpb1b8fikMSV/4MO3eHbr3hZgpb57n2KF0TbZVP8M+NzSZGtNP1K9jhpCG+seCkwfyGrWiDT9ChdUEBgn83PP0jcszF51Y7/+ALl9DfazedGoc7Bjpn7+TRv/VT5IrM4otLBT2e8EAbol9uuBAsJCVn9V5j9CCSR9iiL5sL5ZmcpG6Ryn7m3BNQuaurLsesm6d6+BxWT5UwxZxWkXMhS8/wUBGk938QkMGrGaYSkxj7hZQ9TVDXLKGZ+pG625T9B5zq+a1NRVAOR2jBedAvu1upNxZxh03gNsZffRUpF15XpOjQlsl+XcJmKEFWNbFrg4SgILXF7vCoY+cZSi94PKBdVfCk0nCBC9cg9Df77W8CXMb3usl7UK1vUVKLoWrHGZd2Cl88gmkxY3mmvl84/oqFmDXsogERSfQJ4w/67JvGeUzgsCtFTQhykw9SwRNnX7LnRXCDDmNTNmkKMHW28yrv0OmXRWnECG0HkfxqiNmyyYTHW708WKJI6zhmM0+j+2GlhayrzuXPdt5teWFiaJynCuaMY4gdSEUe+jOR2wDs6XbA9PAgs6Jsa4LOO69IDkD4AQpmyuKMk/vDc9RKXqX7S3d7/U9LQLnv4YNhQCt6Qsh6tRNeM+nrIusg4fcCU8kFHOe0eKFeyGooawv5UlNmc1/tkQg2VeZZ5WdwSqqq7MX7gy4YYWcgZdRdog7tKTrjCykwjavhY4/vK1CEA5RrWEFI9c4JVNuNzALpiEcK3wCeByAWEdxth1jFeM6ZI4R3op0Eh5fAywGslX/1A5I37w2+MqOWe6b+jNPQOjhEjHjzlOQNucKZzPCPV/C3iozLT9w24F5Y6dZ+n7f3lUriUaaLafV/CVZqAPDtMYppBUqdwJfQrl8Hs+QXTLjEQGD2/n0XWUbG6pT+IqroNC9pqLru7jHFLiEIeTLp2vL3zw1O1/NfDcD/wBK/+nMTYWy2g/u6eDvt8FN1JCEhh6Nn7yWKeaR4DFSspoKWcm6Dp4UOFtWdzWJblyPSQnZsgqViYbOVCyFynu4otgrjLVjJXj+oDstyU+Mu7uThwOx/GgYngSM7kmiQnqlweMxAmIxhcw4Oe0Eb7vpUf+C+ERJByNVKvzR1j7usWngoyJ11f+2YT37zg1GJORWE5gw6g3ftoLffkC2PsKwisa2q3ExifJmKNStsLFHScVgSu4TTD75k2/fRRs8k7DJ2Roa/i6AU2Mf7K94HNL6+aizrAo49wQSntifKqqoam77HvcZ6GO3n/aqcKE29W3yY3uceJDV879EVffqSTEfQPaezQZ1qoa9G19wtRhK87nKgMPn01ocYkNqN7FkSlYxw13VcWamH/A/udH/W4UNT7kSVgybM5BkVQQ9LtJ9vjTz1en+a5dbbJArtpElDW0dXOwrSiT95kn3PAaxbFJacukWtRo353W4rgj2xNlu8ffe1ZG8PZlxL8wc+vNYcJj4+MoNtuOGDOYNmzAR475z13gR25D64u/ffbaU0i9ccLuV72VuDSupSnq/rY82BAmvAv8tzWZb3MInU1G09fyTNeyFMAwBvVmPiI4y8DxzK/jKxifcm2AmVWzAW1PiiHIHHenJVLOvIHR7UqfqWF25kFi9HzVO78cK+6DYQMSe3pWGc9MIlVh4dn7mBZSGQ4aG2HnPyXqqCzgiJIjDoaIO2YOKq3mGXHaxL7rl9rpHV2ysg+jIs28LiHTPcFmbPpBKer+JHbrBGQKOUmazpNAXe/pY2hOoOrEE0FUNDDSbp3hoJ32mk3CkA+Nq0A/BEvPkFgf325EOoxqgIGIT30BONel8TfqNh+uzAB91hdsEleYTmb3JyiOEcfy5JrL4ZAIaGlhzG8h3L0HaqJQF1GSb/J31JK3sVW0nys5VRvaguFSvqnsJe4m/EpAuP7MZTkSfs57bSt7h3gKLba+8F3uSnAZcMhlLV/56t2qQ2IFWYKUDCbIAKZ6BgmKh68wxdHBEUlSdr+Mv8FIY5wPusnSTyryKkGuEHMewjJ6l1B/lbG2NGLb3M3aHrjQVZIWRMAO2BZl+i7bdSoxQ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AweOhXXYPTYRxnLuAcKkfu4G5HT6K1Fv5NpqgDuM4DvAhy3hJA1Bs3kXbWdtcrbPR6ZOroFMqiuJoh+NhNseN1cOy2757BmkUHd9eKckGJJbJhHW76uYmS51qrvOqDEn+9H0OkKwaM+TPbrnN3LJeBVDf3oxLliHTJgrz3hOwDcWVuTjTRD8PdgGxvAjHTw9HM9VFLhrSKe1+bEa1dZmlLmeSVHkMWiLjxqRa8goC+jYvuzJumoYHLUSf+6hetVh9np0MdD64i0jx3ETWltLAnVwYoEOUrebO+BwJ32es8N+G2O/KUlV8e02hjESVKBttZVG2MSge47AvO3csr7LqPwS0zqZqMRUoDbTsCHRULdRMUQb5hvvoEafKekxCbq2mHSyKuarqWlrhQ1sU0ha2AU8ezAuaWwUG6rgDDcPnnOFJnB82TlI9wyOYdM7zdzlDcKNcm3KohUHAJbRXqDby3QXSeri5ZQIRVXFK7zp1/cdvLuxSm3/cmuB/zkVGxXeysZgzXnJkevqo6pwTk1GhyUqU7zfGVPYMbSZ1nwjMk1xcpABFsUjm5kwrrpxtD7jXCdWXE3IYer4ab859JvlWti+PJxmaYBsyjyNdTL+XV6YKuGT4oPg5y6/is5dyZKGtGnexByvWDwmV62Of8/gi6p7IjfyrTuv2aTKBz+Vhs0IWriHETNKeujxc6kwjoUfvi9fezff1QQQ1PHW4UMUlzI0uieTThEfOJR4WNwY1DcHIzE2oU2jL+e6Aj7gJCMSoIlnXI64km/fLgn7fyjpC0/r2erFwodtPab7izEjiarAXqumgxU0mVNoEV2gW/M5Nxur3I7wxGsdunPyln+QNwEivjzeuCSbQL1vsh+WBWngAKkK7IfEzNWQwSJgducFlLS0uRS5arRi3Ov0Bav+y6B0BGb5+T6TkDk/8m0H7VLyOmipiWOlxCbS8eazn9MZaFC/DsqeabmU/ULsW0BwK5inpQggIfR3lli8C4ugzG4TXr+GeC5/uInwgxT0cWAENWKW2vb1rniNi12IFB8GVwYtgmk1g5MfSrXoWzr3m2d54MxQoucEmjp/sjTt05IsImWVrFFSS9WG5tQ0GdJGHmqYEom+yGoaHieTt90bnRLnRaV8fWGOx+zn+RDabFgRJm5SVLPK+Upam3t+j7Axg8JzC8fjxPnPJxrHjDMs4DZ4kZVRmpIpuA6eIssU3X+PV4s/qjC+MqT4cgf0T/TZJfIIGKZ1CvxxhKahtkbtdx7yEsRqOG+jb4+g4zX3s9cGQs+4xm4nGmdYbLI6nJR7l8ZfZCOBrxlTXWfv+zLcwnMrmQY0X5aeOgRGC7/Hzo+zt4LuvRXGBZv2rTwSClQngPx33DOSXzULt6pBOJ7fZBvLqAg1auTLUKu0YPRMLH34fHQlfFLGeWfEz4ug8ayB6ROpfW6XHQu0HFTnKWzCIgw3cngLe+E25TOpe43LSHXdR+gJUjuMl5kDH1IIKY8I1zY//KX5e6YCCYz5+pVfXkycKeKwcE5PWle+ugcCJF17gbHz3cPeiRhXB6VsxvL1ENNAIWzzNKvviLvGJF5u613BxsOeY4AilwdcJz3s4OotqqclwE726N3/Gb5+EPtgNrxy3IQivLCm983Elm2RRtsn5tXDdpStqjeu2uCKolLE6SyB8O32M11gjVf8T00GAkeSlHVBZR5XiUQGbB4ohEvumbp+bhHrOWquwZewrcQZQV3IgM8sqdp+dZGxQ0KDUi0Evt855HxFQ3RmOM8Mi1hnGAW+f9+Jyxy+BxayvGs3mvGhd742yVUsSnagPHMpx11oryfgkOE00trskf7MjPhYpr2sljaIaVWinCOf6vYzSRXMy85RX6fZCuIowrx7QKEqWITt1y/puSyYWFKyBqeMJB085wMGYVhcWUN51CNVOTKumZSymoOzU+QvCOppNh1yh2urL67giTZ4bSM451HQnpToWh4lOtPMNS6PeD0S0zcVEEkQTqlno7PXZtPZvCq9gqj5dTzHpgF62V1aCCnb/r0nakrPEi0zWj5uJaH5y5G9YXz3Uhn1zFjazPSaHg3uocZu28y3DHKmWpZ75mMIhwLhlMqIomdPhU7K/CAi4b7sz0aR/Gdwi0obleLAaySi/iviV/mc6CER1uvRppFEtO3fMpO65q8A1IrsLhlGPPQFu1FEOdHViQFtlC13WI7Jy1MMc9EXr3cpeuWsc+iXlyD+VpXipMhSghnk354J2stRqR96JB4np2ifp7XJAwq1odkRW0Sk3UD4lOxmfgQzl0JwE2hDyqnjX87qF3Ste7uRCvEz+EJCSlYLTio9usmbSi6nF37AtMUFLhwIDGopuf5dz/I3p3iDpSek+83juXTlpFdtWHXmKuix+eiFSN+jE/csBpjOPj8GUt9UFp67ppnDLLsxL09/TeNTv/FZDEAwr5Zf8gX2KtQ+FTQIstGrwoxdmflMauBLX3MfAXDdRO5D2H8+trPzY/HS8y8L+FRISd4YtUhhMkbeTG9T7GafBwrb2/Hxq3QWdFfb3QLVqZ3C160dUzHHS9CRuv41atjKPUglgMc40WI7tSOOSgno866LPVBPYL1eSIS6yWqRoTvfywHOCugqOojrJd4yQQbFLfkAR6D6pTL3DO0fntJxJk/ehrC75i1tGD+ZUVzxsJpEBU9Jrk+s8+YIMm5VzGqWi+wV/HsAK1LZ47nmxGTZIclZ1hsyL6J0jbb3vGoudWySFEDlnxk71wqBS3DRVpXky4D+BjHB+MP27BkHsRoUMyxbXni8/WEluQp1bRBgPpXH+oQiK54wjtZffb7PQEFmrQUm9qGm6GB85afq1uzGPA8bvgKPk/pKKrCwiBhahwC6BRzYcak+A+RD5SCqVaCmJ+7ohzuoDG9JOeph2XXYWJ6o4MllVsoyjFZCSVbAECpnI+t0H5XjrbTsI1D5b4Ibkj34iYwS5ZymARJM5ibIP4GeFSB8ZPF878cy8+swpJxfEmnuK6wrEEjPZ64JBOXF1FjAlpmROPcZ13Mm3EtidUGrl5KJgYBtsKj5x+/J517gToZ3tpPJ+f0QLu3PCI3lbDoR/ljbY9X/5ximU3H/TcThTbLAEaCKFbDcbjOBZsQfVC8tNC5mQ3X5ftSk+SURjN8u/1kB3hOxCwRjZKYRHW83xaDxgtyDNFVx9ClA6KCyVeCKbIM68qTyTUFzr+GTKr/rRQr4DZsFJza3rt5LlZVuYVpShp8m30Aa3MXeAhvNdtgzNF9B2iVZXzACmcv1fXQOo7H2PCvIRiBn21ZeHl4Soj/1KiLpikXic5uS/9syGBZMiLJML1b9TxOT675CXc2WIqxdm56738YwERkSeTxaX3uYiVZhJr3adTgG2P3FcLGxtXOjjNX2rc1ttwveSVC/7SukyeMf8YOZXho4dAjOFq4Z2qnlCnJwBcWFIUrPyd7HGsywWUu7fUzFF3016AJJLvqOQ+Nhyk2/6l22s76zmfP0oAbp3oEqYg39n8VK494puC8jyczOSsoas4BOdIIjayeLqi/r8qUyCCMMNybvc8a16T6inpV1+P7kDdzDXiSnkjO2dfzCkky5AAIGzlP3mAvdlPX6rthjED/9snE5kjqphxrJUxW2nFodmgfPnS/mb/PR+ktM1jItrAfaahAhK3KyuXfCuLcnL29NCVSwhXswCByJ71nXfn0BrfXI4qC2X7sFcI6v1Y3Gm7KvHHECnv0T2/+bPSdt1OVgADfoM/wdtcxOMYk6JT243OZtZDD98ypU32N6WChZOA408QWc5QigEgRh960uePUADmkWdxpw7fHYdMJGoNQ5YKgUVB+oDqWlYeQ+8Jan40MpmBADkTaarNKxT0Qf53QAZVqb+ZNlCJ0R+CUCH9nexkIFzGF57Os8LHq8E9FzK3T+i16oL17DtRXJTD8IhQwmnTMtymgENYBMD8ob6WElnvyp3A1mA5/wxWlZBVKjxjxubuL1lQrK0rJXKHvM70jReU/w1O7+KbPj7ZOBXMsx2zsduvfnn8faBtFRUPhaIAg5I88/uGhwKR6ax0+EFnoXqEKCSAQ+DxgT8QZ/TR49wvxB4zOlYL+S8bqoqD+03r0dRJGi5lVgg1sSEJ4bzQhMevEi1YcLrRYBKFxUVPXOYsM8hFkERiXl9GkV204DKTyhrjTAsmebnSwCCy638gZyoJDsrTjhBF3QRBPSWFr3NOfanpJazD0bAc3M0dT3U4jeR/aiOaRuTm5PeazrosBxOIJhx/Gzd3b2u9HZpOojGh9z06u98/NQtNUZLassv7ZQq/51RZdo+4QVj81KX84uU8q0BuiBThesE6950GlMcS58KtXklK7XHm3ZhcCz/zSvUL82yJp4iQ7sbdBsW/d1Jk3qZakhr1MEt6K3xqpGqnjDfOXxK7XYgA7yU5WGX0T9Og6QBqXjFDtex9gVrwyr4edp/NBRu1cRQKR+lB/20Rz46fl20CxTRt5PEpZ3Z10NZXVOhAM763pSkwez1YkZ+MQAbRu8zqzxruOpCzNI3G7UVzD7iZqqVdxifyiMCekuQXsSZGjc4FnEJ7ERj/+/8iurmacue3o6SEs+r4nK6iRV9Pxvhli3YOnoC47K38+PmiMQNjUf1mli1luwfw9epbfw0tzQHZqWZQrd8NvUYX7ku9+GZjHRULWsEvy/BjKLSou+4nYBoGY/LgGvw6DywaXnWaiDmh86DbFqcLGbvS+4rvVlReExRyjv4Ni8iyz/FM2asdCMBl2N6t8Ndsq91kl5pGCADxmCu0cDWtNuS6suT5qGGgYHHCaIWRTXnVd7vNCSBwJXSUiO4f8JZK7zCv1J4FYQNobiAqNiyK9TwAXhVlFP/ahGNus4B/BESt8pfisVYvQnc/8YWVD/BNAj6yZm1lg3UPTx3imRQARMZVVkQvCTnfQX62Nl5ZdTq0reW48ezys7+t3PYijOjG7mfV3tDKiVdu0j6bcal4NQFxl6krziFuyj5u8iNApsDLPdfmoJvw9f+9z3t4YtyZNjfsU+fw/j3xt6QthgQbTvd0xIdQo+/+U7yzgBVjxreRjqzbXY4fDrReE8rONZ94R1C24gK9E5i1ZpSx7Q4cMkT/Q+C+D7/wF9jV5pKrtnArXf68B7eAkf351nhiZ6ozPu8TQP+N8UxDRQz06UFKiGM0RLPCVNafCRETYS+TjSJ81vYGyyt6ux9/bpgXcc5yrkIyS7ZktgnOIjI+PW4TJTyxrnbD2g6sD1BQhAy21AEIQL18pX8NUrYBK1dR1GlhLIzULqy7vVxwWONNxctJpzdrFka2x6Ji/OJ9NANo9qUm9pyeQoTSmpRcm6GPSD67qMcvAwVBI+zzq7Q9VvXYiBAjIKJu9adqEgXdiJ1JXNFuILfUXfCcrM1nXmPfUeEFHItVx5nMIvOLdaTmU0BO2hjzh0E8ggSYaq/NeiWw8ReOKlxRmqJW74rXCyQi8sL0MQVwEiSnUvJg1NBXuLPaFjF7REQMLhc2XuzBOOU4BreJfHidY4ETDOd05lJC7qSkcSEMZW9faT5cJQc73xcjYyCKiEBlOqpi9POL247Mi34GJCAW11nAxhTpBfPw1xFElcBXZ0v4DlhA7N3DSm8R7nAD0xVWz/Zk32ntZsJYHoPDrVLalS+25WiP+0d8e6MuCXYdO9k4+sg96djaQZI6Rg2sbV04W5tZXFfIe1LS0EQaApqsIcDtSxIm+Evt5mpMlcl9Lj2weY6SjoaLGdEnS5gCwB0l7Yrv7hk1F8g02Nm5VVN9Vdw20ZMzeo8m5eQfMDbChKiccaYd3FgTQNUNx7DtNem0qmp4OXWez8xckq+4qccmU+k8ZMmPcnMOYv3XRlxuv9PbhwycNkFCaNjqpqhOhavAdCwpffv71HfflWViwr6KM3KzLt5QjOVmPIsnkIE1i1UZwVDjAVrtXb0+RnVpmRFDvNsbNUU7fVrUsXlkuZwmVXNgNjXs6asGWbEDQLMctl38Miz360nheNYyxkFqvzT8amer8S0Ypzx8KLI1MY8/A/gR7vb0oBGCmYi87qoJcEA6tHZXASv2dhYQ/thFyxX0YYKnbpKazYN8hUhymScEPmzj1aRQE9w0FyU3F6LoCY6evQnkqRFC+Z4Oq11zSAKtT3/pbminknJCnCy1om30DWYyJyn9EMNYwt+bH9hXqIHm7CuoCrWEg1rPxtLQT5MMQpy92xpeXJGp4KW7h3bYXjjEPVUQpLsM8Vb2cszWWorChVYP6IArqDo9OrYYbegKRAIKTsVL/HpZX90x2IwGwCh2zySFvEJNNC1xLUqo4ni0vbohFtX9+lGkYMMQw0bPHDknZdLyja42wsJ6a29ZPOVMrspuEeWkKsjV8rcd38T9orDsqHFRTvcXuAnx3lprIXM8WZIUXq56w4Aau95VEYIWEx6lf5tzKVueBARehUBvAm9/06/5y20IEzl/NJUgnxV6ZAIe/iR19it2TWF7ovYefdu7iSagU2W802DZseTSUgLJSdUWO60WGSIA9jsCvt3Ivf/RvOVUKPIb1BBOnw8mqpbnrBf6tA7PD+FDwvgJ5JYOVWcCou8BNiRiknqxx0a8qxl8MK/cwNBaKD6X9LwanxZECTp7f7XgRDvXF6iDDepepWURsA5isfi96L5Xl31vG1OW/SnpZkYyhBZxEELVZSUf74OltYd6P34UCaXfe71d7P84/j5FuV2hO0piWAvjlNvH7BtyECvAWZjYdSG4W78G10KhbETeddhUMqdU0A+T6jEJtL/XmXRSdOPv95mRT+GsjU8RUji7GshnGTE5TF79mCl1nH/PLVV4PKrmi0FKOhfj7H0lsr4QThgACM6mHm1o1y+tf60KfuP7Hl0W/cBcJujpw2wNsqsVXPSJDQHHIuhp7xyGkDXW9fEKWV8Y7OG7IoutCzM54IMayPG6UXMSmWUh4cxL3ksmIAGnvpBs8GA/Gp2/Nd6zlPmq/ulJgQi3SVqEAQGnm3Y3e/0BvuFH9y4rk6p4DOZrj0W+iQw+lBtmMxv1chlFH+InG8iGEbfSa+tQ+lDOZyqB7jq5ErZWQdGxGlJbi+cHRoB2N+xoRcjzkfjx/KWFibHWOR8i6zwCcl/uLcOHYl5cCXovyBehkz8OlPWweDDHD4ybypToyeuvnb5rhd0wbCwD7KuPCqwK3onrbGlDtoAf7JyZfgfQfnRI1SjogFn5MR8i5G0MtqQW2axWHsgCnZ9NCUyenjC6iRNeGXKwQH7jlo9Cmx+kx7w9kvHFl+Zb77V4vF5huGmq/mdt2wJwnujyBtkbPIRM9I02s/EfDTRnxZGMP+oAtcFHXO+Ufwr8tZPNOUPBIUv5gU/vELAw9CTw2qH9zA7JXFaFcq006Zi+4/+tJUnpuihXGKbuR7+RW3E1GNECaM/qfH4wCF841jjMhz+EFW2FxjnYaQjPxD2JetdDePbpp12M5IaWAO++ITcfcRyS5SxAkGdBy8dtqDrW/eeozoW6cwCZVNw0WRG4gkhdsIRxIUcXrfIyCkZ1NUZVTnmRX6J+8L2qE5JED4J2TeB44lUQIPNGGreMFqn0KGFe2CABgTvlBLJGpiiOzwXrio0ep1tTj+9aeU+yTMFTKEThpkVQXS/q0Lz8gqRxHlzI6YOaIfP+xvauP/Es5ll4HkUzDzTdPLQuvFyPX3h+JFSkMy1UbEl6EQpovrZl0hrMuTO/lPp6F/MVyjDjOs4oyztsJnTb16t6vVSXJ3PlxKzdbY1uT4ESske0zDj06S4HdlS7oF3+xpkKHqRcP5/Vdc3afJNKetuxYdOU1F8KDMksWJkXxzxqALaqS5Db1RPuVR9Qk9/ReEW/1L4HOVGWP7LAeHm9fC5+cVaxFMiyDLmZPthpXD1L9Mua2BRl4HZHYZBaY/Mw8Eccm7vbglaCoFB2BwFx94D3bJ0GGrwMEVedBvlCpfQumk42JZhEGfFfTNOiD9qp57r9/IL+jiqt9CbJwzkbY8WrUrkgrW6rDdE0iXkg4r79IzTtDdFdsjR+2PS5NTvZJLxg8g6xGIbUpWvRBMH+TSxA1NM8o7ymnx5Hb8hHWAVdehgEvIvfXf1RR6uSnVh6wF7af9CR/KlsjJ0WYluw601hQCTCvgpVHyqrNaPVN9hN6cQEXu7TtrXJP6Lob+3j8m+Jo6YyQRfKxqs0gI5QQEJRQK2enyGY2u+9c49cirCGkaovFnvyUJnXGgKM6s/Y1/6KGUicpkz6wUxsuqcV/7UCJ9+5dOjOeB1oZthrWk+hHmwqspgcjfxaeAM5vRM0WxQGbaMLshO3c5sQa1bspIS+bidFcc7G0SaCP/gtLimLCED7WYL8lDoz1vZtdpA/mor+6iNUM5oPu+m99I34+bB4km0v5Nqh/vek94yvKlfhFmr2bNRb4kNqZ9PRt4Pd279ugJ7X7FhRNg5gaGU0lkfu40ZekV2OS0SlkXsIjZYEt4zqPyyG2qljDHvkb0DHyZmwFO2VOhHOtMUc596+M1mrkFQ/Nd48l1Reu7Ym8I15xs3tXv7+rCDigU9gn0nMLL3bbkZW5sUzeDTZ/+/UcuGYZ0HsXw5CiHURE/YgT3IZRo7l9Ngv82lq6qk32CwS0qIlyz0wSdP5csyKr0L+BTG+ZzNaDxdN8cAx5X9aNb9KfiWcJnLUy87V/W1RXMKgZO+VKcEI1pdRZnr4JKChobVOJxYTPdCh16hDogeyl75uW668+Wr+zuAgI8ZpCa6bKtrfgUJHtPvCb5PlIr/rFoi502tQcOMi8Y+Ad62C4980PBWdI7Hf3eigVlWGeXwGZJYVHKjzriAwve3uLgIP4eZb4C2re1F1Rvx4PHM5g7IvsTsE6g/l0kMv9EzKaOOoWrNBhR3SuHh7GHnmgwbbMrgd72JZRthdEvVSMKitY0ZLWSZfey8KOHlxmsWuDJnktgV7WtOqWMcWUaltGe6TiXeL8IttcapAjwYbjBfpvWUr+Vu7RJeUXjBPvzUJsiF7WElOCyLmnrPrXtmzp6x4zOKWr0EJbkHY5KN3v8FWx60nCDQcSk+9BCxvQPnhRjlUw1RHAXinbMGoUI0UR4g85Xwlf/RV6pFTVRNKzX8lLTGUo1JBBj4X2Cc1McT5VwclhSI+NlDhbfEdhRJnD+SgYElgEP45V1b1x2nKBD2Bk5Wywumxy6ug3dTeVfaRoHr1UIojAYvVIz3vSiUoDdIlN0L7bfZkgGWHo4OG9oEG8nvztJe+cD6t0/X2QKTzAgdOrz3wFLzEyhWqwNBAP4p1PstoN5atxaYGRuMZroUHyCeZYnKdMCJVcP0EZ01NHNxt7BSu4zUAWVZ3nD8C9OJP4ngtpUNEVPBSvXLWb/HHxsjgVdzPqqMNBFKA88vs19ZzLU1BPX0WgBke2+dI6ekLmxo7yJi03syGRM4nfxCeBHKhJMqG0judymXVHghyVrJJexSttg3n97T1mYvkzIJRVvV9b4umr4oMCEtKFgM882ZY9UYZ1wxcZJaJR+ITSgNds0Q40jTl+DXU7yS1Jg4+OqZKBka0A3mVJCqi8gNHMcIEItSP+GJfcAx91mh335Z1E6htiHs9hmpAyCjUMOju/4mMbW9F+nrZUGa0KVij8jgfdL73g7ZycAPm9xW2RMeq4choiaqrfmrKHXGby3cL1GbmXGwZ0UXRp+TdR/N0t7HsqKlTZY5YVFTXfbifv/RtPE/jIGn0Md0XAiBTJwx9YGrp5zq5eBlCocdk9kd6tBy2jvqM7Rp/Orr7zfL9esQe2KAhTz8HP6+PliMum2zXKxgzoAPXzQEV/aFUSgZIsjWNyZSDesrJ8OpCSfpXGzebiO8MUVsVmMkpDf5XW3z4+5XTCB6XQHnO/B5NcNig2dsgJ2DBY6wnuxj0jaJ+ZmDTzumxaP8rk3Eml4LEl3glHegsAnwyljlOYrmQw5My9KUPnIFEbo5U/A/okq4MXF4yBtwqLPDC1NrS2mzLC0h4Y2Ug/iXHxQKhtHdxx50vsNS2zAg8WzZptlSowTvT7CrFi1TLdy527Ii/cO0ZdfpTJ7n1Qe1i4o90zGd+uctDYmHy0aSYzJ+/I556sNLZ4J/U8sUMAwKlXU14qOsjOBg8EAAm34M4f/SI/kk6+KnheHZbi3WcSaZUTxLFzpR4Ygi2oHBEKwyw4NoGZZnofYark3OSYdqZVnrysEPiKM1v0121j1xOJHCHSCkrF1PgR9YExTQAx8eMakEcfnqq+xha+HLpDBlC1Zji4IlRRhjN59jtlMn5pnX4mvz37XDO1+FYH9uxrM1IeNJQa3pIlPBLqvK7exyf0Gm4Lo1yOdjQo9Dg9NUqbJJF4iQg7/kehvfHDtY5fYqXtbCWFR5e5DlvmzRZ9wsZ393AGuKzUMz9ldx6ywdZsjZ1msCXuPDWgksVn1ftcIq7K8n4NIwQSqWMw6j20FYQH7y+CuTe7TQMUqz8RYqAx07aUpf6H+lBgcR0sbxUezTepb8LsXnzomUSIZsUFdPdPcosaClejaRTizbD4VbE/nIrPupHueEBP0ghH5hb0Ir+6lokLpzGB51A6Ghn83M3aUFDh2F36hAFXOzjhV3HSBEh9PcPHwubzW9GRR0vkyEch7UjRYlP8ThiZqRRtkrXrf+2csup6CYWihGeloxkX+4wgLKdHyE7nJat2MrY4+CKlI7IWnyifeXFGNg8A5d9wvwhq4+OLdB5NUDa+qTZbmS2zGk9wgH5QMIGEnu0IiI7M6kxaFWAL+uWLOqAvo9E6GhmYCFPKF0QryxMlwdB3mUJKPVj4Cr4K1QZwb8F6mU0s0uppw1y9zrCjcMOCHrTeFzXQ8VNm3WF4iXPtIJLIqkTubR/R8siE7pueLIpEkZvCWoyyXDolFGqZ8t2vUzfXhFHYUjt/pzcHQVmjt6yPe7hpV6MbMuDiA2A1CHjexj7GP9fpErrj7P3n5JTeccLQo458tCRvtR67PdLddlwbbPzm0YinlqCAh2lH/3NHDgV26ikzL3bUtI9kuHaEnoY+g1OSGwOL0IEBU0vsENCmIt1igJH3n4Gs1H/S2bs3ZoXyPI9ruF1xOz/C35x8LY5GhvIt069wxjmIs1KlUuuYvFNTmHhT1Z6/6gW0CSkuQj6NroOux8nEvrsbvj7k6Uxdfxpqx9I2jyO2fRzAzF8RMFQI/oFN0H4XRx1cWQxA4v7DywkuQp4Wivdh+0V+SPaod4f/b7efS8HHEhA3+qSqKIAPUHEX8V7skpXsbR+LqaM8jq4HYULJNudPcNX0v/rxEKrsMcQGOikHLFd3/qGFqC6ttKnGcSw+CjSTmbT6U8rxULFXD3UD8OlZVNw0lGsehvJId96A4vrUJE0yb+s77yIitA86Ijb/H8kFm21CH/5bOJNQiv/Ek+R9Qzfv3vdMDvAcwF8+2X7hTKVSKIBAC2mQrv2+3Jbc8XCKrOCQt2CRvBsrYR9c6Mpf+8pQ0SpZoR0+bPWBfmUPzfwG8BIokobFdZPEYWg3cuyyY8S7z2S0MJ8fudPKVZTTwlfq7o0VVbqIF1WfJCWxFIlg8H9XaCicHjidryaYAAQYA8F/lty0U9iH4ppjZirjjLAAQoRTzcutj2BlCU3McFtkEdYjvbdj8mtrXhpPdJku4G/z4XYdDuL6lgx4o3qTIlWnAilpeVfjOIy4iiINmXw55Beu1BPwE2yAixR8jlRl1AXi6FJJvydYJbki5m4tHtNq+DP2iViRbbZk7zVsby5lyckCdV8ukCfdJIVFsf0YXcCypA1kNloL0WPyVCgqPfFOm1V2XdC2kMKWgGWBVR1S0E5+crcpWN7X98l3qxmCBNTq5TYvAQSks5a8MZd9iCD8qys7WvliWSL9zqNuCv2e/w5YZnir/jo6/KRmT6pm3wN40nLsfCK7h/VuT35MBm4+AB/h4+XzXgzb7M/OftM81W8bIa+bDgy+DusiJjSMI/nnJi45u8yQEPuVhT0ZTxAVB0nUSV79f3DH5zzynirxgvxmU1DKOlxnOlha3IkLVDMW8X7D8LEJKgQCi10rK5K2rLLxJIu1p0ZKb6G65EnWHF5pGiSbDkUyMMssCFy2kHRzgsC/EkrAvwvUQ6PB44dkcItbxvIRBuH9Jqn7jYbt3xFr/6D1guOl+PB8OyLSlMvYEQjLnknDRNXO0vvA/54L8aZrzVevqb4QE4FPjkppm4/zhcSXk+kIyIpqrGXiM0dkXI2SrSqvEDHtl1Qwa2hgdSijyvgpu2o0TwqOSaeij0r4/9tt2JA51K3arFMiALyduI86Bi0tlIj6h8TZHSIS/B45JEWjA1GWA6kz1e+hhRYzufDQURpPIsDHQzVKapcvovVJED2TkXzlPy66PIArnkjjWX3kklsB8Iw/1c9CtSzPprn2Dm7dUuy32N3pW/UcwBcpscjIn8owK0GLVkpJ8Gu6Tiyp8Pjwi4/AUVqiC0yUIHS+eV79j4ejVagGo1x0kBwkKDmVVV8HppNbwjjA3O/lLWBVC5KGQrMkqi8w1Ph59F6S2BaA3A1copLE7RA5FEqK6Uprj2jFljDYFKe7luIzzePJ6Q2c2f2CaaWh7ao0JQwdd0gmPzv/bxTrpbrWA/e6Xf9wyOEG2+iAig1lvfsGqxm9VkN1d13mRE1OG+3p+yBBnJ7jGu0FABEQKqeJWe3iXMgxp+GHOW4RMK7QDVL0o6zboUPRVAliETkIanj0Vl2vD3fh5Hj6kHAAWRLwVuQ+/EJUR+DYYO0wIz06A0t9wNVVgA4ZdswnDqwtaAEMi29LmU/sI+LxhwdAHJFKd9n4yonllqk11ISVyAX2soM+xvxephNjag42SVvIKDe/2GfcPzOIhoeWaLRwCTRzx+fBI0x6qk66HNl42tmAr5HEOZrV/dGyHsYuMvB/2mzBxc53S1GvmYzRm8wm3pSnQ6ZYBOHeNJ0aZYProAWiEPaU8+7OvgS4PyLXZBt1BjWTUwZdAR7pj7t7nwTav6yZW8dswEfnZFzu80f+8Rt5hrtDL1NEuhrqr3chADz8sfc6fSMTpWWpvj9cZOQ16KEotuM32xnphcItznGJIX+m29svi2ZtHfOdE44n6MiEVBr7nZlvr6NuEhmIdfEATMeaTnfeSFqn1ShvCuE/dER/F/JfgxI13qd8WTJwSXwt1RSXuJO5J06nNcmuMa2uTRGIe0d+Np/3ofZz9aesilAGk1KqYFSWBiklxegUxi6ibRZKEo8WrO8EvACRFTbYHUOQ0LLeDcvrmnwQxZp8624nwXEJCDw6KoyqsDBmWtHwifhXvVQj2EslWqjhJrkZCmxponqX0Ub0uwmErAGgWzJ2A0fl43LHNBv3bDe5f3+c8yC9PYKqz5l+pGA5SXUiyQDLzkX1X/jPXioWlxXL75cP8U8PGxzQs4HLDKkryg0ctdpLXjylDV6dIDSfjNObEaab2oL2K9Y5M9Cjwx4GvjgCi5hXsMJClhO9UIE5Mqwidxu2zQe/f6oDiW6DhBZLChtuuLCoGhs2L5KkHvB/DGVIWJpkt95jKC1qoNvBbOgbPQmk9SsLeR6PSbH71qqEdBVJ4ZKMNZCVqoXm7lcg1ODje/gIoqn2yCxUjC/+S2P4JA9NiTk/Nwman6WDoWKa3JX+/UN2jpf7tMVadWJYPDMJg7A5NMT80hOWJL9eqfBuBQuLP/H7Z8zD0D23zXM/bX9JZFzIxqPRe9iFAt0sIV9Vg4KB7nMA3LM4wwIK6Q3DgzoK/50D3tAdJasXQjF0+m/tqAcg+qqCNznwGMlaXux8Xc/Ve0BKhrL9yx3tHdixUJP+j1zksjORf720SiP/VlsYtGbjx2MKS+LmtTYSnr6yBN16wcPD3y62lgXSsR3EZOY+RbvooY2vsLcB8gYRBMc8IH9QbvBkqi4E6vyS5ikcMSSVV3zvnPaIDveg/SgavDXiAKQQlKtbVlDy94RgnHZAQOwixWe4RqkJ1vi5AW2zz6zZM2uQkTEl5AvN9RA7M3iSHuWwVL0Fv0PCH7RKzISY3K0KgVmX4UcUBELtbi8liUL/Lp4TudcuRkS/J6AYA7ZfXIOJ6EbRTrzF5wswJyE1O8FGb4eomwKLrTIO1dPMlwTJbvJ0R+p45zFZsc8GSUtE2g+D+JqsZTsyOvUDRdB7dfh6B5mFgonpVeDnOqQNSuCxxriNHYJynDiNVU5vG/6IV8mlH2kTpKrmG/qKFD4lzhB52eds2RIc2V5Bom/RJjPWrVibseV99JZ1FwcJZ76dyB3r53FLf2UGIiEyp3eqQbHd1fRGrmw5NcMuhGTiecjE4o/Ckw/f2stZSMHs7ROOCXM1vgdZGAEr0R+rH41viF5QzZz3xPQoRSy7n2a7Yoa47YKRADdYhtvyFbRi2j0Xp54YYWmgg06hALkl7JO7IUjEjH19T6qnl+8yp9cGlIwRZ1+ZhEhQX55sBC/lHmj71T+aJYvDiaUogdXpNTYxOCLz2nFOfKGMMMTGgNVGJtjN/x0dqvcbgeX8uwF5DfVNxO9Qc3d5Wq3d4PWksnUtPQYXcqtFyreltIQuRiUwRKqBj5nkWFh+pc8/4qIXEGOi1UPKGBR/5+hhaZoKEAcMWsMq4zneuKBdiBCqRFHrG+Sfw9DBgsQam9MnLlsXEoWrPtNUkVOiBDsA+ab1ccKoW1+83g8ECVLpSBzpupG4LScMppEk5FrJNZ8+m7Gk0AVy5lcltt+0U8Bd+q/LXzzKwNULgEaLMjkhFbAGC/a960tXmRi5D2/6a4e+WD2M48SRKpnJCRd1gGrR0JZsY8OW5nBa21P8rS/fZwlBW3X8wVBhjMcOr1CBHKmUI1mrYMty0RSroxaz5MUFcHD9iMk9pj70a0cAxMBHzOb2z5Zqr3b+vD8qexLoA4TXzatisQplWWVb1jMVczoUckxPq+HfioOQnzERrXQHwe3LYwql3oNiDze5ez8xENjce4LZecOe8/+Dm1htNbHvHn5Ml0zUqdSbymFDsBGT+r0jbgCDhrkyf0BOB/O66XM33/tylSR8gHR9twM6M+vbCNlVGbRQgG/CuesBKdIyEQ/+flKl6niECGG49XZuJRJ/eD9YKR5VNCSy0HUmHfflli08mhznTf4p3oQKxQGPoM3rIt8ruYzX/b25Ci07Uov6YoN/0BGYktwfCZfefIZRzCPY1r5V5YKb2j0PKIFE54qhDa5G6ja7YtVSLYHZ4/S86j+gcSqtoyDMWlyE85+KtIW6VzWdUCVOSSEqkmYJowQRESDsc8x8co1ZN4L/Gw48TYqhe3uDsuSDTPKuKr/aaY/63mVL4UZQ4BSl0DC0P0Nag7qNVAOyK20r7ODWIQBe1baWN5I4tpsb10f5j0VU8+0wYBQVkW7s7ECDegfAUsX6PVpnRtqt57430ezPiwiVADMii6RM6JLsaW8uvtjRNXzx4eOwzQptmpJ4lAz75/TnDmB48zHspzGgv/oDx1Njcgt3eSnuQmaEHz1KpyXl+yQBNuWcfoUpykm2HxG7eNRfqVtF30vbyEYILdcvdvfcw+R0HzmwrSshUyxmQs+fEdrfiOdc2uZlIlnAKCa4frk8eJzcGGsGEK8tU6Bwv2lfNK04uPGfmg64x4f9Z0iX+zC+wlNwnl+2iSh39N5vBuooIsW8wCiIaJzsh7f6JrrmCrtle5MPntrksicrUMx01WVwCewhmoqt7FzhouZSip3XuTngvZyWkp2P2txpDnfxS0cYsTEbuwP3ocNyAMdd4Mvu6r0ziFPuaHfwm1MtEa8+qepsqNinjfA/iEKtb3+vRojn2V0JrehyBqVvGEKMSsxcBoCBKO0yI+tkiDOL7oKTNYx/29es4tn8dG5w8q1XIwvP3WHTivZucvQdXNUp9AnKhAgmkDxnPFBspcR+YyRGfy4/9OwfOA6nStAdqu/Awh7XV+k4VxkyQ9PieUCgtOAMeAO7CmUzs0vJumAhsdaT/d0afcJzh5WxyH7cbjW2hg44ts2CX05emtvyil3ssX/3hoknJno5+SsBoAM+9PpJ0Pw4rJGpFuK7915uAESqkxzbxFwHCtAZq/z3p1bV5GxsMcIKk7fWxI3UVCemGk9Xy1Fd52sX9BnSqknhiDJz17fQ+tcfhtAvoHqAWn9LEqBjxPkrOeqPSwKqSizGzxKMlM8w4ErS4f/xRr4fvoBcAkSHT0uwfIpfXzcmoDOl6oZPF78tWFYIGKa5ymtOt7D/avjB4kOhSZ91K80mt47lBWvZFJb73A5X3tLBqQBDr6lo3ZD7U3iSyN/eNqa0z3ZXsvuzMbfKQGCJSkuvQHwqtR3rm2wUP+9vfjUtRVQnwVj3y4z5P9OqtnWgbkem2qmhGk3l2q191ShQM3kQygFlpbwghltUnoPLwpcTEXPaK4+a/TrokeRWP9Lln0sQRTy4n83ebwYoez+ckcTlcF2ma7cCGB4c42ZjKVVJdyJt/wINEY02RrLst0vjjMuSwrSXY8vafA0cwsPArCRJbDvYpzVTcuIIrS6/7bDNTY4WyXaaIx5KxkXEUbwaS6hrynMlMneyvi4wIiUIJEfyw1407+UEgg+3OiCj7K68n/2bFw6ccZTVoGKJ+XLKb4kPp1W1icf6mqIEe9yxDi1oL4Efl+EVdaVP+3eYRo6iaEmfROTd0n2HZbY8KDS6LjtRzLINCbtQvnj7DDhA3RWerz35Bq7mrGLo8MrE9fjMUPZApSfi4qxYoxqlkda90QvAlm8pz2PuXy8ojkSV2LBwCtL/XRo8mZr7PKdASyN0rImfP15P69cSgWJe+31VQCQfq4YQg85SqSnHvt+pomYDI220+5W4fvQy9/4AwVcHUWbCbgrRhVa+ZrlYcnN+9H01gfY+IgVtZ0sCPi5rQrAsVtvKQpKgTpNX1OY3leyWyvLWltVxkKMohJWXLsS978REM9OjR7yxkNVxg4ZGQL3ks3IGke5vPBx5Ws5EpsZ8q0krx8UmhjEyuFV1lnMhT8ReRTifwm6RKrDd9zkCwVKvTrCG8HOeEH4z+R42fCZcgfu740D1McQcvjzi4HXSPe1tMzP1iaQUmkBypZIAhJ+AiY+JBYS2RgXyjSHfC2gn/q+81MhYCGE85tbw41A3ziQ5FHC7jwPGwMFH2xGNLg327Jk4abCpb4smcZF0Zp9yPlZbXz+AmWWnHbOn4AasnFRFN7d/UA1nDtXI4z4iC+VF7pA9XWCekZcYn/+H7jg8WUZGy8Fl8+1NUfxngKWSKLPZxNDwg6SdwIE5mxpeP4/Xc8VQqEElN/c0/L16PewFZSC72ucdcV2/+dRNLJ/bw4QncauTDnvqN40jZhrATXGfnzfOcfPd3snuP7rUKDiv3aVKvc6IN8mUeczadN8HgTJOuhwYnwKa5PvCa80g8St8i9uKx87Msox++KzKlxlEIAllzoGaX0ou7ziaj8oJORShpRHld4JQnjSzhTlnW49O9sJuuW9248Izpo2tcySa1xvdTE7ipJfatv0YDCqgfIXkJUaUYW9NxwaQGg/TfPTw7GY84MR3QcdBg09EsB/loWf8qlFiHCzMT+UN8Xpgo56SJkXBKfnqTtrV6eE9Hs51V+p6kgVzA4CWiAEzO2ZJZNJbkPgXaR4TJiNB6hMbglOwo2F3rcgq42UMA/0YDmCDYt8WaNc4arEdkRPPWTwPrX8d5eYPIuLfW9yXSXOUgXDdp7Pxh5rY3lwc2aFbwEVwKokGA5nLO36mJbKe8hGGSQ4765f9aNlL2v4E/3A6GHjneGzqgHOKCHkB9Ly+FOVSK3Xr8ry76c70sZ2/wIzpJrkGvMMwH8l6e+TYvC/EZd1MKQ0Jau2V21aYmV9UIF9HuMow50FVjCoAbS2344aCk+UTP7B7rhvVk41xGjNSgQpUkP4byGIiaBb35sCwvY4NqknKiosSQCMosArY63cpYY2U9Qvf5/prWiVE5rvQSD5+vkyS0yyvfRa6ifgRLTgYxFsPO6xB0yvnUwWSlP28roOZMHCH8HlLjJiRifq+lSY+V+kjuh8l68jaVtPMBI6vwTtEp6tyOOeHaVZ35r4VodTTxKoVL/y8Xx42Ufr4UE2KAqrm/0yqOSFErVD2QniHScxkP6qy6dgsJUqd0XeK9pAAE/xVboyGn/6GerGnTq5YS2Pn7ByEf8tIOjHVAMf3fo8SUf13FZIs4hvcy0NqbyexoF+S5eP4ITl97gRgnHY/9oWqkP3tGXnKHGhcUwetOgh5ik86/Qb3PtgkrRkF3fep4RyIXjmmw0Hlbutn+hXYzwCYCUS8qPjxYxc+uWwAKqPj1rsaTvaPbGox9JyzbUDvLxpldUr0wTd8y47NsYH3C4GZ5U3510+7Ork8yKzSb5n+1/sI0P97tF3Zkfj7KJXRiv4LyNnPJ7XYl9rYG8OxQ9TXj8cbHEwfvrSGgdVdi9qLKCop7HeKz5NTzSq2Aas8JDyMpjx4J3e4DRVOA8jVe+ffa5oMSSZ0651UcHjnjxRN2tno1HMsYr1VpkoAhzYvzHCrg6Fp1FA0pF0upXm0DYExSr3MrUWEK+/OUQxrE5qeIN/phQEunqZZ9AhxzvuGjCx4qjJZnjPj/tcAOsTDUh09y7qI6HuNc/elx39p2beZhorX9hr7OUuFRGqY7V2QGkrJ8SWyzCtuP/VDARxoDqV43LqQuYgx2QhyVGQS0B0h8mwjmh/HL+tJ7/HFke0VVrihqTCUC3ijHw3NGm+Cv6wRNNraWApDzRf3OZTTwu5MkQgIcMsoaonGMisq4K+CFOdq2gfqTMdXR39BJGtawGNEWqxshtJIe4uezya84YstoegVGWO8TrFDXgG1exb3DG+5du72SFGf32iYYwyC90v8FZr44hnDvnmtJ6+LpiMEP7BK/yGaMoPVloXWfna8y8EYg5hNDXaB/KOiNxrpgCGW++uyTOorz5lYRsEsIoBlc2oV1reBjXH27NoR+79rYOYrcy71vTK92LwhrUMoXVZH4Klq61hs0V1GahKIO1SqCiU+CfuMoUqD75/O5yV2QjyJodm+9hY3dAVsgzL1NoIpiSRi7sw5E6uup1pw2fhDhaD9lm1RZgKhvNLFwCjyQj4YabhKLg4F0nQ9P6XTNB7h5hVDIS1Q7AHbMzIO83ifna/CQsPsP5+OsEcN5mf0Oz5k/RNQzG7aCcOZcC9pFTzH58KFJ/+8jlIIKtsP5AMAM/YQoR/ootzvsTLnlzomwRJ9xnBCMatiVoh5ZcxY2HOYsonrZkOA6Ig9i/APM9Uc6uzvhSvWNRyzSwXkNZSD1218gEhruN967ztkwnCQmMtD/auPQCSZ3lDvbQqrXyoQxG4uWKHXPttUiLjE5pr+jAXva77VlgSkS8Wjsng+4BJ72fO4NqGAkLr2nWGX+Z/lQPpB9T9a5a6CJvInq/RkqNTfoXXue9QJcUR5NwNjq1cRCKbrymJbJcCtLba5E/Ik52gk4sOosVU+w+S3he/7uRfS1E/tNaazkKexvY5O4to2lY5NnEzYHhyBGg3R1m/uBXbr6c1ib+EaX1yzplmLAm6ScgJ7tGyedaJTIErU07+CDl5YJk0T8ukEFCHh/pXbpcmq5LlYab9dj4ZZbEkxzcoEvvlIBgR7GEmWKaOIsV4GDRqSO3Uyu7nrSf2kisOTpkyK2ivJSpxXYH+PIepRHy9lAf7Gc6CQOS86Dn6oFjPjtQU7aNMk+OniguBw6b37W1XjEL21fn5htpDI4haHqcgCzmT+nECnF3vRiU7hwamNq/pC1qEfeROtYh3sHD+PF7tBxXW8+FyfVx2ZAQUv9haYYJKBJ7QlQvBiSsE3tPK2WzYvyXAI6/Kt1ppr78COjPqsCTpw3iTqnMQWIVHO+d1bGTX2Let8Mof7oHdP+Sz9QdVirmruSyY11PAFYe6X+rwKZZ6ZlxHKBvAHoEuGdDWK80l9OPwDGSf/vsCwm8tSQUqq9sVEfBLrFPFivNUxpqfloJqfiLtMtb9+z0jh/IfJUlnm3wCM8ZM9RX5wDPVyHLaNLe4DgYGe1Ks6YbPkWabMgfIOdB/WywG029uALrPHDUQQhIY3fvZL2imUBkXWhOp5yriVuyDEvuPYpMFKtdtbHhsn1IK2FWY8Ucv2Bptjv2t8pjY8R1v/ddVYwUjstvYUsajc92x6Xyjf//wcpE/Ay6JvD5pZXB5z48vDfBgd0Co76xWIzRnYhc1SgDFhXr17MTLOi32px7GsbuwBN1P3wkbf8Vcoz6mLbL8LrakIjKrQbk2S2WWOu4pAWhIIrBjK8jN7TI9W9RtNyaKbfeDKS9KSvoHlWPfJJGJKfWIIelEkmBAUm1TrrFWVyacIZmwQEJ6qksg4bEFRkIpMmyNRM58Bcqm5yQ6PM5hVLxx5Nq0tYvrHzl80hNY5O7ZdK/6mjuecr7PHiUcUac93zF8dN+Wp434YnlwARCMiO5Sy4zgVE6yMnyNC46LtdU47pg2TCEdkMGPZ974ZZ9QPohkwcvJMnh2+FHgEmaFCp+o1JXdMms0G9bBLfRf2oey76aEymen1PczxNsk/dXYY86N0/yDnddabWVk7WM3HjDDc2SvpfjiazZIxNIPY5KXWfIh4lQST4HdJAm4qkp/e/9+A+F9pnk9HUJ0KQjC5BYdBPqDEDr/T8gwQd2znopaGSrBS/t0NNEP6bv7fva8oKPhlo1cfaPxuY/mrnxE6HKOLiC3EE02Ly4iCV5GZ2DAQs3XpWvn1CB8WZcVBP5nK7NrseH9ep9UuMuoZI9qrS0nods0YG1shVr/4Aa3Z4Fgy4J8T+WrO2HfujEbnCm9I6q8xt+F4zLV0poothd/li6GNWeIhd1PW6SICG1f2rTEiDPTrpFrr7YZ1FWMQE1Y2PRqfWpWTod4CmjZMGd19sukrE3/LRaUBSA8sQSgtC7hz+T2H6rMMISoazemk0MjHpMidFKYUUKNUSKMvbgQIy5MRLuvJ1GmZceP/U9PqcT0h9O/Ld7cQkXm60E1mU41fAN/1wkccMLImpijPmN2v3HSBq2ogqO6bupwLQVvnxQrS7Hw0Gsw9KLpQlcTiev5Jbc25dU4nXQuhrPqMwtuvjp8ZmZOvYxrDH5e16XXqt3hRP9MoObHvfMRvewBPpo/TSTGlGvGj+JfZr1o8nWvhe1GalTUPNdBeNtRtWRgZOViCycDdbAOF8HcideR/Abr6y0+Hz9E1pR3in2JzlNtblHv3v3yJHRP4OEqLqPhYv40gkzyrO4Ucq7w/DV/J788zJV88q574I9ZxT6t/AlET14/woqGzeYDbXHKyJhJVqf4k+getRvmKiUpyrZtjOGZgiaJ+PcZAZ9Fsz6gQJ5Cvftjtqmt0NtQSExHyqSTZ/2lJZnyJSniB6hwqmumuVkxMJFVT1grFRHwy0kKPtFM0uKuLqbzBbXlOxBKhgWyWgzMdHe0yVngAbWp1Qz7lrnIIe3VF/vJjCcHcgPHiAcgaiycHWDQTD1AwTe7M1BDCQsBCRTjoYwbvwly92F6nA8nRZ3FAKnXaLUcbU0HqeCwwhnG5f3R0RCP3vlwnWHdQumdrySpu2Qf2KORAEXk0LH7ogKQ3YZKns2GE7G1jdqrXmJuyA74Du2s0tCWidARYnj49k1DgBXuCTFHs9SHxx+Y3Q6ja7d7ezOvsi6uT9jesEi5kfaMweapARYBooqWLpwaAZfG55M7sv/OUwHUUmPiZ3OTr7RcyQhmdKx0tNsCUoTXCabrCC4Rcamd7ZclyybzCXcFZFIrHwLnHWOPFWQ//zOY8DeikR2+ym6iKO8fzt1j2IuvbGl4p/MMAG3whqYxINFTg9xwNTFZL0JSM3Od73ZP1hpn+KQzGHKIu7DyO5sqA1Yy0SjlmwtU4Z0rxLa13mrQ83oZk7pmHAHCzVezTrtYuQkaom+IoZdaD8Y+f/HzM0zAcbN3C4GqUTeFZYVLvp7n4Ux5mfRdeK1cU37RLQuzEExoCKjgaYn35Tox3KMQUO2XQsMT5yrHACHd5J0kTTlbThNTLVVO8ojQYMka7wtD/6MdM6o+0aX+77IVYTpVkbIrtS9/emC0mzorg8GkNrnFK3JCab2RrKhQP0MBxP/t4Dzf5ssI7Ty2Z74+smdWCkgkFxRIbuwlvOSrHYgn9wm6gLV3M2uO+7IBM9bZC7nUCo9qJ72Gj/TxHaj7bLmgDC62//LDFuWsdaIXxryOAM4de9Pnjm35fzhnzC7neqkZWCg/IjXLYznJ1TB7PhCIghsTm8NvOlKdW6A+2pKHa6AYDZbj+19QacnaHF4BdayC1zHY8cvwUnkPhqmzN1FXReAttmdvEVw0u97uNkG4SjWpWudgEuZpVrcwvMt5obc0XNi4wZUWMCjSmU3b1lTXApydn28wMoCwNulT9gyf3Z5q70IVnfyrqEaB0WYF59gjvBO/HFGDi7n0A/OJwSmkEJLPFnLD1sRgVaOCyP7UCegHjLXP5cnup6VKXWBlm+VGz+bTO5f9bWpWMI7HkvtrviXwwC8Lsfo+OkUqj2WWSTGo4PkQKo4IXGrWBo+DMwBr042Aih/q/MoxAs1vCSKzKfPWpGDZcNGgd7+yBbkk+KYalXaUDO/dKOweYe1At/EfxFzGL+qv8XBVhisCSijAngp/9iQ8OPJJZOzToia9Vi0suU+m2DDHi8jnRZ+ERUggg0BrPdBs6q5ssxFWKwWv/Umg+HSPHoseIQo/2SAa3jc9lPNdJYtnXlA0fHIyARTn+gM2UIbAwc939KiSHWJ50876m+Wgj1SBkCR7i4k5ZPFrkkTTIbmyLoSuUrWDfsKiV8efNY8nkoc0GsZDvRgFCPJ1eFRZ0EQAlAFzki7lmFNrMEa4buu++lt5ycX8w0HYgrjl8UbWdjtDNiL9kkGzOBKUGr08v7VpagtSHiTFVRtgD6xWmLyjsac/ANMEi8Q31UxEtLf03yy5wDFtm5z86syksZlRJ8Wv5UcEDk/30gLsrTm9R7WJCYBiL1zHt1ln4NZnDqniLUYccEh3XDv0KxllZB6pu+nGi5fNqLT4REU+vL/6s3YV5JcrnCnNDe9h2rcXYitxXXZXEvzVf7X/Ly4atUmV1+ZIbljVGC0B3g+Q+sx6J84muuQABUvl6dKRv+uoAoSPJH582k7J1scGdoYooG1NvfnaxxRD2Uw7HdS6/YmlZB99rIAMeRAfhNWxQO/aGNLCs9s/VnGaIKQtZWmM2kttkN8sL4gWo5xKCdS87fHEXfzELHthF0MJMOlO6j6GpuglJ/Do6LYp+JwA973FD7RUBEpfRiyGcRLrxZLAlXOXH+lEruKbqXd42tp9xjJ3+SzEVA90W4SP7XRjd9Cyde3KxNQ/IKmBPQWZqtuP7BX1vZsl9l1HtPm+OmliSaYP/csejpoLdYh9EhuMBs7iDLEh+fAvlIlDaT9LnNnx75UZ0d8tTnrZ7soXwhI5/cdurF/tm+gKIVxIjAcHkCWsFtmTXrJcQZHu/VHrmHx4Mw6cDb2jlqrGNp0Sp01lYKRcaC6csUEG9K/raMwIM4m8i0ZZBym63MVhl0EjYi6/BWeLRifTy+CwM4ImSFcLc0zZoP//LhXycMv1MDsiKaaMXfRAhfGhVE45XvhEZKzPYiGgsYljEXf5PuvGAj8r6DXP3dVIp3QYXwL42+Bar4EEmJqM7KrRzlLUAWYmRrvi6T4TqQ7Vx+ZOM+cbgUsWEwb48FmEkrzV8te8+NKmYKWMeRvmE25P3iv3Ioqu9R7glJQCbGbsU/e+cpa0kGS4438Gs5nWFJTM6f8LOMD+K6wMgKcdZBLreYFtDrNPJK/3EAXi7wj9cFPQ+1B5ykrgWeMSSfKfW3/fBaY0d4MLz/DK8X4Orj14uvV2muVP52OdNsSB3Vv+PzgWL4ZUg7ey97Eptk4ymrSBhYn3EShBPk70Fs1a61AcDf9DhWG8bs1NC8sBx18bsTuOYu1biAedl5Ey6+CKHb8hd1qIT0px5qVIZ9Sa22IM5na9khIuS4bbNh/0KmFsHFPeiE7TuyCJ4DUJMPvpw8ApPhUdgempOqAhT1LkopI7zE+u4Vo6tzr16/8+rGMpRQFavZ7GHyFWyQyyBPjWOvYvm1i2u0kIjL4cUzlXaDctoVdTtYmCbzObj5mP1wETt0G4rafHvsUEEZt2vtpUI2uxFWipyHl6jIKq0rMTi/aFskuIzuf6CA8Addji6KWr6hisd57TAMYIijmX5NyFl0jHn8oFSAYFDcfs+aW3nWtDk8Ns+MqjDBvfOGxVy4UVw1x+u5SWdKnmMz/vmqTPVvAplpOIstISJ1Tc7RQEnErIDIGqrw8/5Yxgpkwr2S5zb/v8TVsL05PbKvtlKqi5ebAY9047/OskemYKKHZ0xJaXhvVvTvPBZtLmL78IUkX0sz/e1voTxWCZGwyrFWm0LxYPyRf4aoBP1rSRufw/CC8oz7S7FfPC2/zHttobO4MA2SkSJJtXZo7T8GgKSIK3XPm25Um0O3wntH01jPh5C0N11pp5xGQXHMFSQtAYN+LSKcC76JYwk6sORSDfr8wvRVLsqpX6A6oVBhA3wBMTK5Zsk1dBKe4lGrP/hX3rtg+rFKRAO3rYse+oF5YtE1TgnGruZdjvSg+N77W2l5vr3V4rP6kcm2mqTLiLjydIunEk3TjPaAlOsJs7ZI1BfOhiMqOprwMgaKWQ/buETUgy+d+vhchFkLOrodfZADWsJTM1H4vXYaI2jzV54FL4KnyR32pgPE4hBmpbpvuILHzslneMXbK3Biz4Ij8LcDysBDeYjXdYklMTsIJNoj+hbcgkDSF7xnjiqSkYnmAoMi3r6hVGZfrvyBmJCYKuCRN6wqGx7pfBGcL7KHXFKwogkWh3Ztd8GR4t+H3v2XrT/EHMcwt9L7cRA2fEBuFlsPtk/yPcZ7rewtWxfWHxVZHkAMYNzsZpKhAf5SL8JgpeyPEfE66gMeRUfbToA3iJSqRcYISqeO8Thl5YIb6j+U4m6HClHIHsWv5y8b+bOn/5uADbutiIA1yuTvU2d0ogZoNtVY9w/YaD3sGsJw387zawkkqa37DZSWpqSZkTJcKXWttjRde9tYSb/mf8v95ia3IJ/2MH+DZYKMlKEdpVHk5ullgMiQy/mFGO2pkrk10BSHckmceH/1vDR+RHe32iZE6vIf6r4tJgEcytAdIFNLokFvNR8wZJ8wKsMXLucB4MgTCKE+a8mPFCYoeiuO2PMZF7ofTC+ONB3ejV7PCcXYDmpQnIMiDy+2VjjZxJ/IN4yH7YzySr8xAcef5yf6FAvuslZHf99YCZtqzoGKw/4njTrQORU3UPQoxDg9xL5cVlhHy6wDTDY8s564NsnYnEFHyWKkvmzWfWqOiomTidMpzJve3R/UDu+8Z3dVIPgsUDwETLlkJKBiDDIkaPpPQH3Bo16+fpPfH7Ghx+9P+6Fbeau3JZSNVBr2bhN1t5XHK9drInBkU1Ou21yx6QnzB8ml+ViJnzm2h17Gt5BP1KIkeuePwjjxyz4kpVX2GncP+zAvj6BIzgN8Mpp98Kp4WbD46WkFIqLpnsQUEDiVdQ1h6YR98gElClneqPG1bZvYReCDxKfqQ9A8ADeDyEnxb9LrSeC1dg2P3refA00DpEckbPd7QPtC03AlPVstGP7tICcCGPi/pCnp6yKfdh/DI6YgUJBp0oTP+FgLBd3tiIakRfhf+yrtgFVcNwFIgim9GWqKCEBM3/5xJcLEpCel3A3hz4yiJ8hJB2v/kBhiKFp4nKfgTwOiXkwNu8yWKfJeqhHttr9f574vNrvtpfPkpbac1H7KjEK2BHHpIgpAqq6XRMYaGBgAwYvMIUY0zqNR6GYw5ss6jshFO9erF9BCFl1YbTkuLPjZGo6DPA+s4KRpn3j+Mj4U7LK/RbAdPfmrl0pTfMFc/gmquAONDm6INOil7FQQabpBPTItuUd/Ma2CByhDOz5+UHk6+/XHaQCrnWNu55gl9+W45KB8GbVs+WJkxn0TyZBMIUGITt5Q2z6JtE+fwbfkYxoQ5PHcg7swis2NR/EbKN/vMCE1Gw2GEkIR0GpY39wYCYneqtoZvYx4S508h84E5r/GS7SPdBRgrFQoGa0MsmQw7ZhdXGnlLxahgDlDTUavVXsWuU0yFlOma4HRfOamR37wKs3fFbY9KlgpgMp7gCPNMSUURlZyl2knecgcRJ5N0ezYDIkPy8vlLslvWbovo2oOXWkUZlMc3N1wuGi5dYrFuw4qrZ0yO7qYS59EkHwpkH8VupknHwtw64dWSJIcqAZpEBK+H1OLy9RoNQ8yKwrb5lDxu5+nh2qCufKssRXlGj0Gxz/s07LMb2TTf07W2e40e53BMqFzNIRjpyddc1X+HkrFlI8vuwgkfQw6LAnKnp+vWfQFfsz2h3MvtsbnUY7MfCB4anQosVSg98QbVT6AZHXTM65Mz8CZNl2Gy9l4lc7icer/aKzJ2kbKmLxTXkf7RXREoydNa54BkBTobcCqQMCoEuy5znDXBM70EavqJUU95MXmBLAKpudFmUZsrl8VCHQINgzSjIVag2OXbwhKYlJWwZ3o8JwtdET2vEe/hvqD10C1eijVHr/5uTUHiJIbSR67bOzn/g+DguS1I25QjtbaR1TINHslK4kNqjEcRfG7Rkr40Z7nW0G1+rXzlgh6VCzoemB7wnjFW2MRkdjZzEESqupkwlNjYRUl7tLlFBrRqHK9njCp4PJ3L/MabZP7DxAtef5SCpXhGTsb6KlfTUQLfxb9TO4yfgZzAJUrIaCHO6+X9Ml74xKOtPT4CWPEpoa4PVIGpswCJPHTqEYkK2I6LYN28KknKXS9IunpeihyUQ7RBMkHJU38Twlr2Pp3Dihe2xtl9ING2KvIKDPBj3LnbC/JIQ7CYGv8GO9YZ65PsXxPcap/ZnbWzD6hKUG7zYjyZ/IuFOXKAECZD5MgyGNGlKEnjj9d0eC0K3eW86WFK+mjPjmxmA1CXtYVwzGZzmT6QGMZJB5T6VPkDIOQ/TBN1v7ibIIXkbVAquUblr7hEpGLbC2NZOfBQeEOVE5/0hDaHaQgdU/AedIGPeI/mfWBRCsAkfyQl4kCzVqGNezmZb1YfIF4kF0B2501Nq3th2dv/4suwYlR9NZKRuAn+1IQA7Ma6MTKpWb5qNki5lSvMjzzYvatDIeHtPOVmv+P34jFb95Q2oGzCt1oBn7mygaYDSZm33t6lvbwysGH7ewTaJaIB/Kqi7K13WczU4epmX4I2BlH4uqx8borEK1mEOMIgpId4in4J5WDjnLHFf9G13ZxxNVOUB2ZtvcWlW+EdRJIY+7/ACqegM0ABfp5BXbW50AyC//Qj7Ghu6VBX4CYE/4Akd3e533w93A8eCsASsfWWcyH4igurODH2ZHotW1jcCT2/3Lj7QBL0SWmWzjGa/30XRfMLv5chSvcxrYAcRNpGdX5OrhE5WL1hrFEhyL5t5j1R1csz5i94fFxMlBCjmvtE37ZCVzjFYC8SP5KqkMJTAsO0V90mDqrUpEg0+OLf2LAuPtwMUEFPifDst46Fu9/lVfGGt5vu/muv/v9hmrWD2aKaPt0WR+s/AB0JN0XnAgbdiXy0Z2Tydd8VtY7M/Ly3HdrLVQwfc40in7ABKH4efnI63/2DdhC2xByoLowQ3zgTJme2HcLqPHRo3GRAW/u29cEe+0qlwQteXawDcZbm+HSIWYenzj+RjPks66eruDgMM6Rio+r0fDIksHPnQ7hUIJULiZlmtQHsH4U8Kyj/rUY4t8+akq1oZ2yeVmARfG0xFMacW9W0EjTrFfm4ZhtIoAEC20VH5LC10tzS9MkgxmMC5hYwHCKp3P/rketQPQS+C3mZZbRnjXVi1fiY8pIM/xjrNlhpS6X1ckYFwXrC/9UDdK99h7dXXnzRPC6R5a2jS8cwT4GG8yR41sm4A6pCK4P9VD2+QhSMqnCz+Vp8j4YFWK+1ocCbFdpMATdmgstCPn+leG1XBQBEMWd+bryWNvigc5sA8YxTnMzObTpNzet7xVTFgN7SaqXvnLdkD8oUYM5g4wLjGwqkMuSYJxqdLwURVLtGErKGDdKAEUvEKuEok/KJOCfxnBUXwTJDTyU8eK70kNNmbBMJjMj8B1/3x73F6KGaKi87SyjLXoYkKi5hKsTAotkc/r4V8hMTSFl0u11ZF+N9tlg+j2Ek1cC57yaq3Ktmy9HvF630nvTGsE8wjZQlG134ilOV24wJ7GuvUsFksE5PYIUJLsUyX1wLh76AdN/5KiA38C6OqphZETMM3RsvVIbyAM9ZVArJofVHhQya6yVeFlFsizinErIEHLG/0Ki3J9KQnqiXXIsQB9H58qyteoHa0Y1pZRKo+9d70qZuor5JPWtx6xA14pR+xfLpVpUpbZIVOhZ9e7SJ0waGD/DXd1Wuq4MH074YSMS+BOU6rwdDwCMX5Jr7oqdZTwem4f0HdQ4aODSs077i4sPV+Qbl9J6aoAWjrvTE+4pXN0OG5BkuylIrwBm1HwN/Cp9aYDRLraS2WwWvzvnlS3P95o5o48Z/zSOaAvR6WZ1Ss0zk4SRZrPkY+i1Hpxo7e2TmJJ/7kjIbxU53UxvXlO4WM2GI6W2xneB9atdXrCd+erGPoYvvkseTXToruOfWIwLQaqw5CLwINvxsATx2xF8bp6DCh/o6WHNPFAITg4UGNp+iawOr8FXun10xAnC+epG0C3k3FmGLRvSY0of+MhS597svs5FP00CAdWvLZRnCYxWQgXqXGqpZEwfEqL5DX4Ofhjs9bqm6xr/h1XL1GLxd2GO5FmDdRVMIRsJ2NFb5sZ3FPhNR8/5e3IsiHJxhKyyRmhR3FIJ1dy4OBqCNNmpunWaUfWV8mUymL6vD4N/it+aP+JqgW8AN0kT5LK94eblcOtbPVAHX3kISVLO9GR85VGG1zw5C70QnCx0/x4w7vH3F6O6r0p5tP4wdYUt7l6obn/+17xo7u+u7wJ06qHK+T7vhvrBG/7bJaUGvJ8ml2nNbj4b+TrTQE9Cm4ujoma2/XTG1h9fIimu8BBCKvGMkMchC+u8CuKmfDruoN6nd717siBtASOVCbzXjv2GQGPjxcuDvO30ccpD5KbeLTZvI10V6rxxmQQEFm+RS6j2E5Ziz/+Ngou+rNp4Z+6uUCFyZIE8LDdpfVhY6QBSb3qDa7uxpVbMpLZC/Wyx1U2rfbUxT8l2qucwJrLwxTacqDLJuGO6CRhX4bcJIcsUsRK5YPc3ky3CpS8sVvupEqMkznYx+MxDmwzdlF2P7aTPuzB8v79bJ6rU0kUpGY5e9xUfebsVLvYlZBSUvWLogaj+9mQV9M/XWx6+lZtsnNDKZ+li4bYMjTD/YGMx4o3IMMxYFijLfQC/tHe4L2C48XGLNc3QdWodKwhaGOScONVeekOklgf1JDMB6zGx2dPkh69E5V9GB5hZg6u3MAYSyMkghSRuoNEzZjkZOWVgb3BJkAtBlQ3+KEIjf47/IhUYn+LP2WklMhqjfypDrhkQkwQHTBcqmoPtIlQ3U0Ru/FHLiLMZGaGf7u4NqW6A+OcGJL1pIlqpfIa+uWeZ3GjZE58zHk/5FYZB5NeCdWdev/B2G8Y5t9VqBYUpo0Qu4i/w/0/jFB56iFrcB0lGlSq/aHlA40zCKhCPAEtk4ZLEG8AdumgqSgtFloPoiQmnY9nW80q+EHeOxNHM0KsOxiV8RaqOo+FCXbILdat4uekbwgV0DHANmxjPN6TaEgGnr3XqjNV252D4QQY/Q/AYUXXc+zb2vFDtv4iz1zErNFpz00ntCYsiTjv7+5cjhiuLNQu4HtU7xsH75aj9G92mlorbag8A6TcuO2Rhky95e9zMie96Inf2VdDs0ngs8Vd0eYnPIHwsxLu06SH+ealTVr0n1Fz2oKZDDBUYSjKQL5qL/CZDW+hJcOM4IKAVDaBTu/CAhTlz00+rQ+CTksdpLWn2OdqCszWjuyAJRPnF4gCBsnbnypL2Yl97Bbkc4+EHi6nGSB6c0RtH9lohUA7D/lCqh79jLpuKoj0+MAtfVaN3AVDkmVGG/HGVWmvPV1MUg0wv+LmiXyoB6gX6ux49rMMdBNR0Jc9BKYJBb1+JId4sInkfneTX7RUn9ktdTDJaUN+9HYlG/2BNxNmA84WckVBVtmTt5J9/CXm7swULqGAHJWyFfu4GyKK9t1BdIG3ohfSJA5wVdKrT43K9I6j/JGCJ2CcKMLqBq8u+k3anr8CYrTVLQyRO+o1xAOIAMJ/al+8p5JhQ3e0Z8cb8ukJfeU3wix6hfYE0iaOh53Msc5a8JZAedXEszAMaut6/FUREbGrC0H81RgCcjkx8KSFUmEbH/UbW0bDOrOdbSGDAOIgxiOE7pY18wHpTt6XkJ/GosZr4BbOQofsNPIOquoOzNlcP81tMeenNY3QNF5OOo81uThB+ecLESK8OrP14K5WJHsscvi+stW3hm9b1XcsNtfhhl2kuhKntntXhOpLQglR3tj+FhnApkftRm4AMhDjEdOvB2g9UCOfTmSw5N6+44ucKS1AKGYqaN5LrxOSHYTiB7ZvIUzWh+tdc8r8pf4fdNFsQ512QFMPv7qtodS0GOww1+vvQ+/iAf3sjNbloHBJGxWw95u+kUmAvHUal6+zjH7IaR4Vs7+Iq6fKZ3UDPGmrApcsHp/M6c5kGjHS1Keo6Lk1knmWLzdVQY0x7xVd9mL2X4oxwq6Y0v4wbmvf2hR+TvczknzvU7C+Gi+jXhahyDyPhqrX9XUDOo5Rs5vi/Mh7Puam0NR3ToTKmKx20fKVnKPhxfTP2MoufrRu+4LzEpt+22g8PysIkuQlgfaB/Bc/ZsiBwsenTteN5sR4kwyy9GPYZYstsq7Uu5wfO9+cjAXnVqYxe09dxwZib83ei7VYoGeeVocEBjsy2EbAC3VftmNnFYQpJvv2KUWAyhaekR/yYDZNIix+0kGL8C0RiRJEZLPk6a/9RSrMbJ+nMVmoTH3IkrzskEQ2M/GXtCgBHwrUR0t/QozugHdOGivqSY63C4Z9iC5SJNVply+833ceWYgV7sHiF5y4rg2OUuXu5eYuK+qCqkUsAO7JrKwlC18itwJ5h+r48Ki0Tm1JuKTndaTXojQp2x9ZwfkGaKiTevbSvkuS1khN2pXAO/NOZ2JJxZDE3D/7Cw14l0arTr5/lLbNaN7ZFUNGFBFK1g8fUdeebUFlHex7X/HYAtCfZGqsP6XWeQad2eLceUEwFz4j8jXOWs3oyCdDrGnPyzC4yQryOr3B4bErOntBFGWIB5ksmZR84Q2jNaf97F/05keof44IVufWf4EoXQI+7vU2lwCFAlEzxOL3gk32KMuqqgdH42Hd9vQZ8N1EUdRt5GwhFRI7IgC+c6/G9m4MwHvtwPrfk8T96OWGvU+DTbwKpTwIr2O+wSJE4cJCD59Ux9fgKxUQo71pMuYOjZWjZfF4+M1Nfjuphhibd+2eZFCl2SHYQgcbQVCqcr8Mz2kibpedswbBDnW11STHXOQPLvaoKgp5Krab95RYfqfu/l6AW1ndyQtG6XkdH/ojY6KpMOQL/Pm+sOnm534986tD5HBEpyboKoujmEox//KDIruzoB4bcwN1mojWxPRf7uo51JOachiNeqZzjcdDLtfdqSb80+MgsW6MdKMYCGwtmCyeH0+wHuR7si142yNTMDwei16ZiOshXoEkV/Uiqv1npoYTS+E2Jko9JFYPnooK2eCCnTH+AZCQf7+aaPahu/sIdgOGxgntVDpBhWEISbjBcQ7Yev5YiVrexIz/8ThQ37WPM2zcQWhnVj9DRbYvKpq9kUBuGQGiXjfuydXEiF7W1PDgT+0VYgCzcJ+ilaHdBrvprZ0x4hRVEKsbmP5QcAzRWj1zUwAGWaKgKRnE9wJWxB5MM4nGr+H6nchSm959636/w/gBgwV8oH3oEeOOoDiAIHy0ycdEyH4eSvGou76FwPLkvZBJT4xoRQhAVqf1vQcCTft9ED+wTCB5/V9wDr+QvvTd+wsdXJgDxHpq0WuaBHLxqhs12IaURhRXG6xeoVrJ8iohTKyDRO2b2yRBEh6Y7CFJq26zeCCo1ga9+OdmjJZ5OyTLc5E5j7zORh5Rag9+duymkMaE8vFe2Ddhj1qaeQueo2JjFdDQ6D/0cul7vGLkNdsaz4cqh70HnCFn7SB0sx9CAq9FzAypgXCVZ8DdwqI0ZtqqYl/dB//sfHglgodWjFWz4OWHol3VhdlZY5cuLQZjxKawnpHh7mYcZtKCOcRKcZiNCXCCtXRaA4x77DkhN4TrGIFNOdsP5Ca0CsVSExwUnz0agkJJ3sEmB1kNS+h5deQIW0Rnmpq3NmHm+YxaQCASYpSl301kmSmvNSajdISy2B9TASn+K00Yd2sqnVVu8CEHmkKvXaekPuh0qG7aGvl59fq33shNcg2rCOUGGOLQqftIrlL1JuXmnYTpCABBMK2KPTcm2HbDaNuoWkz4ZgMmazF0VgWTSOSW4st+XxaZt0o4ZTz1KFphFOZjJ4hjov9VQLyp7lindWZcGZALJxAx5z6yV5JIi66RBq61VkFuKGuf7acVR1Ca8S6/TMxrI3jVtCmR8wsJ9kB9PNgGefjxGf1w7Avss27DbGoLHUnZoMgPUyAHp67OCOJVUb2GxWWqwlZ3tU6aEkUhm9ulESEQFco+/dkxFgAQrvfI+hhehVzCtOZbCuOPJrM425ZHkiRIzysnQ5rte9QozLtUqj3CqEtMwmMhJqbv39nwKGYOMDfYsQaTs0d6Lb30x3oWKHtbVAG4DGtro4Bn1CPRB3Tk+I+vMnRmP8cJL/xxefo6nC8sP0s0SBFypw8gcpuUGKiNz1z7CMs73+mLdQSxwWHJUsVU7ecuvIG1CoTZsyYQL7vjrYaLtjNcO4OyUsnmAIVRMaoJIlD8LcUhEzAeBySHd0I8znx1tLeDq0JLil5af2rI/THuiEwTD0+xXRSyyNmzEvg249M8GIfLghzfNb9gZ4sXXSn2P55zf+UcaOQ93pDi5nGDNsmjXOjcz/lBXNfpHsef6Mc47d7LerrzNf632flF9j1mvqUzxhUxSLbzL64RGKc1nnA9indn6hHIKfnCbWDP5Qi+8i4JbfqYDacRTA35ikDLD98tgCpgZWgZe3NoUpBxDeqjTUcyl38Dz5+vlUlSxu/3gMAw3IYqxpMgqsQppcqTwJgBrxznd2zw7qTnRC8PaWfwt7PPuqgKbxfSHjViwApvXrZAQeXqOdTIE+kbXXaPsyRgJ5HOiDlWBGo/xdAylCZd6m+ErDPgs+BSf/qH9fOcvcy8SwB+/5Iz17DqWZbnOuDjcDqU/dDmMV8bTFgBTg3ktTjEWSlHn2FtDIa+vtXKbRPsXzDXxdY4FJvbFT3IaqmqoQhidKjA+glhL+Mug1tHujOm5BfRpPfYOC7HFfYbAECz4bE5SmhQfw0VbcG1B++EAUMjnpBPnkmo9FboVB79V5KXIHZkRaKdHdMvF1uepC0jRFJExRKzDU9fDDA2Kqow5Rggji0vsJKnFVFbsxmvc8unzBrjYgjlkuZ3idS1iCNh5eexZBnger2NT2/weuOrn/IkNb8y/36U97hLUXOyc1/MX4ybPbyeUWe6zmcOSK3jv40bnFhjKalnb9/7dnUa+SEv6UvOP5qjhpFgBTU1gItH4ZkvrFks9vFm0QtvYrCsXiAxkH1t890sxk8ZkDSs7koDXNenclZGBR8WX86/25U26Bn7e0emHl5kjDQNmDnRE9iZOmYEM53F4u614bBoaeGO9kttuzBuRp4IWrwsuBGDTjr69WdXx8agm7iIgq8wNnZWVKoLMCnQKcI+J1E/cjF1+2Bds/HH/zlGmlJKg5DojJ/Br/OFTcB8EA22cPfVPWjArDAB74EQFp2uNTmMIBvK0wIYHoeAFVNiZxVkCdyHxn/7DDC+vZe7le7PoajXuM43YeHJtPkqUS5H1X51aUMlSZ65OOGMztsCkLrAlTwIuvB6lntahVaryG7/reYkrGHdrNigWkw8T/k99MJutqyNwpkwWCTKlF5bIJmyq/d6tdVrF9t24sWdx/G9gGF3uBxzl+KMvs27UB5nlzOSytYd2FiHHf5WN1X82zZKHY8qtHH/x453QIxoUEj2e6EdWr2KW/nEFoCI4qgwonB2FzlaURTWbPN+ZBsXHYYSitupuSgl1tRVmrn4e85sTzggTZ2ttAxBbZzqx6REypmpmBvtB+z5Lla5d3RviDxgS8hZ41MyHT49/oOwHfcftsJRQYKVszXeNV5beHuR2MGp9LrRyqF8munlbYbKlEdUG4knBnqQKinewaxgIqvB7vRxuQOAvWIXewU0r9t+iYgsQ5OzAl+r4WbM4H+6YwIEi///m1+0AgGyUE5sRaqh5YIHXopYEvO4JnttFnJ4hbbXjxUR9C9oHKKLnJwxcTWSRF6k/Bru7zc504ZRbAA0Re5S18MVlxRT9cv52KwFhPzLM7ACux5IjJSF98ooOF+QJGV+10gSI5lbia9Oc/nbV68lC9rJMFHjSFsHHQYWCDVGF4QxumGTuChn2euV6FdMOfrT9gKk1bXZS1mDVMTVqNBM5LVScYs9BQa7DpVIjKzXiVd1b7V/Ggc3hHc16buTcghgmL3W+Yl0ar1Uo6Ho/DmQieITGo5DOebN40fDkmbjwviOagLKMmWIMFTz79oOccZoUphaacB6gw1++ZUqoVN1Iat8l6F60wyIDTmlmW8pEFFiSn3tUkYiecT6XWfeymvyd06P+rwFObdHvrnU5LNsXSJCF6KCR4zTpM4l/u8+YTWaNf2N/q6ulGaZ12jY9x1S653ZpjP6zNGkVl8eRVdr0yWAeMV9pm+gEYi6pGJRy2AC6NGcVUnPTaHz2aPZXXoJxGIW9f7e/5Hntpe8fwMhusR+pZNMKOdNRzlilhnBdprPK/ZoczUnvB8+O78noRVS8Zm7DEsfkBLiQ8UXeqkfNypUXvtrajR+wRjn1f56nCWiltXtkD0Eqv8zEBkAgzdePYK7z1s6i7WA2ZKAD9pGvcuM2e9kAwEc6VSwD2w5SPcmhHkRChrHQS1JUMf2fqZTArlBKLFEDo8QOynjaTCI6rD/t2gEJEafaQZGN9ulBZM9xZuYumKCSsMjl1vrGHDoZV83GahhCqmhUOegzZSe8JWor4yEDnLj9+9GGh9a/rExPDgNw/875nza0YOwkJuKUTvjRcN9r6mwnaaAo1nEkG2u3fUaw9N9k+9lTMIKeQWXDGQaZ6dEsn7BT+ePy+kTpFBDZoO0OL0XXTZaujcuxe0LISVLpagN3+qSZzEPFOlIiUdU0+op7jFbc4wM+eHup+8CBbWJYLeuju1WG3XzC3U3N4g17AfBj00sDbUgSnMKo1gWWMPYLlC6OznKSll7t3HjPm4JDyLUbJFoHLzOkzuMQf2yMdjrBORAxwwq++9Zrz21wPceHLL+E4TNZkxe/RYvYEtaZkP2Z5pXh7rdFJxIh6w5c9WuR0PeMFr75a6cuJwQ4AZnyA4rnZuGZcV3RgzXXUgGiE1KR5LDnVo7CwiByPR062a6+mYIkVT3/mllIopkSE8QOiFqP1hxl1XuU1b8Iu9VkCgASeEnWnrjId3WZVuEICi1H5Vn4w8EGdAquwVD4sPYi9t3dtx8buHAt3cM6xe3QETyMirOA1bRyxEeRklYP4PDCa5bj+g7grjK0zMWfGcmUiw4lzQjpCQrOOUZ29uLKdL91GjS+ZuDnHCGvJ1ZYt1FFhoenoxrC7GYOLUDAN9z3bsoXM3BWz0dLAj/W5yVmlEBzrH/+BERpb5KP50tp5ByQjNmmHDTang7KAK/qdB9RtWyuyh620uPcgKEpqpwcqS/rpb4KLZcSFJaFSRDt4GZ8jGWHUXxQ3qpRTaWL0cQB0Bep5NUXljl59Kru+qDG8F0EITusna6xnyL3t7l6wGsRgBArOtAsvhTi6kSdkvaWX7rY79eHLbrA86hLAHSXLrImWszPXZ37gkJFlLD2+UKHKtLRaZjzPqjzOnx5uhKjxVykHEKrnv162umimKCHCZTrW30kXbDkExrf+zlFs6YTKejpiRCfNL/9DIg2lnno5tefeK7tGc30lM1G9VNTmIJMscMZAMl1AQ1ahWAJ97Ae79TJSjVUGEX2jVlzAzHcrrUZM7Obmdb5KW65CFipQmTvmW5619oqLGeL4GBJHwZeyc1Yuj6byTTIlL0waD9SKmvYzJZNxNOslg0P56jNPdUtCCRhEgYFn2XgLu5HuDARtps4ySkbs9xAWsj64JF4b1sISWsOZT94qz2Koab+5wOshPZbmE1Nv3/8lCtavGJ/NcsDW2lBloGmPkhEBEk8DNKp8zuAHyirLr/C6HLH0q+RyW7NQoMb5Rmx3tSZ4Ef5yVDSuNGTpjZ3CIyOVjovtQrM5tRxfX/LGKdPHIGTm1EYrgV9I2TuYu8L5wJuEZtFLQuf2xd9c64QxZ6PdeJFNNZc7BOLXsvPIl64Bi8Xm/jSSF8qr17rVcTnign3K3WqSphVhO3kXQrP5h+9C+xHKvYMQBv4k92U/d0k2mvrjyUJoVvOkgkHlYBDIY49HbUw0n5bJlYxtQzLUtO1AAIMlpXLdIrRfc2PlG6Eb9/Dw9hV807ryR3H39fOh2FVEONTtjQENoRx/3BQB6RYvJBunf6wJYym2zaz0npH3vDhhDjxAf8UiAojRwsh5qhS+YUWZ7VE0eDKXnk7S0jhNh7OaziNW09m0SV2hx9IgY9Aohc9IlhlU1H61j5jjACQCnfQAiw+ujdgHIdZtckSXfnXpLTO/tmTUk8RlSgpPGPm96SkQ9aMc2p/flMHwpbVEqkfJX3hpm1UqrIRP35TtbFlQcIKLhrPPotIewtevUJIBv6SOLf9q8yNZxkvGZkfQgZDoKhQ/oJkbmHDWAE3GC8PlCMQDmj1rL6TgdIzOHtieAzP9lKG7LSO+jFEJBaQazGBwB14Rw7sjdBYNxmUHPbWp1BZiUqb12m3Ws+jfvJi9v5VuwykgnSxhuWofGxp5QBcke54xmdIraE76ySHIqbotW4mO7xOoBGzplqUvMIK7jZ27igbOgk03xTS6X4uyeiE2WGaSmkMT09xPVaJfTbg2tRnZ5KK5HwSegSR8viyoMzyPMG+6VhA+hBqAUVUozXnGZxT1D+FQDQNaHdqOE+tBERxIcimjLfT4yNcttrT/6xn75XhfD4MtJ41shRAE3Pvmvz3AZGF2HEwsQq5rz2iGcEqecdVx1YDMxkz3I7y4EoJByIwQT4VhGkUlXcMbpuUaUox8IlUmLCcIClT9IUPMxKpLhZE7FFbjxQL9wFWHhjx4kFKZpV38zk75V3gGf17g40Q0WFF+OQHn4Z1w/pBxUbCl6xwISK8DxGk8kJh05H+jlRGLmN5XD1VuBxIoHrjr/b6Iar/efvxOia5b5AmjaSIpZ6Epx+s9qgJrsn138K7XP8UnQwqqwIk7GjXgFPuGihJJqNW5xUarmwFFCoTIzJpEd9iIhUV+ec4I8nni2DsYH9FYeuwBIzw7ToG5ouOPqk7wT2Lu8SgVo6wmu9puXAlBUA18uD7wty341ETbFX8zUjPYpV2CB0kyMHtj8wZqgWkR+iadJfGx+xoCufvClEwN2urjUB3D2Hym5I2dNzhC3cptIaXtVIE85i5aW/j26J0XGvWOObsocWRHtabb/2ckr/MF4HN2GW6skn/khcqDlS/Z55WBxn0hnTYGwsecgKt5SZYjUrdAz6Nsw/zakHNmL8LFtmc1p4S+F61yETQUftRJ8WgWeZrdEdwsKA2q1iISu9lqM3KEjV+m3+YmAl3tem3U8ey+TH8wAydCVVB5B4WT5k5xP2B6FtI0g8jjIurIGwChlCvFbDvAmFZq9d4+Q+gOW16xtHEHQ1VIAjVdHrAh10zMCaWDe1JWZ9q/YKEF0PdmVs+Z6qBRrZPEmRhCVIxUmqgHQGPUFhIBqgt/CB172GECV5LSB47iX6NSnnN2+nVHdM/T4RENhTq0kiruqxRlW8yVPwI5kAd27tTqd4k2BkLX8jA8XSG3twd8gxy8dHxxt5/pNeFCIN2doURg1gpWCP66NRdo1x0YV4BJTPQOChjkSYUxyPnzvNdDHAXNsWH+ntk4k/iVUkEsaQIzk46/MPrg1Ak6VaXD7OfVf54cSBGz0EcUZ1OFHKTz3do4hcWkjYDSF3y35DX2qvGm2m2nKtjGcTWNtTzfpqRvAV3A62T30Ld+dXP2G4vpScsCKUQb5BLkRnvUH3i7bzk9S+VWCr56Sy5469Al0IhZuiz0wIoWzBohnf8iRHsm4ABDKOMKpWtTh8wEZyRYpD4zSzUxJLzIaFhk+e4e1GfNxdFX+ODEMAkXU4jJS66oCfuP5BRdkcQ7TOV3G6xjZa3bfv9R7ZDv4EnuqYh5n3xc4dK3Y4/5D3482lckUGianWc+j/1zyfZ9Oc3ZzsSw5ousNxxZnBk8mcVReuDIRVvbrdGVmIhPNNZdqTvvUPW13ry8PW6Vhhc4YH0if87N1+/K1CL9+mgWQc38KE4lQ07KD7ueumOpnxOK47cILDntSSwmpbwnlX/bLFxc4zMTdVCy3lPVCmf9qThI3EZeFeHYkrl8Nw3Gex/DiqiyMOxS2us+rcZyNYXDA8ptiLzsq4Kyvi9Bp2GxhsoJbah2c8ERxkS2h9JrNoDwkmBYTM8tFUQ+4Fqy9qNJMM3IiPZmCRe3+HuttX/z8ko8iVlPdnQ9SMHUrLChiyEL2f0ePFUJlOGsGoKWeXn57yrpHYqNr6RZjzZhjO2VnqK0NZhDaz45ScGnYqZqy5j+FeQHErlnkpNDXm9Ef3TL68hihs7xpT6G3gwo3RbgSuUjtk16WLtUegVr/HMF4ZHKs5X7y3CG64xN0Pr++cQTc4ewgglLhzCnlO1nhjEuyOzuoLKdwiYbVj0+2IoCGxU3efVz30y0lyd+mTIVPzXxRvOkfgE+8f2npp06qnO5x5ZVKfIphzvUZrJWQQp07M84hcWwUAWSkbrgZPyzVSWTX8RiOZjIPeVqaAMkKKYKFlNa6CKSoi+FIfXD5KdvSFsBf6emZj3u1Qqo7W5L6ibOpH7z9Aw9maQUmY6o3l971wHe5ob80vhZfT6UFzLVVzP6sCrnW91XQ/OvLqX97+Yqo+oBpAQLhzVUj+G3TBwZMaj9MKrT5o+vqimbT0XhTubJA3l7AC/WiTvswdup2DUHm0+46nzeB2vrbg3ocbkuH5LCHPQYolA14REudNUfFCEauku0VvSBThVix3cjE7k30P6VI1T9dA0gLanApuB7niHbErRB9P0YnAs7u8VyCGcL9bvJTYvKrQqb0vqmKaSiXYFkokxLL/s5f25fBuaOdmRhmyLwE83PC3Iaj2d+Ygh+2GOLfWTh94HRrvrDVqMvDE3BttKre7ZiIkNB+v30AuaDI5WXF5/UuTSTVlpXOX4lAevVGoN/vQj6DcvmjtjRLQFdN/6st/OExrl17MFYsWpzpaIsPFO09x1a1j0Hd+FMb9n8C9/4CJWDZCCgLeBXE1SIU/lXEuZZZfs+brvFqkrYZPuRFXpzImnXiz3KL3/cHJZgAMc6wuRqxOa0NXVvdrwAh/jtsHn1rFISiIb/LWcBgUsy3I1z7EFj7BoBIOQ0Ehhk5NkniXfjuLHhqbPG30benRbbUtXJVJ6JfKDhJYGUAeRbu/PGjjKgMXLeKBvjZjoNAYYuL5aSPxpYmFgo++pJ68D3ShUeTXkHn53jXkVVqlbclgnpgiEYpye/vCTBnkqRAInCKmdMISFPmUOPptEMVlmV7lSeyWnG7H+w1+ASM4xBResvZ+GhOxf8JLUcmhn8EsQOJb8T9ljGoNuJMclSvdMmfz2Wu2yZkzy7LWiKIesggnNFXXAbLlOu252mGpRJeWpJz8YreRtsg04zZB2jttK/clUyTsxj3P9gmdg58fKRYHuRlK/DvfBwtM8i0t8pTV/9brC1594ujHNKrYBbTFAZfYS8CaylFTd7gul4NHHnRgfFLwPOotCy3KFMgwNzsaRpzBnaDdhBLq0SjZ/lAx8BuobxaOTU40+6i+bUb57vd3hMSYJnSIrpz0clTWsmEaCF2xg3WlkIYNFZ7wqRED2QHcCdXGpechww9JOlyxBXtSbSkHLzjwYJIxMHz5VZDogcAKxwL5KZmtMYMUg8BBSjJEtliCCF0ANoG1BCBxob03VuxlUKLIizk0tfeDjJZj5MWwSTd7USbUpnnhKhTpt0+xVWvBCJVLY05cZWz08zxi6GQaobdwMG7TZ3XF478twEy+9u33ImK1ag/x1AFKD8OKp5zBVM000DFaLU0EmijblvxAIq5LdEYogr/jtvCumeI2DPGl+BIKnmDPzSLoicX6ZN5/X/6AytRDdOxnLkA1sprIbvSGoAzkUQTFbQGD4QtpbdbiVyNQmNAVor7bBsLK/SERflGCaZLmjwOKv2FLcN8sDxcyE/0GEkt11ZFr4J96pDXmaV/cDxMoleJHM7SHUNcqqPtamcCWCzzpWVflUKBwBSDWBRgrKDU0H1D07JwnwGd25CFvE5McZXa6tOBSjQECHKiYdJL8dailhE6x9gVbP2yao7UY9szA3NfmhmJUUhl1qL/BYX6AXpfRtsG9DmIZnVO1ENhc6rqh+p/nU6abdqZtTdNUcsNVrnLSzqEVWvbWCIbH/bq6wV5D5cxt1I49qYcs9xLW49stmTHy4Eus4swXejXiCMmOBvwJ0n9YMK6xsV8nJdsTvrx7TE/6C87dQhJwZbMHruqnGQQXIjAjVC5lohEE5DkJSY6wFolInIRkbmi7WFUgtIFP/zWrkunngBDgrn8DOi4G7UyohMDh+itoPyy1bDckSWtgQeBmvbXeaI668kHQGQwV03snY7Z/8i0+VthHCrr3ptuoS9hRcJQFFb1LGmPkc/IX5vwgTd6T0GM08yndKn5wNQUXS8rjcuVydWx6Ku6vUEURfeurV244DWsEfWA2bv8wr3kZE5jpn/xx2jZbVVoR36iniSoS2TQDTFE/jOsXlemzfBOskMqjZ6V8ZDeaS2g3pf25bPT6nttLrdT0bTW/jQAI3Mm2GtGNQE7x7YUM/6osoi3MuXLB13kz8o+eL5NeZx8f2ENbt7iXO4sbjdoLSDR7MU6qfJ9QOqk5Wa73pya72HiXFDeQ0g4fWGnQyI003S9sad8jDmqEoNxt9uvEZuiDKl0r2OXuPh/1PjrP3u/pP53HyuG4l+uDRdIOpo632FRZsP/PGRlNKhjTkBTd2bsj2ylxl1YcbnaLK35KuQNAKSsxJnFKCQC0GVe5DkcKaYLWNvjckojexEm4wSMiIDzIpLoRFb25sZCR4Tnalxv5TO7WNKUulwqfx9uwHnN2t7AnVhv5KGCD2hjju8oOhfkBSIV9WjtBWh6YxUHsiCfUy1EhxyoCd9qEPBuTTvbQD/pbgyIpHrknN/NLxfPFNqzWuWaTAtQsEltgBqlv41gal+QZxQDbIq5gLehA3kc4iXATx3TYpHcHQDGLbSpE9pI78btt6FcP3+RpqvyUaVm75KKKN0bxNuAog12O6gnLnVVzR9e4Ru6DBmVXi0hcBDrZSvDdbmuobLUaotc1geGyI80vyHEQZ2hVqEYNcHzaD2SISM6tF5oIZQyFge7Pc6bVsTLzXvvwxihcVrDU9cPqd5df+1B8gxndcMrnnlzqwyGULvdM/fGaObGmvB6uiL856XsyfOG1lL/fk1btvN0C0izOZlFcSRvlRnZuHW1N3N0VqShE2CY9LEurqXheo8UmuJt/WVddXpaQtlgyNnWcCNohvT+lB59I5+yWPBKZDD5JmhIV6OxXFkGFaWmcLngCTT4WlKZEv4RpgNRmCuQx8UowDz86w7iC/akdXNHcA2bDvh8IFlhmIexNA/HdUCnX7mRq+SeeHWfTKNpEB6emCGTojKKXiMctzguXvuY8vn9ffaX92F/w+UZexqE9OgE5mUqo2PlS/sQBBkDaxCVZrJen5JAGIvVVjmVL8K1vzTOYYLKXNKeDuuFVekJ+muJR95RLWQI+rtlmaNv2rVa/udJrDp0n26syG1xH/LxErIHCzY+kKtS72+s9AzEDkNRX8h4eVpx2jWGafiL/l/ynMixyQaHTTG48nreiZCfMPReDLudOuMBqNjhptQvbd2DuW3kJEIy5i4q9eLHK8aU0+B0gsfAk6o5GJo52n/w6b5pGiKbxhyjJIrBtgUGLCrQn3rd9fxIRB4klFSd6CqAYGx+usYqmHqy0l1BE/VVNA6CP4As/r8FoMEKn+aW+37ujq7v/r/M99L2gkGtHXjViXPa4XS2zvIgJ/A69e1kSZ6G5QQuN8fpQc8ZHJ2ueNHKMQqkw75C51fS13VOR8dhWZ1ZqhqMPIKl1XSMBVqWntopuKr1DbFQU2MudFZAShU0JkxoWBAHbwYY2XKSk6iHkkLvvnbmxRdqJY2smfIMxJRNxPhemrNOzhQ4KBNMcehvQ+GMfbkucGrukqihDVykP0XyqAkV612/BXYMWhU7rf2NuMQHEAzVNrl6esAt4QryffL4yXjnyjHxo0XJe5hEECoH8SB2QTqXXnbpVlIHC+3Ctq/fOtPsoCbCkeugmKm6+43feXNtE+uvWoPyEs1kcbRhZdftmhDRqSD4D/6wXmI6p3kK3lv1UE9XHomVTsbpYpi/fdDE1UdzhHgADUUm2U5tuytwQ2aMqcEM4wyAnyM537bANWm9GFHi8uxMVEXtg5EBwZGk2eosEIWwlSH/TNNzZFaOfRAYfTrp6mddLyR9CWRdgCwhU18YFDLoAgMOWEmev0TYKkp6wMI9116Xm+FJ6C3CLJgx8yDtb7V/SebYEEMOq5M7uh1icvEqEGQzBNC8VeTs+IvPx5wv/YBmykt5qkxJFlvTHnJjCs+b9IRvTBNjV0BCm7jXCwu205FgAztkPG431ugWS6dETnbUujK3hqx8QNbphTXkA7XhpfrJxNIDC30TcFD2Gq0/xicAlCvSiygB/5F1mFUc/41GPyE/6AdTpfqqLNihqOzUnrQ8bwGzHJNUXhc2i3cfSSE/Uc0fV9NaxUK9dscXmeZw76JMR6YLxP1caIX/52eM1r3tR3wj5hGXYlzwNHjz5rEXywX5gSuz4f+Gr3S4jYtIAdabfBf13tn2XDjbdSkrL5qLlyhY2A7Nrrlej0EfXUPM+U4g+N73VpL+xxf1pJIEDilQPURU2/WCot+lGlN/Fnv9uk6Az2kM5DbhSBFLv6W6zaTDepnWFgf60bY1DPoZ+MHavUMU35kBBPaRAkDWPhLxRRG+Y+YHG49i6ihjhyS81KAMJJuabzCivP8CgHqYbcXJiuO3EkxCHWXkQbRhiBNCziYfcXtPNxtShhjsV9CcdusmD3V9ML9h/4Jw9TbABv7svhM+miq+2lJilTPHBH9NrnvKZ2zXi+/RfGW7DspoikZWg6fGUfMpzKVSaJ/zIs3JZ8GZsT9nX5zoA2yqixOao9E7UnSbC4JCY/5sNhifH27zv/RlpYKlYpQrbIdVxW5/d0vX8cNWp0bXS/m45jB57rWlEUVcH8XMpx17hbHJI37lflaYXmYZiww0TCCdQ9HizCsvqu9ToRlv2ZSpqucVZtZHk1JQ8Nzb2GmEs0VL+iMAwdT0RK/W8+3rv4SsZ+nV0XRmekYd2VfmGKT0orPrzA8yadRnTKrRMz5gwepLQgC7yHonr90RQU2s6dyP7sPHPSzyTz1AKZ6KWej3GG4DiYCnwVdpNGpk8rAsTPKssDojGPVUwLbJ+vuse+fJSZXe6XDSexWBkv0Ga+fIzzxd3axA0slT2D6py6opOpksAPJbCK1S5yjup7n1pxxdHkksxKsy2+l/URl7ifzrDva97yMOH52TVmgwuNE6YfOfIE/KaQkLassC6yPiteSqX2Vio3nJ9Vvgo5Q8oDlInx5uyg1/bcX0/ESw7oQesxBajurYYjxWp64zdjBX1qVkfPmzGqgQcbmSpn0k0tb6UOcasylLfbuqupvpeTEPWANOV3pCGLwZOeRZnWHHsbT3+h6cNop1tnXty+AfIqH6LyM+cy+W610PLQwvijI/+91rhcS5EJBJ/PQABZhSy57hLx9x4C8vC84lM9ngNDRWwi9p+5qrI1h+EXRnZ9wxIMr/rx3sfP3gspcJnAdQPsM5VUkue8ITleK3u05eP56Yh1HwZoC4Rla5nK5wymZ7N8GMB0oHRDVe5x9md5l0tfVnZLLxceGp4glJPZegOrY8vKKzh/r7ssFnsFMKFFwuv7wJmiRn9SJnfAgcHAZ894m33FMYeTVppkTQdJOAJZENWmM2oW+YkGMmDQIVGe7riWiWLFNVdj5odds1iV7QqKGCw1ezHIczStRLE7MGjM8X6gsjlyPiER9pNK4eQOqjPby+0wJiyhVLUXkIzIC/2WAXhFVitpHfZLHsr4eVBwbagzLRAvKc1dlpWXYYiQB7SXdxNmGrzegLUTN85X8iBZZJlLFcI6Ubjp4IaZI60YB7I2aLQplXYxxTBgp3x/Eq4dodhbjaZ+ChUduYIVDsHpEgdVJdi4PuP2ZNKU8dHnq+rL7UAW+y9L2udDMWjx7JDjtxWeRn6eSn4P54gj5Uc3HARsUJUfh3MmFE3KOgHSkmS7tRMxag9A+a2etTdovtzN2x1IsZSDFrStigPoO4yYO8WTe2A5s1w8D3aMRKLty72n9bYHOeuxa+y1H7Jscu5TaaO4Eo2nxDHNiN6NZpTpjw2TaUjAifVuGfIAD6fjMEzCK3xCVbF7Di56+zGUl86Sl0CA7HM3jrBd665kq84l38PybEtAQCsD987u+FrKLklvv1ar0ddolgc+tasNNefY4h9UHecIww31BAC6fXHyFKCg9Xdxr9pKVDuSokshyGGVFuTJzK7jIle4n84bzRJPPIgE2W2IRogPKiLQySky7W3ebjAYCNhO7uV2KAi80STEpaIqR9z6FqENpe+TniXiOf6JDCKtAt0iU+Lh8J7Cv8J/uvCEL1aZt1ZCmGB5k5lPubsYk7JnIuJNcygsqGAVejnoR74nHiiCJZn48+Nf8QB0adJZIoG5mNX6L2UDUnClQXvoxb/NRbt2Y4fUKqWI8misz0iQkX0jVsSRPeU5qquMpaXatI8cg2kvfoGuuNzeHbXUnbuFL4CQBiDySZcvghSZXZQ2yYXopuMAekvgcFN+Ryq/6AySA7avdHFfVLwOoGs6HJLMwutb9pqagKTbEUOvpDAylxsbZW7Nyhkgm8L0hwbiAIA81Lj9tGBliuW9u1Ce22aiW7nGXkX1JZMdNGPr6HIv9CfMIZUcMyS2n2bN1HK46HLePjDBfOZBlwl2g=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rQv2mO1593fHEOOPfNctWczFk27wvtXf5zQzjGpc8dnImRxFOqkpWje5dHEWbwuuVAuIvsuyTPARCMKSyESVPg4DJLdzueZADGtlk26pEqFUU5AMdcqyFP0106F+P1rHGxXl57stBSPbfgbDaTdA8qj58wctWedzjL0Y0gBuygkt+J421RKxEoS+5/at8eh1ayt0Xp+KHY1AQh7xdB0nLinGfr6ovNfE1mOsLMAfJC7Y48T+vnpN24g5FlrAjItq7rp5AYyX6j8E7uhjaHKdWgokAldbA74PoxvTlrOQHaxPw/VfxQA9NwayKGI2VSdFHxdIh9W56zj5CWvFrmec7Vh8xkswczcNeaxM5k/EjzH9/myQYn35oPhpwz212n1+bjOX+NIfklE2fVrL/TIX2YB4s0/8w2zOAte6/arU1XcTHT/w9V8wYZaj3ahXXzga3gmRg0QTC0pDfeSrbEKtsIVfUkniV4mLlEf4vG/wvm13lrWhwYxO5MDIcBUin5ypu/fXfRX9qjBbuiQMm4A36Vsi9Sd2Ptm+1eA9tMdJBfSULaE6PV1I4YISI3Ai9mWpfiqw5IQoMFVzzkHnT929sUGS22D3R7MEVtWgfg7xC1d3VUfQlVifnn+45znj9NzPYdTTAvVXLRJCe/vqoww15nKcJqJQSF6ka9WmFDjWGjqDxGkx5zKZZWDfgTn6Rw0sQUez3aUTswIwnLcZzoExxNLNVZzrSGyYR9RkDva2wJzojTeBsw358a4WwGe93bK8IgI24YiqWQqQouxi7MoL76btCu4JY+98D+aPMXKK5VdD/uV8ChUWRxGt6ShhDPfjCAe4fg7hiq9isOqF4Xe585SE6zOhLwmgFbgqe2kU/n8UaIB5ymIS4T0zA5dRnEE4gl0VxyHUAhk6hPKqoY5/N+hJPAvfJkIUAWs8AlM03xPDG5Hldyw3AlsEE1rohu093tiXPIZ/A16PbO/5R4Z08pTonALYPcRvkSgnUB2deUJIkBzjCLRRSEPui9fMb1k/1/FnGDOCEZrsW3G5Ruxs15zhsNsvrKzxQ5fn7Y2G86ucf7URiIHT4LRFLQ6sUm6i6bAbhXJRThyvrmWyO7rnht01nwMMqKFXB3y15XqkqPCSojG6k3kHH1QyO+GoYXUJRzlV9RE4W1YeHroLtCGhLTprcDk05wiowd3MJIY5pAg6PIJROkWbAhzbvgMyow2WS2vVkyIbnsc/htEUK3yObbKqmVJAP7YmiL65txnfQRfdHOnQd9ZDid7MTFgNh3j4pyqs6HhzMr7OCZD/uEnrQg+/49IpbxDKiMsy5C4XT/mMHs5pFUGY6kY87Lm/YWThbfOthY7x7G78U9RE1TaqgkbGIDcOyjzdIHiPEeUyXJNl/5MHhEzzWWD1x8OQKaTW9b1KsLqtthYNM5AB+yVu7686pBYIoG575SMOMEF4QB8AsjDUEhryWQjYMpXceotBRSE/BdmyX4fMssWqn9Y5wIb7NTmClBl67kH7jpeTzyiXpOPqlsRAYQEPAtrSxKmd2t2eEEPLrGHet1PGQGVXFnTgFQiXnx7irmHPK8G5/cavjLiGRvW5VNMocozBZyVPQjH2X67g1ynRxU4j5ki5fuIe5/vufq0mENlDvpR6WPd+h4yfMmIx/0le02kevIBX53uX0gAFkwxmIe3sTZCFSujsHDdTrYoxWqcFGu/b7tkeqBB4ZkiA5R5u4wWxyPN391k8TosOiQ2x9pRRtriF6Svhewd10mOtQsanLn6D6w8CuRSbGN5f5OGlU/43lMSw/1Xybkynh0U5SSKLQ2t3rFTBxTu872EjE92U47F6oPegR/Hh7pOgLJRRlegzM1J5hOkz4PgfI0jOftw7oUlN4CqwMbQL6UFp2iXdazOjkOy6VaLbQq7QdHynhXeQfiMCitpbCH0jGrIgnaK7WHTPxgb0u4NXALe0wiHV65Qp6VZc1CCnR4GQdI+jYtMabLG0DdPZaSGF8rQs0DmPimwMFhyBBD0Xzw2x60n7x7XpnbuarFEKrIYfens5Fp4IZATwHtwQjEvRpudDoh4jWhECl1oRVhOiJnbBk/Ur8E1lNk+E66Zai2H4aRAZW7/mj+iAXPZMBAtgFxiEmWHYPMuDj0DPD6MSsuCJfN8F8M++a4jcYHmWHE3xeGtVWj1E7UU3jsc9AHJLNiVdOe0bzSOPjFM1UzBSM7BhO6kpYgrmuXIpmm06ARVmVkISqgSqk4DtEm7giT8P74Gnt/vt0/DpehagA9dJGbehnDNoPSJE4VKtht1QsHKjHxHg77M5m9/qqg77EtRCJML7Qhk/XL6LzHi8U0AAtmzANc1T1GSlvXTFMzLY8ksnD/HGH4xBqQJA1bSJO9Fm/vX71wCLQ02Ciwsc/gGEkyEyiXO+BQ1x9YVB4wDkOakR743Hf5WZz+ROPyHR0XqVxYtBdhPxLYY8FimJre2UNr9SpBQ802sPpU5+EXDQ+2W9zpmS3jQiloZzE1JfcIuztiUqzHpQr964Y04XjUrtohpM7NR3lwhWSSiCnV9CWRsxS1Ruv0NJ76pOp4kJVqDyOgc0xKbZ9zjfaYa8DOOpBbb0/sRnp7alILNXN1syG16sGl/HSfpS0imYzUiMr2hXM67lhUGAyNJX2mlvChxLIFrcXDIu22XIC0MWhBdXXAapnRNE5+A4gBEEqhETtIdNIZY/0+vfp1/evtE6dem6AS9YqpXzxl6zTBDfD8cEnv0HmDW2pisC47ljLuderDaCpBZ054z8/hXGbUA8XLMXCETso56IJyqtLyWd+fdGbvCoaK+Xs6WypBZE1h6d+wm08EirMGDFBbcXnl67pEJFieSpE3ygvD8xIMOa2QulsTqYS1RRZwkxo7WJde17eVJwb5OJxMvjGhGmWwOxJxcs3cP+Ea5peJ1r0OP2YBXWHHGEGw6XkrDtUsAQrKS+kWPU7XhTNO3Rkt/KqA/HsPUA2PHwAxvorHm7hoYnZ6MNKKDWevU29XRa/BNkSlaQ4RUTqApWJ2dpmf0qf+HFbZ0RUdXvuD5d86lkFMTwTmB6ORQju02UMIDJZAGX5L6a/OABeBG3U9TeE+dBJ+6FVlRbZKwdkkSLH1KVA7yXV8ExD68nTuHn9tK6l0mQ8Zfby/D93XbvgPCuVTYkz2FvaCDTz0zv7JWiDCDO0DgnDabI2zBIFltdkhOQrH0oJZzruo7uRz+8tELlJFzlza3EJLSFh9J5PNR+DdSVnWpJ0gFXtCx4JrHV7fmZLdS/BHfuz4nRnDw8CF1NqBcQbyq+sS8NtAXYlo3ruEVEsMLb/MZNYyNsE74uF65XoTr04ufo0wQ+wo7G1U/qQSbIY0ibFLbKoSAa9T7iyV1bZslZ+4ZByS8QVneMZ+Ow2yq6jhtBOh7gPAbK4wOQdUOv3lEjwLZsfhS88SM/G8vsi/qPpFrsVSkHmfQCluQTQj4dCxUHsJ3j6DJv+OnH1fAO5Dl9/oa0LLI2Fs1/Nv7RRycvlZaEKpRlroI6Y8MscNreAHa+5zFJg3MAJdGiS58eB0lnIidJek4exBC6YjV+YbB48X1N7fy6CZwGP94YzYpDxJS6WCVdio3MD5P/UuztrnIZq7LFb62e29wzPVXQVprGQgfDNHFkKtpK+jAiimCZ2Cg+4b3TojJO8c1K09bi+uC1XA7GL5dvNPDevAaGVi20ub7C8QnVW2dNAl1I6D078A3bMc1fogxmu4JQ64VDCaeuYVlhkgt171Giyj2Fsln2J06drcGAs04YJOifvDjn4JBjal+WXiO3zjc5TJij0cL748/XxVQljXjskNWASKdpRYyF4JrJjLAsfKrTFh4oyYzPsVMoZciCE1Wi0unyAchg5yABDoXoCTgZaqM1Oz5sZQCGFJL2EVvevWoq6mTN20+Qe9Os1LAom3Q94zPGlEFtSRYdE8gLirMpCATBK7pxaDI1L2R/DqwOAC4xCFZCBLZNlAu+z3z6QrjN2Xysz+Y+savprnReCoVqKKGmSQJ4ykgFAQlNwuuH84T0p7EnXxDt5tnzoogT+FWXLxb4kb4wzmYrGWXjb1kmtivVMbI53W8iwVORfvb0ZsIjzVwIq87BrD+IyzhJ+YfPLf7BPdvqN5SRpaKxlaEBsAjs+5SCr21RceI9Wn+qvn0Dw9H7PW8kwnqikpQB8Rx2emMHIWvZ70MhY4ykENaY7+eCMMYqWran6AU8Atl7EzQokFA55NExcrIRJJZVTTTjDUpcp49j4Qwo8ItcCIj3u5URSZVSk+ek4hBKMfJk3zfL29r8hchkb7WsqKKPDrGPVQwxZNCp3UKaYoiVgSffMVKNB4ZviHnqoA4N4F6nWrzzhP6612AY1P5XNVJtrFFLrHaqamvIp2g+z7pYpzBLBbbyN8XJy7l8J68n7HSffKWEMsfIoIKVHEofro+yIFkNewPzJ1MX92duwFQNkXESGURea9UbUzojfXz4T73OkmTryKZ6KugKcfxIqFeirsnCFdeacFgMR5Bf4e6Fmj5eLx48XpwSowHa2GmHziYJt3oPXcbP9Iwt3k4uZF0kLNG4ec9d4q9Hn0HcVjXjSK04QXxYnhoeQ0APZNXq4dJhdwPEUc/fLI5uaCNS9HVs4KCSGkXqcf1XB8Nd8987otnrHykxRlVen0CNK/8wrSksdR/1TrPdQzS9p3x9d56mdMrK+gAln1GjbGTHBCGPpWdDqSSI+1uLQjMnuSrhpOyfF8fsPkkDszb/s0tLVj6y6au5bYqbI3ctF8SEpxBkooIKYY65jjIn4x0pVzYycJO6YUv0JDeUBPMUJ/oRle8vaQWKIowIedCSKs0KASnar7E9y17RKj/tqZ1CcnSi3ajOTqTxH1K3zwxmK9pYKEcpeORKS5azwGL2AKkHUZ2BMqfoeIMFaFu0ksjXSZ0hiovNj7Ml/F8gJ2L3Hxt/95JkK9LydQNil8vg6Q7mHO6NXEmJazfnfDn+8eiZq/ibf1p6AJR8CWRVzZs/PiK6DRGuVBygMfM7f+CbeEYYwyEaVpuiCV3RO9x7988Hx2gSfIqA+MrEDsevPqvEJRZ07N+ocF8YOSV+wzcRuo/t6xZfLWtZ5GpvSO4VD2ifJ8kKoL/6hPiRxAlpZs0NxhKzSPVKv3MCuwp8hvLXl8yK1xstFSrOsMPYbb5nRGMYWBHEVeKImcWlv6WyVzKkPWa+s4lrjn6zSuMzPX2BKXcV2H8469YFc4PYdC5yXO45leEINF5lTAz6dIuHu/IhR/h7d1OzS5FhMpOcTNDCDqE2QJ2doT1rxLNzDZF1gvuLMD5wFkPf0fGKFj57xCdcbF/qx/O/Wg3KM5MtIb599vTLByKaiK/aBdvH456dv042Im9cBjk2q59Jurg511GXVi0DY/raWS5XFMBmk6p850DSGHkcjOEgJrZmNjN9DBFh6rN7eFQmb93njJuoL41V3kvCRv16reQgTyAnp65q7DNHpxtlNOKXPHKNvjZ9Yop1m/mL5At9AcHeWTxY3oYWIkmLtIN2mcAgwWXT2Dnlmqd+K9OpT/OwWxGJVPffwlOvGR47UvtnlNhNf23S79uehbrV/aIsrMRfrsYaeNOA8KAEKx2r4PGsKquHQ8aDI4L6tR/mH5f18rYkdmMaFmrscQiLd9f4GhzH1f9giPK6o/2aaPyNvW/CudZ8EWQn6Vbj2AB7XuZ/YCBQdfPsSt9hOeJMzJobnOvddO0dTfs4Ugoxyv6N4aTy6Ub3YYfU2A2fDHR0ZZHVleJzmydXCZZitf303pwo9nmZQOtEPQmkfL76Bueylf4Lbzov/vUP6mKuKJL2T8SKVWaiXoMe+gdBDkHEkShDSR2+UIZz6SMvO8usosu8YlftrG2i3qnosnRIKkYq8ntMsGWVL+6ekdelvxvXYJzJ4nghL2T+4Ol2KAPldYFZ4nv1kDjp16WPGlvQdhr47xHjTf2umS1Urv1CkLk+YhVBVwMAVc4OaowtPL2MWSyQ+Dx9eFgiaDZ3ohbGgmZ5/m+r/eJHnipIYIUa2xqEvAXMagjRUOQdzNCmdcKLrA6uXHpLiXh7yyLSQRXK6VPMS9JgKW8xiSBvmvDT+ryxUPh+YEnJWcIUT9B8zlIiQ8xHriLq6VmjkKT0YfSTbL09GVSk7fHY+Ndc23x8HhNdL7QrgW665wYj4q/6tu595X0EYX4hbJbI9ayk1a3KOmQ9Y/r3jF2I/QPp/tIVYH7Ka/JBtVjdVMUtRhxQjtA2KfRhF8Xzccad0JOonXvObRWlZqfwunBG8JRAnbEQ3gALvjGz7go5uB9k2PSszVTROiABb8kzvD9uY8EyKELwy9q4WIQm1799PuVJph14jJZsBPwBugpJJVZ6jEpnsyvvkam7xxbsq4zg6KDvzWZ/cCRXDwbmL7s4Y0nX0wGWUP6jU847quccATE062JWapf4gHFPJHp/5EfvBo/40TPn+ME44CwL15wIFUEuwA5CSR5Zc3vNV8gsFJW+cbOI8d3o0BkO4jSWr7bueMtxBOkOt155810U181v6F+FkxlXK5BIBMsbIJkeU/7yGtZvgmmr+YUGbCNh4+eR+m9ek+y3GmNA1rqRSBEdQX76rwuVEKTa8eCMm9n+tM5yPptdfx5nGsMgmFLiy1qmtOVqMt106tx4kVh2mYuD0K9BgNstz8opsNzP2HHtxVbHtv+jKzAGZGQKDHdUaJ6AWV0gwmm8JvJJGPEkLjpdAMFE3fGXGpej0xQMZCu3Tjw9fPz7/bnk/ayZM5Khs2Xl3OxXyrE9zPy+Hpf5B2YE8yvHZ8GrXIyNdTA0nFx0hrVauFAsZWh0KM+JidP7jgLW8Owg3Ro4ETHuEeIxGtDRkA5SxV5pDYtwJX+R/EPLpSz5LT36NDguD3cNFqvqcCWtTs3Gzdc/SOluML/c3glk7GaeOZd7t8V0PYbezkCeRPaSbotCKD+PypPCkYdZNnCIiU3zcFMAKfjh51UEkqlX2QSW78CUdG6ELHDdtKQAc0nSwCHvTfGWvaR+YVrZWOYlMtlZOD/N06s7htYd6ZPNuL571N4MxWSnOHdbMEU1lBXwTUUwJpR3wfbZl1ndPF9jkbP7IiChy+ky1wfpSYLM+/wqxzVL4WsTdHUoHqXNieBhb723YZxcrONxsgWF+pzra5+9zC+u8ZgZTmyuxy8L//zTrnPke2xduQQqUzabIy1MCNvtgnFJy6G4QW1ap1PHn8bWJ78N9KZ3zeHbCI16FHHejUL795VYIgNA+VTW7rPaBI712j8xkhEXM/PZ6DF/CvGk4IKXQWBQ5oD4EMKOn8gFsy43J/0Sh932ms0tYhnb6a+ZXle13cEqz01eMqImgWMqYYPdsLWkUzdHu+3ZivCIJi9lYsaoPbmQrJKvlal9lrUBfC5ia40/6+qqhk2PY5oB0uYo+bz4oGKq7bElZBG7VCJ7jMaKAt5UNCu4rUFu/B5x3jmm4Nh9EGcU0FgZREo/vo3IxBhw3QaX5k/cYo4zOEhTpjV52QTyDT37X8uKPt3+YHBaaMpmFyQ7G4xzVGPhWEf9spOZRWLaj+aA2qrYw5PKpfZAFqdvldnLt0OdoIsD/dbf8AFG9uuCE9+yg+GsAdba0/8Gw3cZZg6Vy87u/sj1meLlkpjQgPdDA95jl+/xAqACE2zA54nF6tUo9ksCpai9Fkxtg5keHL+Evf5Y2G1kAyZBQyVxvcb3iWUbEzIlmxR+Syu9JQPHvSQP88+8iMzGI8ID+xScMVwYVkUiyK7BGI/AE2bkC3qvV/cxB3UthL/07fiymunSzO2QNR2BjccX6R7MavZmyltIC/cp1iELC2TqL5vEBTOpK9VwoHKlrrYHovEJewu8dxHYpVgWXgZhROobAzDVkNXKKmmYWmZFsvrEedJJ37R0YBtAXFOp8b2sAY8v3Hb1uP8tQaGvbZAa1ap+/uewu4a0QnYes2/GaCxUS86pvWdNKUZH/5O/joCnnp9CBCtdvtVgD5vGA0RZZHUh6K3JgcGVzYQQeBmXcUfE0TKGPavAz/73XNfOQPHq4he6SJdGVXj4ijfMmfDza7LhNw3+XZN0pOz+FRAuS9dOEkLqsZKYo0387zPPShQXc0mSIAuovjqbjsP6A0VJ0DU+4tXGnXtzoP2anQtk7A0py7TYAv2wutuxBKi1U6OKIZmBH690JF4YaTAevFotyt4dGoqTX6u7Nwnb+By05fq0XdU6VmHd6OfZ6WgAx1A/TJyTp6tQ8Ae4KjL+fmuPxCuzH/u/XN/aCwsMUrLPOrsQcD25DQzMGA4RqU4amyFzJGUwPR/FAM3ZoW05LMYQuwUUFUTTpe3DfbalRUu04ncHYmsmi/rHvvIuZN3CRf+VmTMCgK7RfjCxEFufy6QM1TuM4ya2YhPfrzzrr3c5Ii2pf7Fjbydj93oQGedWt9JyxGEa2dqCnD4Ch37Sb95qsWOLDNDG5H+Vdoc6C8/9x1C0wgDHXHBSX2vVFeZi0nIHyP0SEUWESaV8JWZUJjXhoM8pK9c8cE3KJbrEEG9dStR/qiK0kjgE0pVU0/2lcEj9fFlVwseda45duVzmMcNBkRR9ne6e6eAwRuQmtBTig3sJeiRCAOjUn//ptanuI9PSHVc/EGsXI/SXQMqPRCl08bF5+tr+PgGxpCWBOtPHC+nh4NIYlT4aldOmd+a3KFI+2T3zBXAI8aFc++8TR5bADCuiR+9Af28LE1gBI5GwgTBVmiTsksQx/fT0wib0oR0CFux5eGiYu/1UvsWNaUxMqrsHL2YSiIeC+GwymLJcTjdGqJO/mxdPL97cx7WzT+RdHtj/AyDsnsTiaXyJXtpOS79XNjFJS7ULR9TSkHtLFpZvr0GmdWsDpi0eBy/Br2HoxlsRvEVY6zxKTVydjNlF4n6aFMgVjWoUfEpVY+2BpFnnlV75WJae/TFuJEMYn4BZ/f5T9dvaAGr35YzFC8abiR1qTQbasv/oQ2FKE/cs4c6o539wPvFp9pzzrEO6Eiaaf0P1M9cJTN8K/QLiSp5LgJFGCx/8OXaPZGXsz7rFW+94Sh3heoe0y1TE5/EuIOzoRrPblryBR2Rg1CFzlkYL4F/LbaJcRWt19vjeWV3ru3ruSHTFHuM7yGUGvqaHFkOsWqG7Z9vLs4IbM9MXWAUNEY3n3u2aE0p6p1nmjh5i8wI61t6nxvhCpWUwAA7QuXfiVaByq3LLuDjJDzBjsHRMP4ohb3Dy6lEvA/ovBXYGEapiqphZ/4J9Vo0NsZsvvdhwvvpVzM2sUo+MJv11BnGrHeHNboIF4oDgu7GVCjEL9r9v9j9+58rzZFpPbyS9ZQiMTflJQInPFUdijjtBHeiU9LH8mFVV+49RecGr7slsg6svuKyuKI5hrfLu5XqBkLQ4Fcwqw/p7EVmnI9NOwpZadU5RszlNJIFoNwhKlnt+2UQXs1Sk55roC9xs14HSdgUh1SpM+JMzydkILclhe2qpHm+OCHOm6nunU0UrCT4wlQK/xgPJagwYajj9ogT8e+TxahqjX5njiSOsOFodJADhOT+f7EcX/GdVzbmZpH6ptO1JxvPTb47TacVH5qqYLjDS6x2ZvaFCFY5Ff0vLTk46kSJqeor7Gj3vZCDTq4tT7MbK/YXhDcGwQzxbhyGiQnFKeOxRuxwt0WqwIGw2Dl8qaAMfwDuMvt/UijQa8YkkUGkV7NqD2XY5OrVpt50SBD3xq5gDzqu3We0a66HyvhQhOf8xnFjNS+/aHFXslB5nhitK7Czun6YhWHmoCuohY2pkioL+nbmhrCaPZmPaCoglWZJ9TYebQ0eKkS/JQfp5jdomkQIPZF4mjElDJ131Wd1kkQZExBVquD5tqsAIeXyeMI1jzGGgnr5WMAj22ijbtXHjq4QzglyHXoBbNfDVP6bFQw7cdN5p8JSXvk9Dy+n9SxsYZPT8urPjy2cggamIakty1ri07rVyG5f+2FqNmRCluCT1+itlDk2I3dxcCIXftvBKTAmQ2TPEPbEDWWR566F1Na7kBwq0pN/+x9ao+9/tTZRrken1hu9e1ZQN2+MmLFGB0MFF+fv1grN03brpA/hnHB53VXpuuHzlaNphbtHkRGJV1xhJD7gyQNq87n81LCuPV/yBGQjum/sjvtLf+tLTfSGHZl4jlQIwJZ/eaLYt430zpWwsVCRPe4wG01BVglx44NRmxSnHYBS+Ldcd5xRx5Cprt+COpSSCipjcTjTUi7n4GNPvnWETOG7fD3FVITOVvIFj3AS3hQu4jUnAJMrFsLmhwUsCTUpd8ni0i3T1acxIZy2TDBLxs69EYlvAomiY083uyv+q74lAYulwocwSp6kTH4nUAG+zriwpsmhLVBzYQN1gFL5oyVG3oHC1bgavfeCw9McmV89Ev0Udo6KA5uuMCg0zWqwN1M6ZNx/TxECxgjH3Um2GQhdGaoT9vfYz/YubGcw1X/3F/ERNUsdOgscETp4PY/uMiYdy7EXxanLNaJ+g9m0zvnn5BsOf0+OnckRPsmwq/qKu9CWmpgQ1nbFLsfTOk2Jebo7Y9Vpz/IrdopZ+gwAXutZmwjXKW7W0CAgJW7dd5U/4mDfMEbw0DDemqSBK/fCP20ouihDnbUX0os/XCDHQnLVJreeIUXM45fJSb+8A+riBVgvPphMCsetCMtYEzpk6P3E6g49su6PKzaW/3KeGc3ownzO1IGBxFZ4NVCM+1FCOYS65D9rppGbkKmu5d+GtV2RV4TLKpAZ2EJSJCx2MPRVDbsfeNliEsRUYNhtCJHvzBDhQPiWUpMgPikR2VGWtmDd0u3NDqiYeWdenSiJtiBoNT2KIGjXCPKvTP3n2I3DLATMmVqsC5szeIwZMRFHwoY+xr19y0C96yTD2uG35sL9xMB3/gOnNx9sUPJt9BXScDELAjySUQs6SJdEyeBnLKZPpsPDnRxWCLDAsauwnazrGfgJHVzodNEpT6GzuPojp20vl6OyW9PZ6fweTi/sYal86TmtovMR1uWaz1vgqXZzMKqPYKugWgpZGganY59+ZRiI+wKET40EVFetY3EwJtaIp2toBydfKCzzRhAYLSSawVTZ9so4/MVSYEqV2nXqYPzD3JjWVSCH3i9mGg9HkXdTFr/19GuJgtxIvT6Lt1AYDrKf9MuC2zgvKOGeXJt0/641jAXuI+nSepD8vRrd+RO1Uh+7YDhDkfn88ZoijgqHcK9/7gcUiRga4rJTEGphaXiZ7ZU0uOsO/LJM/Ncc+nj+DJK/qm1+O5eOARqXxc+sDnGWgnRNJzTUYUTfQ8vMmH9vNU6ZWeq6SKcTUf0brTanj6FII2CVnOubxeB8z0iO40YS6HMZ5ZD1t+sn+slh05L84PvWB++9lxMzUaBzx1s1sNREKKEgmnBzQgVBtZll7CtlGfa7ghExmZVNAadHikadApZXduKrS7eqnEL7kICFyjJsQe4yybfthHubnnoZUrRXZsY4R7fnuIti4aVJZuubcJE9r+7xxdMCbi5w80ucyrO24Zy0+JcNUpcoRCCJP0MdkKSM+X9sj/9I19exj/XBgsfimXPd9o9ZHRLrUiLTyS4+Ete2Vz9hoEKqYjyqcUqUEch2FYHgsGXc2yTvh3QClJ+C4iSmSJiaTWKPx1dr4h4NLjbIC9LILG5h7LQLjZMZCyboMHOOLR6eApP12/F/+9KKnwkWZZ5lWA5G3UtKwLCuRpmJcsm1f3Ht17ooVZ1BxB3yxwXZUxYl6tvJduOWf/UzOze63rYWZ2Xyein0E/m6KkkzyLDwWnJW5NopRRbGYTY2236kMhQQAdp3U4ijw1fklsRP+UOqPZbjVezOSoV5zUIQDbvNMPkhp503eALVVNaG21xSwKqSuqFshQPiaLOXCCYvt2NxeH5UWh8rY7gKMtMzk5g2jJDgUYYvSjs1FfTYGplFwxSKpr7/7zfKHCFRdJgKUxXTQtxSxygl+a6Vrrbn53397F36348kWfhaQfL+CGe9LZrX0yzRX2pv3VJd2VwOWYb4jT7jLX8VThM2R9Tz4O8O4tLLJZb8dMIu8bEAm8Di3AGAAso55LEt7acSzP6XGumdaVLxjpnapfDRSXuDcp4tkzW3uvzPD++akj2hXDwIaOK3rRqLcXmkXMZjvuKJewF8bJ4nHktcadHL1xHCi2w2LaU1o+lnv+wbpO4jW9+XRhMkYjsXxLrWi4dBdA72D2onrHrcF2bmynlEiMlVRV2+06+NQmFVvPvcQbosVzMym7+vI+b+bDu8mhKXfnTrLswk3gTsEHCIfZqsFI9bypMMADDuFXX8VE1nP3Ml6fpwkQxsghGlu5pVR2elkkzHBFgVSzp09JhHLr8Az5EIok39Ue3VOxgLviymYlvORVBLpembTBR38Yh+MTv5K5+hza1Z9jEQ9rygAqVdaMUe3MFXKHVW/0rOQL6214YkY7MTJ3xmhcas+zwPvFAE/97lfO88GkiYTM/PiUVLFwpv6bF+O7l7T2Z3uyUaKejjw+e1FSom65JgBsIiw7BbMJjmaTd46vg3Z9xudf4Yg15Xuek2EZUJNRpf59zGHg+GL2KVtQurzEQr2aDuprylzoKJn/ud8mBWf1w/253Rlrukn8LfWPklhiy0A6sDV5z9+aYKSDvjef7rzvObw2Qp+Ws59NEkJ9K64IZoPgADM98nb+GChZTFvfggEeQr2XkwewdF2gjdX1jUDiiXZ0jWfHg3Tjc7evA0gN05+aVygsnIDVxjV0KkIktb5svJYXHg3cpzYKuA2IV7jspNOeWhl1AurXEggfnaw59xxhjX4gG7Mb8qjil4HprTvJ6sorcBJg3rqL5vgWY8F2m79iDiwZoE98ayLrGBgfC46e//4BaIAKT7u10UdvodTzZQSsAr9//iDOx0+qXpRLo6xptbZxt1Ugm5QZtoI0S0jabKqnBH6ENZdUJ3adwvi56/cZ8AXc1EWgS2qQVrcsNriKJSWPicuGujfEGskiV9SfVSpb+PtfvOpL4IiDgQWVHrpXp7XZ8V6i8tHIahwUWM/iBb0dJRIxMx1u6buZp8NHYpa83IXDpsca2vG35sfBh2HVm36VrlXKewpWABvzyvpvbfTPI8XN16HNBM7V3kSQIbY0Zvqi/bM8YSQhljKAukX2+AhS9ZzzK4K2bsPRBS4KQxtTs/SRz84AHymYUGZg7KfRzYq+0pEuJs7ih39z2kSiGRjjPN+5GZ93RRPYscmfJKR5f9Bb29vc9099KLqWurk1OzR2UdNxvooGyly/Bg0H1mwjlwKPtINaoXTq+wXL94WU4VMgHl0srlVfuvuDKiBZlUrZIeSKGIlMUYLylgY/7htQtJVTSYU0MTg9qHPc6daxsiCGqxBD1EwY1L9deTvVF5egQdy+XjLDb65PGJ2jjujJS3II6p3pbJjZ2cmaT9u95Z4cNhdXsudt1oS9rEW/5UWbmomkCfU3O1H1UB9xjtXpjYa6lwPWvaI7iQ66R3hfGRGyDps1OsdK4ykJomMdGI5YzNWaxmMhxuu8qvhmegnL5qBfdjTzERNireZKgxcjpw8kSWbZCRp13sKE9aZ04V2eUm4AKadjdd9wAeqnJvucFL6mxn8jYUducsgPtAAmLybH0C8tpA2EUfjUmwbyMnef8aoPOhULtK0ykK12dGYl43LhYlYyMD4crdlfvAqi2s4rUTiWpSM4lvDBMnkQnsdAE3IqDtrETCN2Ak5bPYY8x+yjLKRj6BFVohC4BGM/xaHVLslB8/WGuBUDPI51SbdAdQ5dTWdm0HMqaK208okUdCFtd5YUoSJ2CIqFEW/Z9KfANxc6yuTYDKbtav0qF4zpMLMc1ZiegMhPsRuUj0B80bw+0oomEH58MpBKO2K7Th/fqXUK8ySxz9ps6rlXjrzDzsfIKGmD5CRFxSIRAfRy2RsAYtPqlvM8+b5ti0R+5lzTYyUJmszhjMQGb+47zKElv0KWNt/Tsud6IdgsQC2ncjpJErvIhK8OD3j0AXrYfbJ4/zad/U8UF6d+RAZk1w5hHX2D5004OsZKaiKjYAN2NUBIVO/ONagChTmfQzu4el8CXunyjh2HlR7jmZ+XdTm3G3XUNUFLa4t2gRvo3+OkV1e/m4rTRT0MyPf20xbmK9d3IMXe3gPnNNJm0yAAvWkzhjrmrxvZlPr2Yq0CYpiHMG24ONSOEFL5TDOQPtWfDBx1GLxK/JaTzl8hV7VeSWNU6K6S8q8fQkfgyxtrmLd1MAzWtoaBXxy3eTYS/rErK6KSbzliwVD9oZM4JNLUNgMfHficVdvcasEwYiztpfpmFleGWHRrA2UZ8fCuEp8t4caZy9GtVvxDrQb/+ZKihoyolOfnPKmyqS8Vdo4JVeq32zE2CUFBj0xqE6o1Yh9UXhjeRLzvY7MNrETPCnl0Fp8fYBDIr2JSje91VNSHQjkbhSQ82AA1swIYJFnhVhG3pAJecxe0qbT49hKaq1S/ScU4R+7/KQjW2It57pK2nif7o5N5UaE2dp6haT23r9SmnBqBG/RW0Ku392ntODhNmye7nd7OTCt52HF3+21QlSRsmdQvUbwYUzvFPK0w1mpCtFax5o3131o2ZnSQu4+ZqugfynV/en/IkhDTW4q/WR4xzCHuY+KEgVbX7+22Dn++wygxK3UQDYqJf1mKNZ+FlnPP+oCKSsXjv8HHomyxkSWQAHZGNMxFECONShuzYUQ4qNACv3YDOCCIMF0d2PanjIxC00tHbxgG1lBig5MiXDMlmoTKZ4dCaLBXJ52u/tfYCZCTpG8JrSD30aJeYzrf1XojvnT9MOGOU5+7B9KILQndQtuQRPI6BKyHBFTYuRSuyNIdKuC7tgyDrAf/iSuQVehvXGtAFSx0ql4rHyd5+Fz1YGeYmdc0Atw7RYH5Pr+3eM8l8L5pqOpj8VzpdfWM6C89WFqGpeH82ULGEE4O9CElHgwU3ZaJa+SqfkYQ9cl4k8ojOhBcy7q5vdUSCVWdtjuhbV8VCIG34xfJm8TyAfNMyhR/e6l/tjEycTSfQki33kCtVqZE6ivKVsaJyjVfa93zbc2j5ELcOsuRvIQFxySm04e+FH7cNJwarpaSMrzNi67FWlAksKJQmfuIcyIswNyoQ00CVa5ieUUfWds08K2KwkN08V3IiqcHxYaNyUUxlR9wcs6QLquLSyJWp0v7LLbptNgBnGknkNGiI5gEwuZyhM+ApLx7rTMUyDoJ/dFEaHd50nXODRvoweRlJTPp2nnxHgaWskk9BA06A6umfQ86muavzEQ2tJLE11phOOAkuy01cX3db4JIoXJskzvxEykPHbL5IGIZK9T40wYxd3t74JB2krsLzieDwigmH4Q4j4LeA44GZekcusEURlEmiXgzRsB39orJttKxDVlHSMV3TTmon4agYfFEbemP7/W79s0y/3maudWEWWw6vxPWFBylFtu1ey55kEnU0a+Qc1uInlsJrjvEOCxujLiDdLCI45NDgUZGMRD/9Sd6ZfF0XbhPCfr6t/iSq6/z4UTjjdfSpYYaMPHxmw4lQhxIZWvgrd2ppANMvt3kehFAGx2AcYCk0WB/UDESyfLUKIYXEmmjnQNqpAxe6QXO3utpUf3feI5TaiNvWIjJjlm4fozwMj4PKU6H1cEEvLJuaTRaIcPlSsF/t/e3bAM4MzXOZjwWy6jlHO0jQ3olcfC7g+/xFdPo5DdeqO0yYs+UPkqjDBaH4VvV6oSgzhrKCjYvdCJKJzT4gjNLYdKFZFVDdjHWOnbC/POiR1TfsjN8n+t+gCOKKnYY2nnnvhAS4by3mvZ+elrMbDomS5M3UErziB3hBhZI2QPhIGu4Oz1B97r38xDF0aACcZklDeG8zB2mRWlGMjJPXC/QeoMbFijauNypZm30iMvCbE26ZqpT5C7Nofb061/7PY6C5uwi9zmze6Gd8/slqjhCW0ztYQHuZFwcoDUmAuTNeO8N7Q7iDuuLJX4d7CfUk4lmxhKLY+Z7R4OIZ0LXxPSpiLHm/2mnZDuKMYcS5c9IgqG4aiuvEbC+cS5pwOSa/bnAZsHbeLVsDdfV6BfqfeLpJ3RbvS3UqcZ3YG81yBx9Ecm+VpupNFsAVKiWuJKHdpG3/2bleBofNOY6Z48+ySkaBPcHzENmfe8FLNPd0o1izDh6zu4JVUl8veffylIk5hAE+fGjUHgCpFXuzHbfQnfeVsadtK+1F/KoI46TFS4LwGFLNloFURtUr2uZHiwUU1LIni4tUMmejBEmpLWOsNA45Cm1CuMbMiAspAs4iX/4urSwjSrijMNowfd//ULimylcVz5TVihvt3VmDi6zyUEvx45882xaBD/JaEegaDC/Bt9/JpRWQWsexXLGH7BK2Z7FGnlIYU8gdyZ/oSq1CwDSc3Hh2YchDH8wL0r+zwfTz7vlGPMFj95iDnvvKhXrUVv1BpdmpqsAkCFr++b3W+4R5pmHM7JwNUsph5LiUx4YVOMuIn2+KTkDtGydsS336i8p2baUNT0PC8OxbN1K5FsccFOezfAz1Z0vVM9ZpcGzNM5gXVkqemF2fqUxNzjwfZubd2ipFgCXG6TKMGxeng9dFM4nQIZRzAWKtpKoAx6vQkbmLca88k06HDUZqvqIQ+em/b8COZ3iYtVEJxk7hYBvcsT0Nby6M4ynvGHyY9FBOH0Tvv2/Kc6E7gbjsfwtLWgeMkxx5IpabFy3DIkNiXrWOgwqDN5SWljgKknEU4n/IPE/MISt77dDvEK6Z2Oi/ry3p+f87drun/2kA7a9hiLJ4C9FntnfLZsJDMxJgvYFV7RzNYKThpFHQJUHLs+m7JeGEf3R+J9b69PyzgK4712MLNMSAagH5ZZOLmGcMmYr56N0YV5h5QYMF01lt6uPuLWRoL2hGaGg/rhpzocp6GCFCJt/tViqfIIuxPufRxAu7RG3/RMOtDNftNHYaKWpU58bAG+qNQUsk9SV1i2qXEgJV1gUAvOqFvzMAD0t8lAhWvlAer/Ytqqh6BM+NeG5hvPOZCnkY4pgOGDixhXQakNLdf1Gop7rTrwobcAbqKriPqybyqsm8Y1EMoNZ+3L1I228q7NtXvYf6qIkfbhOPOq7QmaChh651AnwCbmdeQ251eePh2BRbVHU73ryWFw7cxRje0pKS80JsRO/+Sq+yQ50r7k2LIWGyrTZboASXWHwp/UUPAg/XgFbqI3V34GTQp4vw7L/Ug2tgbcxmajRw3ZYerawzTF24HBxqo3LAsi2NUPl03Cnbw0D76sqZmh5itDkhIR3GqBHoePvoXFB8JM+LKFzlbihbTnmFMxttijzLp4zDW0e64nokW/OWcce+HB9X7OHTHNXs8KaLmOkkXkb0+Dldz2ITQYEtQt7ky4myAM9DZ25ojLvFJHipz1ZdnfODoIi99ZqlJgWuHo+UNuii/ILIHuLYnlk6nRj1HKS6WJPNfuNgct7/HEP1nfqymP+ol1pzE2h3Dhymyy9fRYmNzKGAOucTHiMcdmYr/13+AFEMqemUscGpWh7fjVpZ0szy3ssU/1M9AY3tfvhwCqQY/bhEzu0+yQeyiE+OEzdGNExKra3C4tesdBJjOk8VKw6jW+Xq1C7d0rYreMTewww/5WAzMXEBIeoZ6qQBYNGqTeJhcNi6kFkDxiWRM+VAaBKAX3MdtLNgwpF+/aUFhMgBwHBlfwX1SDtseN0EKGVUkWJbJYY9PVWSvBwSoAoBA57pRtcdkI1Zj9LcB8M3rk9dIkXrcHyi8ZuqWwXmkrlWHtvtvDAy60vbJ7Z2DcO0OHXxgF6cji2VpvPF6DALIB1Cyu4/hJeJzdK0DjFbZYtpbj31/0OolwFUHpa5+Igl+UOwmgadkVN+nRCAP8VVsRuu5TcRZYc0fy1JRWBlNMc8G0UB51c8O2RkFzekbvX4AMjgzHSmwux1jjRO9hoL0Vhxn5svsqvPw4Rbqo7XIWQL2dSLr93ayiR3kwLka8K1+YtN25CCMQ215d2ZzgG/FuocGyviOVzfZFkWfpjWSTxLLSmVHoYAZWsX42tn2AF84Sy45Iq5SXGI2epT+rfgrqPkY5Ca2FQv+7cqmjU2VJf0qpSNvZnNG2iJOwiqccVkT8sEaH1PMEdk0p028dB4YLZi50+1FV29V4rTH/iuXIr4zujUKKYx8zd7R5wRxtdXoZ5Qz2u7uetjwSsV6W89qog/3gjftY4oY4Rj2pcrFpwrY5AoPmkEaAN6PS6Ym12I7yY99YYEu1pN/JkPp0b7xGzMnetBiQPo1KLi167mNZ29JMW4Ffh8TxkvReKUXSkhtdpcQE9Ngld5VkVLtnPc7LGCjgWARFcRmgnwQgLunXwp+lCqBihmIMoOYcAUUB4zcfFeLvU12CZ/dliqoobC+96rEXlvLN03aNLIg1hchRbkEX769k4cQhqMtpZRvJDEV1KFFYxQRLuRPYNcDiKLIiMk3dGF+m0lSEqwY3zdgkYOauJwWvdM6oBcabwvXMA1M/lwE2eCYXR4t4+ea4TzkwEkrQxNmHymf7BhpYn5oNr7kW0mFAJbhDbJLnId+xbuAhWGzjGpFf+fpa3iJJbw0wz+xtpQsQc9vgWjmt2NktPrFowuBeiwKDJ2WD40RM0YaqrPIl7ETs/x4xBiPqFnjYX9Dci4fndHJqcBTzRMI+bkvSSl+y5jNy+uo5pLqSyL8exNRTKYPAo4MGMkGy/eXIO+96ci8bGRQHVyEuRSG5bzuFKmX6RadOQQqI/7+RuHuSalnk1gUP4rzE1ynSrZbT7VOhQK4ieDo0PmquVZK6w80cK1r7gmicmep2CDC+rZYOWk7OtgTeJocJZTjaVlzAJAY0/q3TP75LGX/A1imXKAsIOffDG5Rwmv67QJuqzGtF7+MU3N3bHBdd8lozxwsbDVLVQXTxJoQQbmXLzLdOYq1mvRly3Qy35XCjPWlq4yVl6ZPojfj7ML+lwWgLN0tb4Qr3faaUV+xZFqGLWTU6rQ7AYezIS0COifQWOB4h1RxpitEW9CXfJj/D7yHA8X/T4/oZdehl+chtrMOW/xFne0M3i6mZ/zQOkTA3JelPG20TMcXbAd37bED/ghD1WeiZpnukzEqGh84TG8iKe0zoD+Bna8auNw0SNv2aKHJpHhatEFvbMWeyWRYMEcUHKKMGTJ0ZY5PKAUTYGpwNlTRbKdwe8HKoLEEaiOFKiZw6zkYtv5llB92QTzVAYQl9LQeqxXHTkXFwPEg6tvM80tLUOKV/mb/zzew0URx9b2S1/vLnIGOOlalazuOc/NKNEkXHN7YhCppw9zB5Rh+jcU3u2CqE7wNfbeOjCwvDduyva4yeHYbrf5hZ8mnRGobH/fvexpordIvIFD39kcfA0whlnXY31VUBSdIX4XFrMqrvmFfx9OrHKvgv7KyOXaT6fEVlvI2+AuMYq6e8qeTonEgShbg4Jx5woSPMwcOQi01lbeFAbneH+sovn9+vTnuGxEjCk3G6b2t6opNXr2FkNdCDro0YiepkN8D5DdQ7pM2RxqtApyUMB/tcMxJ0ZOoS3tU+atUK52ROTBXBi99eOO+tGtUJ6FHlbQdUdeFUOekRsZqmbCrr55kCShHuj/tugKt6FZej9dHVDAtrRc7RcpPA/+sYdhMuAxHvHb4d9cx3UgiR+OQF1Z1LfaDS4naScNrxCyd9D/rnGRC/ce7FX5223w7ZQmIudGT+GX2JhaEeeQvQMBNs2EwzcDSJWfD9seH+e4jgrIfRu3lHpzPD8dHtzWU+eKW9qHsNA5A9mOFtweecU6OuBDCP6T7ik3gy10tAhzPd1Tgs3T0mRYD1+UiSAfpnzgA6xNZsvt7tuLM9LbLw/Kj27KTQz/+TIeDJQL55/jOUKwsG9znYOvf+b6vqxyk8tkMR2wU0mqZFNkYyzBTskBEJKQ08yhUrTXeB1f71IFpuycpGa7M11dBcnv54jMDlHGqnxrZJmFulgzEXbQDaCLjFYxrFxjqKe1Alz6TqFq1PFamBOTJzlhbgGYBwGotjoVL+4Tl3c7Gp0l+7dWTWXJsvAOor4nvnnIIm1clwLx5WJyLawZN1ep+02x0fnw/pqpbc0oSDMZ9AfZ8coDrmuMtfG3+neI1ZXgLvYw/FNxLRGvSkNQ0yqE1ZwCOjTwzTm0n+kJQl7wgPmYSbD17GRadRdCV+p0Mwnl/h8RUKhbInGn/XDEmhis9AMBaTr532n4NtpEfT5wSz/T9txQnH8M68IPplw5k+FeqxKySXOcOp5G/rxVuXUTqpqaYO5TNW9d9XGJEuYJ1Ic5x75c0s2TZ7AveipKyaZjMC6b7s4qlRNiOwnupejtxq1Me0j4mIrGSUBroCfeZkqWiOW7XRi9syNbA2oVbJmq1eThjW1kRIsQBjH0mymJ5fSWxrfU1Om7Z7GwCyIsTgYQn7PTjf9CAWFgdiImKWyXGLWjBUVzxc9gvDgOJrlp0RTvmmEM9Mu1tS67DREoDsKTn3b1H1Ud8VPvC8KqRbuvuhO556LvRFDx4DbQEpdaI0CFtenStslnjG/Z9b3PQAJkXAAabUVLXPovEF9Ee52KTwx9OBmUZpyYHH+bzc+85EDeUIj5XoXyMnTclGULKheYj3QsVawwowJc2L48ZgS1fXfbCu9gq8KoKRjV3k35vtqwbpcWMJ+EjVnnjRvwK/mxPxPos2cJQbnkRm87BhcNGqy4SL6Y+5J2s2Zdk5JdelFe9s49WgtvUD5MirR1iqfkCoSHYYOb6MdC0SliiXDutVcxnPMnhH2BunWRxToZOehPwspFQW6kS8BWyCBWrqP8aUDOum65MyYwS9CJt/Epa6YErz1Fi31uTiyipj55q5OCeBzFdWXI5+dI4+laGlCWawYnVgtZMmV32jmALAjfdQZggzV8p+ewOQhi56VRYaFU+BR71R6R1KXSkhGX11KbVjKdLH1RBwJlhWtQXVMud0/8++8waWeeZn/QKKu2Qurq2AxICKrYahhcsAy4HPVrcz3oW0DkJv31a9RjcL/dxdeg3D8i93oHuTv8/Vhh4dzTpVQxhKIHo4lGtN64tfcmlxsdfu3adOr+q0H2rXePDjGlmDgaEgog1j94IPHqcI78prYG+mRw591T/adA8tOBJ1OI2ygpiRCbQ3NErd/GRkoMq63LV3gnUo7rsi/GYgc4I9ukN1a3/Sn9XIotet/zM4Fw5fOFwKgSLPCSzLgYZUfKz4+1/0aExnQmzNPRXIwoCkFEJVLwabfDH37LN/h6I1anaam5WAlL87PZcoBbQnFt5jy9guFbWk8GG4ioqyYp/M1yk3nHSJKyDCIiRoN37UdYfei2APhpPwQ0Vov6OytVqwD8GySAyo/NSqLQPJ9eShABF6RVqWW1isCz5Hm5vNE9F3yYmnJsWEnW9N9/37oOt+AVU9OUdZofRr3s8daCCPKcSTWdrl2yygIFPn6zwMnjbCxxR07z3UCNEGCyZEtFtMO6ujyEkLtuSH705+2zCSrl8i+wXLRtsEi5EC2siOLCjR65aZ5X84cjKuSuDF6minUe5XqGMjsX3QKqZCI2rTTEI85F/YhBH5UISTHXTc6XuSpRCBcXn7LG5o+rQwCS1q/Jh1+2crDHNgPbPYf767CM1a2gz1QnV4mJe16P7knv4yfIxqWss1kzuUx3XnmiBjAoT6vZGcNuUTryxvZmqoS8ezJZxbjQqOa9j4IA2oZndHJGAEAOF7dIv9Wiou3KwnYkk2TQsciyV3lGmqFC+TorrmuimJ8Sufm8DG5eCnHtJNcguJ/QyZYAdzQYIs4Ecm2AvaOiCIiLKVFRcpIxPjeVKNTCWDB3hhogfzn7JwpwidPs/VLJwNFQgT2ClpH7mi1rYXotebMoN4fIew6KNNvMYmf04/Fkwb/+EDAzMGfTLCe5jL1T3Ih4ooYUZ0jJjSVmBBYmLYWHQerPK4DJARvCuRIJAYB/ZOUhqlsY5KscrdprNDnS4zU5mGUfQl7WaFWG9USdBivdkp1hAnm4A/ahNNOhVu3hYnR6wn/Ccr5YuHOAL9t6ZbgpkJxiJjiNtT3Add7kY9vpPEzvOKPCAaTlMqXXLgSa6PSKL+gIWjbJDgEz7rxJBGpb7bNqe/sq2h5nHEaAvrk/PwxYk7I16PzXmPnEG+74glfKV+/mzx3xRuz8RGi+RHAPrvXKc1q52CaHvdQ2X4528A/qaJilTvfgeGjiBVppujO4VFWjLb4RwWKMb6rPQR1Gum4TQmc5QdF+wQWUdi4ER3pxrtDooqfXXr85CVMxglVuI8E7DPHUpU1kWnZPW1nTliP9jlk5oDqlSH3bDu5/B41NrmfCtdYFu1Ofmhd1SX4YhDn3yI/t1Hc8SBUaKNGJrv2ic98DNCOJHoJkVRvA4iN1uNsv9/LY3TERM/rIkrI/tHEIq3swNtvVeX/Y+7ZPIxpRfbKfosmopWhfFJHNKcGaxpZzOFpf/u8be6iWIf0lPfWtNjEo0lUbkqnL98utXlU0+MhFQC1pGDwpMwmCf0buOXsAZrnW47s+xWRdZPKG62OrUAGk5ZZPp01ghXZfZqu1DSFQ7Lq0EBmigQ2F7DV5knQs6EF9aZTA4VHlz/IVK2wC9XiZBgd8C3fGplTmqsszfc4BWRqZgdCi+cvi/FDsfIZ0+NAJ5fwx7PYlzg7BJvFc3tq0XVTZtu9crRE0Qaby++uyYC35PzYE7jPv5ZvG2OUAboegiB3IS6njRm3LToC4u/4zznj1he1PEMYZTZJB9JEKHbbGqnnoQcat/dG9XmLsOi8jTMICBTPjJAB3YOsozI/WYT6UffpWA3SYQNZ0JJe1iJMgv/oA6YRfhIxBQAZLE7d8ppIknfYbfpJNlkJMB971+DfTbdDBO7XB1X2UGvD6u3+ctalF8cTZ66x9WBh96Yyexc+x06gSOUaKF3lkiRcLxiT8erC2XltJ/rP19aNGrciX45h2UkRgiiVgbW8yrEaN8Mz5yaM921EqrOisq1z5AfnVW8Rw4ewUPoC/9ygKFj1z53R3U8yYRGW79KOPA9oYwvmdkl4dXsmDDnjBC3hU1F3RGWqJau4kdpTYnpXiJ2YynD8FLZfbQAewNHuh2GK3qinVFtkiHE9w3AzAah3jXJQaxtGAz08ndXTUmnuHFvsor5+CDVB+0mhk27AresyAtE41IgqK5pUkMq4XXNvBrpy2ddS+eiiQcxuBe0wTRM1XpAhutT52Ar4tOyoluaTYQrl/ukYLg1NSv9/iW2mye5SYKA/zuVayqveOgIgzBP60NZe8VpSFABJ0olU86q+kRKsjQEp5ljFw9wIECAwkIRZt/M4jHCh1Hga6PHOD/GfkPobS2B/TzIV3qaB6K+UMSDTYPxLFAqpqQbuq3o+bYsiSxR5M/t0CY9oHHaw9XaE4VVH7tSEgn54kPLolVEIDlxRelvwKGW0S2g2lu3sYrsJNzxcVfzFNslKi9F8nUBzd6+BSQOl/RM9lKGbdvNkqyRC0sJMQFp83c9YMkPNQmUGjQPsj5KPK92tKhxCLEP9px4tyCo382gpxyjvo/4H/0GC4vjL5VTtv7Lxzn+9suV2/ni6xrfWdJnKF3y42muEdlVooLknhhOCelZ0mSq9ZmYgMTByQswxHtQmjFbAzASZkWM++af4X9wWk8yW3u9cDnM99rHOP8K1pxTReKIq9kcQI3VOVu2Ph//xXo+QMOkFcKMnJKXXzAjeQXXR+V39cYl5FSM0KEOfLj2mmlRxDmYEGU8avtdVxQk3ihLuNUhB39EArnEKxe+7/vhmgo7RxlYDG/sb1qu0oJjC/BgjyUG30LMNNVGT5t/tNStHaF3WfPD9YMS5C/zwYb56PeWgW9GKc7VUN45/43FG20fFAxDuN4XHux9Gw6M9K1HJoHd5TPtCy5q04c+oqO3P82SKtP6dpNtGPD93dT8XDWF2VRJQ+j2nO8UnuW4glwHcnLWG5HzIzghCY2QQWuHSTSXBKuO5AJvL8UCn+5cm1r6v7r8PQDhxtHJQwZHmJyK7QntnKqFvRzRKF4gtk6WHxFMQ+SLLt8IjtZq9Ms51z+WmQNVoVFqX75nyOgiy2vvrQgiXYlzoYqyjzVx+8CdXGD8aqPPxY+6KHcv6JzSb6qJeF77uZGOuRZXbPaxi+RNnSW/RtAFKUXQtHmnUFjuw2cBjrJ4W7FIvMLlMTDG1jQa/vUve7+v+vhLXxUa6pBNLodVFwucsM51x5Hrpn34iSEzRQ3/i4iGkmVIoCuRtlLb3dyoqLXnhPg9PSFPJkkjwHqEbYudqnFJk2YkFq+kc3pjW1gpXjeZdnqDrlrFNPmtzd6Kejx1F2F+3qdMWa+p7IRJUhdQmT0esyxo6+E89XO6giu3Tw0L1rtttpwyhuOQvpbSgmqV0l+kMIc29jyLI+2CWLYKtCqbUpYcZUsrz3pucNQOCn0qHu7JTqKVtGSuTCyYXyYX3IJ2IPmUe/7BX8bhHM3DLaxNAnSdM6gcUEmGl+JpvgVS9RJVhli5gRfPLUKISl5kwy+vPYjY2h+nYgk7LRWUqRP/TEI7/C3WN0+6ifc71Imxtbt7dWRld2px1Ola9tI4MQxnwUKl7XQnb7mIrTjCxC1ztl1+k+SCdEraWgyVKsWOpcAPowOGN/hgmgW1NdqE2DhhbDFPqiCPWAFdzMxJy0g6YWSAqJMXxTCXLlOyDRpijSBM8m1vh1eLaJRNXClTEiHjGuNLj5i/9OZ9XwvzRe02VjWDBVXrXNIL7T2Y9+64mclajNYszCvLmyGqprAOVhfx/kaPG1qypdD7RVxuzn9d/jj9poUN0JCvsGQ546NUnSZnfxEJ3eSvQgmR90pv4TD3atxgU7E8iDMuSH947uKPVqQvfB66iZUJ53OOCijWM1SMMrqWSrKtv6M7yMxDRP3pUjOMt78o0Q68LYMz1/buiHsdyh433xJYznbmmQjYfGJLAjolcbab7V45qBgOPW6igrgthaAFoTfsM22zpIFwiNM7mRxU8KnitP8uUzBFLUZYirWlw3r67BqlQmCw1kjRDToZHsapsh4wqzAb4rz/ErSl7jZ1ZdVegoEkKuNCtxQrVZASYZ7rJLFqHPabplKOGuAy6DbAaww8S4eAARb3FQRCw+iE/qqf0PojKfpf+iCSDfyGWhpDVYKDdczj4amXItVXpyTwtGZsqiRue/BfmSFRoZ1nnQRQfJEsX8jzKeRK5cHn6GcV6kPzIYJe1envUohnDzrmhpWneIBfIpdQMH8wOJkO7JtecqFWL9sFdheSB9/IUeuObvNFc1luHQRpHwBg+8PgzSE+AhcxGodLMsq8lPmxGQTIy3+ulVKAzM4F1437dRRgzz6l5mCnq99d+ALCcvNN8V9t9n0HYk05zcXq+H921nGoYBMNACbPT4JgMccjDN3wDkCizbEzUyZPOLIfUWM9cm/yo7LWr+DYfyFjYFT2jYjSK8hZkWWQ5E3+f7GxRP/HohfZMidZLBcCxCHnc3ZYdz1/+aRN1z+eMUMjRhdIw/vKcj8YJWBnv+VHISpA4GkGeK1bz5GXdrodX6Og74IRJL+ZA62HluKXz+BILN2blsBiXPUtOTJHkzrCrcrOcS19iYw7KivHBImkBJsNlCwE3TqccW/rt0rMDd5dJfTM2PBy4QugAZtdxSMLo9+MfzdujyGy4N0oX3lmCZCX0spS1NRDlbwTcPBhyF/6+xagr26RC2AMAWc7khXUkgIcm7BBuSQYyc7xTJOXiXXgr5nirQmoKkNXqSctheC9ZYsAx4BL6umNizf2lUA6JKRqRbFvSNkk3vaN+Q/fD8pOoo3jrn5yAABvWaIEnTPkMmJeC8sn2urEJTigFOJCW28A5UnEcTphMo6E3hzf2SxStk869LiLJ13dK+rkWqr7lORcwEzZ6bgRn0vSOyTA4qyNly6GHm+F04OJTJyn4XAx8ADHsPQgc/MW2otq9tfyu/o+3HXLrhhMqn8Jwnfn0QnyAmrPW+OQY430Kr8fzwfRps+1qdSvnuEsPxTkvvy0Ql5PFwQmnAaJ6MNkpTq0awxv8VVOEiKFlBLvijnauzEDZ+mvzNgNEWCFHf+8BFDF7MM/s4lAqg9zCeXc9TD4WC+gOsGz4kzcTkkt5z0KeqagrPa7amIxmiJIZ1SQ4j7+iI87Yxz/TzK+RrC7oRGUusWEbd1GekO35eRFCvtPl1qZqAEOth0APcobjCTCemwtNNy2DaQA7yl48YFYAe1ZzWJME0yBJy6r1KKOyS0u/wvoa79EJUgfjqkgApbn6ZFb1iflIIXpqd1hXPeudEd1pMztBgZy0zHZMIO4qjKdfcMtzPPJwXbqE7kcPYKaMf8/jQKeF7+UUSDNs8795Y4I/XowonIPOsyxSRRhzdP3CMifX6OvZQ2XQU2gxUdhrCaUBCRrUfN0Ou1LcnN2PcziDNCV0c+bCHPKFChvXb/NcoztPIzldEHpi3wivWIKDxR0Aeo2sZXhO1Hh5hqiUtJ7b7DOoI2c88UC0v8UipA9rn94paQGTikkLOMFMXJxSuWSqoU/FIKOlRBEKVu9+C4c9AaPkRfXGK2wltCY1oOtSd5pJObM2DgAiD1BsR1BX7yCuc+F/dhdlKjgYzwx+/gkCh9gvUmqTcdV5FguFP66pnPnhNpHhhFtmrhnMwJzIfRQbvTjpaT30LiWADFpbfkIHK2L3iNZmf6E8EhUQkpNDMnhTiKuWcrs+pgipOCypXEyvQTmULgu6hzRE/nNPPdrjTB7FEq+GE9oSJo7dE/7M74WjG7FGdWPSwEtV7x0aaKYmZH6+YEPNOro5PKDZmeUP0sSF08IuVRDH/joFlq3bf+GQ4gzeMNMNaeNpLuOQOC0bxqTZGQYrh9opT0WAnIoVZZXFfRr2+vlwZ4L1coEq0+IQYWVB4Xu2AH3iBm0aLiOTTaNNRp7HGXCLpy8rYxUaMnVadI+hiTkRv9sU0X/xzugqDYLAtDLgn+e91Xv6Z1AtrlpF0hBLlmWHvrC7pVLupcQ6ReBE5bejZwZattSqbJByR0+7mNzCFclISS9Q1Ow+PGMCQCs0FG6HW28RF4wQVF5q2x6BBN7+9xmXgBEHtP2d8rybF+/o0LIzIOIgWvmwJMan/dATzLiCDw+YFKoP3lpv4evfqNoYEzdb7UKjN/z2r5dIOXWhTVvqfwisgwnH/xsr3rnenbXnrZd9epIzJd/d94rgR5cGfulYfd7Y+cKulStLCi6BDHMN7a5XREYahTGt+96WtcQJgObqvTFj/vG+rVgxpw5MRYm0GffwoAnAYSqRp8Sdzw3//P5BI/e+3NaMOCsdNUcH+yX2ECIzF3x6QFpl6QBOAn3B6AR95KoPEm/paD4Q3uG/TxmfHJ7UAv/v9VjlHnpT9Sc0Zd64OgI24SaoRPhweVp6/bMP3tetc7SSCmOsdJzBiZpXls9e87tZO1Isbvko4oEmiSxmJsBG8IcmBwPkwvVvTmNSHZQ7q5UsaT1zlbLrkSTXgLiqvm2YPH2iO4WKzGC4PZHnE91Vg7Rv0cIfRi5urLp2BWDjXOZZNpZD0feNundJJt6zgN2KBVqSsEnqNCKkEwnj9gwt1V2nezv3b6tqg+pZU/BiGLdlmDjdGUkBw55IB9AEI8rdocifmPczhEJ8ccXSmUBeZs/BjyZFD3VJgY/KFPiKJnNXqie/bLyQTf6eDCbDLe0dg8I5nRbBckEFvIbow09CCXeY6PeO5zLi47+Gp+D0N4rodp2a1mDN2SO0kmvGtWzo4eUMeIdZns0dt7fjWOV5BHp2IVhz1pcOocLBjfcGeiB/nF8aIRmFnTpR7OB7wbqZAyAvjC6whSpSlBsOe2MT9L23UohhWUWlu31UOyoYERJhvNpw31fBIFPIs+1p2IUvtAYgrDkr1O6FBjfhO9YYvoPXbdTpUXvmOJyMi8dkhh6/ipp3RovS0jq/1wfEw2qdu/oUUoCdMYmklakFpNR9+9YYpwgNb8MyvLf20l/Pjx5y545QJ8Z4mWBYzxNxHCd0ziLV+6fbUzEVlCpY4jAbSYm3lFvELuaT7b9qoHPQwpxPSMwShrJQ4L5vkQoe1e+ytJOeRSlZwYhHHoyVQ6XXx+zkDXju4T3OeD9FL7s06LRZwi176o09lAg0D5k3SN+XeLCZozp3MZ7BV07RIojhLPHo2CGtnebWOoIDxGE2ud/phVrAQBm+w5qm77MIm/4E2nZGwDnoBCQwYS2A1mPC0RPdroPYKt8kxQTnJXKHA8IhSScelRTEiIDHHH8UU/bndvYOCjxphaGYesc0xHBSGcMVWutHUfvmYSHYHha4JH4szS2u/odVudd1Bbal6l8nyVXc+biPz56HtyJA6Di+FOasWgIuS4ZChreoKV1ruF9qmbv+kK574pD+YdbZiY58xppIg8jmQV7hXtH32LS9ggWx4ftIOkwaloaMukKqTfWfBUhm8rPh8y2f8cZcUYD+IKP+TnnVg6fd2aeu3sHvyu1lfejDxXy08mQLXxk7cShvAOMmiQIv0EMFD2BJkRpkcQT5xeVr8lJwWEaKAykuJ+awow8NCDRm1qVWQVdOgj5tcs647up2MLDqSNhd+OK9NLQ+RuAoTOCf87DyoClP4F9PKwz51k1jAPbvKxPdf9Y8MJGLpSN/5K7IP9c4Cn8gpURuWz0vEe8hu9mhtUhDMVbVx0NmnOx2hK5OUchDCUrKsRZOXYMT2xZyDl7NgEQyvu+6AUuo7ifn8qlw/aAvihq0yDVz8IQl8x0tsIZN0PgUM9JjjnauNg1H2bFBG1rBNVtt8vhoDh6GDwUHQbXx4rUyTs7vUcXW3PuaCTJZNk5aIiXOxNTklCueT9ye1JcxHPrRv+3yTYQNKDaL8VmN1yiy5Jccj2MzfpP9Mf96Wq+YpV2OKpNGrYE6VgO2hmlC2kKQQasQV9KX7pYWTp2QirI4kbcrHju7Qpyzdwe15tb92zRcbTZqgstFYWGuEaLlrg7i7xIAAafpBXctH/rXIt32whjwSvEYN0U7ex2+AnXD/YtDF4THrrhvv0W7lFIPzJBMwa5hoKzxYpWsL6QrOTTtCenKn4370Sp1afFGQKaciPh3rLY92RryKeoVia4kPdoaO5u1IOqpaKAknQ9ZmR37J6eiZgPZGoBDtls9hDpychlMukrEYDoenxg1Qjt1vZF84vMOt9KsIAFm6+8LWzslqy6TNa1/BrdwlW4dVEsSMCORAHwV/Hi8y0n0sZNvYjwP+/NZembrxOGVR4wnK+tajjy7h9rxSwklZ3hIT7OmGHYFuuTzoBx1tRlMVZbXWJVFAKwwlgje8YqliY17TcRtpjEmozFbFJPPnTQR/nK9lZy9mozYwuV+2yj+NQBggdnn9wJ1C/kvSmrTbeqGS9yv78igy2mQ9Z6LB7d5TuVX8FJqRH6vh4hoylnW4+fsYSodHlfwgQMdTBr7nQ1FK2fBQgwYdnw7kD5ByGy+0u5vZZiktKc1icjfMkSDI2+UghFWIlj2cfMb0uRZD60dXput5XelbvbMgkD9tALjCLIiT346XkBr1+x9Eeix957rqGud31i6i1+EQLLlrHIsIlePxEAjaW6woRzV/iA+aUgbloRFJL+bghTg3xrdR0njGIKhblSB4+CMH1ufePk9YHyRU6b2AtmkI69FM4U6vku+Iqc0xWoWfBeAvJBdH9M5M7dTfpnh+2G3wiKag/5QczfBk2GWF89qnWyvcR2ZI4cqMGvra20+7v8INdSOJ08PVQ9yGobx2wjFpmFdutC7unCEi6uLDBTy4QsJJOUyVyLcLpBCLfFlk2od08r1meDc9HnKdyIfAv+5zlDXZIlDaSl8Vt5fazZtt4QHcF3VrbCCKwCLiiA2VPxCXOa5AODLQM7mBpicNOTElF9V+7lxoXvoBJqetee5/YAZlYv/C/BgzVdsnsot3I0Lq2XMQIzttpzphZkvEJz9bwo0Dxk4+02F7NkuI+JFnvwFGClWPg3mH//uEHYfyzcK19bWV5aMooGtHIJkLnQUThF9XvAM1+npEzwkAAh0m8RzKMeCgdDjdNsOy/PIBsRKMAiF682T/GiWPCeT55Map9Eph6LY8yCedmnxupJ0PUJkTD6TfvO6fOdfGI/zNBlPVo2rRP2bLislGC0VxGe7N/flixMfN0AOOJrzI0N35YzxjCXlvPduZJ1uUehlC0WRw1vJhf8Bc9p+up7tC6RJAfEd7d83VSFBtjwBtUArYS+vrc/0/LqAUCbaHRRIN6O+zUwMt7P5JR69uMGQSdXJx6Swl78rHTu0eaUwP4EcUjzzoFSEL4+HqK/1aZl06BpKyESAM1SaBiHXe88IJS1X2oXvfzfEh+qzLLo2WJE5RssxkIyQT7YE4xWxBeWolwWdtbuDzvOWAmJ/y2BjTjfP5CbRpCeGD/KGgOor9Ktl905+2w/MnLdBBUzlYMATQSVdg+LX3Nfj48unnafd/Qsnv1AHl3CAQ9RfCmcYgyca7G2+ZrRn7u5GK9BcsESwqQG7RK3gsIk6rybmb0lyYq+PsrNCctqIngb3JZwYz68fgE7jx5CPjPCi3+6z3Qq/sES6TpgLY5fQ7FXHbouHDvxJJ8e8Vx7Mfxa1Tz0uETparYCCTSPhcnR0HH8yAyhB8vTIbfau/X4/X/OIENiut+bWAOltZHpzpypxMo8JqHeDvJxZRXh2gNFD1sUVjJVpz6deIzpmq+h6qnQt/7RBcdXsydUKruZFoxpR9ry5SvoZiE0RqJ/yg0AknvUPUkeVmwB1+UIaM83SvbfkRZpeQpFK4ZXJWpjLBhMY2iO90bdEJ1XzoKVTXlMrHOB0hp8uVLTbgmiStCqEa7QeroPE59NG9+q63JPYRIgcpYbO4uuJSsXFSjS5gdJ94j1ZQNcC3uJiCZ9Oztm7Cy0Y3EJVp9UO0B5zdvC3MNy9B0EmfZ8MyWdTPRsQXkIclCoJa9uccKxU/czQ/8ReYVJAUJ15IklGDxSoq46OBrKM9zri8GqkzfhEgaJklzaLCY0GuY3w8QEZfKCvVOSBPCJPPbIGiWHQGSCeQj1giS2ZqjaEnbbQLhn/PFYBP4dBAluAw19+DszP9mALoaetEWGugsS5/DNh7kA9w1aXTsYaVnK4jbE9eUkpYhuAqnxZjdsVpoCXm92w8rx4qGXw+t7UQwt4yL27hwX230wqASswWMDApso1z91YKY4I/D9sYx3z/e8xygnnlfjqVFhe2AtNmfwIu5jWtL0RmUrNDy/iS+n0npndBQDGVxdD2ne8gF/iS78dcyYWU+FVQe4VEYxiihwocvsLB9ehOrpHa+gKrJShLPA2c1LJsOO/1z3Jon+ugCM0qiyk15ygsPmsaTkiZ7fxnQlJWPqycWjPL7k60puA+h7yDtuIaF+dBQWrbq1Ral9WzrVKCgZHZNXgH0i6IDs9gkDuj9JA2AdYDNsNpxZe63/ftMiBwhlYcJI6c/h3f38d9oeviwE3c1NtKk9BRjpgLO8AQuj6bf8dRPiQi6Tpqtp2Ihpsb6TepY7upqpFU71uc4cB0pgYtMRBJlJQ83YochISwo8sqIBrDVv4eRhrbbx1OT4EflgmHIAZ4/Yab45s34hL3PkwR+i4VknYYlpGHbp94Hwo7R0h7l0VxRbSNp+MgqJbfL9hLlC34QdM1aestnRnOlqD/kmB/YQxzqsRdNJ9Ctl+t/fmVhFD34RXe6p1pRj+i2aSJYG0c0/R54pDsBzIpboditSkWODK7ZuYmkp2ciSyJE2ZGE41XTl9oksNuhuG09VtVMuwSexRJ1kcq4dlttkZRo5cg+prOVOj3Md2NMkWN8TAIU4mCgv6D3ApSsnb+5stGk7D5j+FbX7uKOC3SMBgOKXVmklYPFySsz3vCjBq50DQhSNjGHk8qd2Kpt02OJ0jBxyj9RKWURV4MjuHP95nJbvJxx2WFGNUu4lWIkpIinCpeTnWxxmoh3W+Nto4tVCCqQhPY6b0BlF9yWt6jowa+cH2niQUV1ovVp9oZ51nH3EuVwpmHhO7Q9lmPFEokLoBStimComf2yiFLbNNdwGVuDZ3BccV9twOxUdvwlsTxWddboPyVS034H2jtrOv09JISjqmoWwl+FfR5TPlBCNrEBnj7qTQXCfHNisrfMXZ7glIGO7TygRu76rHArgNbdd1TB527Wu6+GR5eapO+4u9q8h8kKf6AaCMUgH8w5XzJR8u2J+N0Kl3j+EpZJLLForb0Fuw0RhcGiaUYp02oLGlJAAbh5kvjw6nW03AbPeVjKzQE0l4pLHS9u0VkaZxfuo0xZpLC2oPWh9UWqvkwjypkFdYMwEbBbSF2sGMPrTu6CapFbchFa6N+gH94xShMrIeNpbrGNBguqvOcvpO7Wj6gZAReDRF1rFRfEtLOm5rJq9dSXt1+bMPzPl7PkCk2AWdzU12XLTYJ+2T8furCOUiSQXXPxtF5s05f6xAxnme5Gbhg8wW/u2iheBvGVeNAo/Gdd/kbpIPWQ+EHC8HvvAgcBmBt/9oeOrZaBorEtAVDQ6pD9rCLz/C6wb5HvneZ1sDgAU73wA1riHKAaXEyAgfOS0CUCPDzkkQBdUP/rh6fN32uAeORU1J7jimHfM/3Xy11oLvWGexT4RKgbg2t4CxJMc6L2hPe1idCPHQWpRy7jt7BhdqvxHATDIR7eH6cz1+HI8+c710uMKhxj/x7/BwqOucnn2AWbYiUxYa+uJSwZbbyJoRwJK+OWw3qh02JDtWer1EdXDNOnE0d+2ULkXdYHITJv8dWHl6N/gfejzOAh9B52Yhcx6tfGqsp+8NaecPIWPKGnwFyd0lMV+yaIxl+QdJ4QjehGOIiOUmTnR8891VQbkIASB6sj2RCswOHBvcJK1n3uTVTMp2oEOUozOVpRN3gA31NBZhqvEspuvP0lC5kkKpLKM1NIYmmMxvwqntPodczFSaDrEPld2Jb1c4mc2wBOthx0UTsTA24s73rCH/JpqPglkIKinPz27ZTco50XiIdbOxGNG3yuEGTjcuYGwmwTvGJg4jOgOILO5SZIkgmALVwDVgpNCEdb9h0LFmKy/XqbwVcp+PU6DZrrDYcmw8Ltnvy2U9XnTvP2loDqQaxUAPI4AumWFn7EGjbn6rOycxgRZgKc4BlpxkOQyjoKAxPLlsASYBfqQmst25quJr8kK5M+vZtwmoQpsSjG186XQey6wNI9z8aq3RztemdoLvkUjnBLypj1l7R282Xy+Xagf6CI1C+sBI6l9odd8CyQCnhDfOGmtzVKFxWBZz1lstR/r45Nx+RcrOgJlV8ND7QcxIQeE2nTjAnZ34aY8DTp6nTb/RrD0X0f+Zm5BucMcEVNZYXl+5BJluA68GA+/vSyLEe1aQ46FKcGGf+EZ+a9nrNh+GXO+BRbGe2ul8rCTV94HklS6sCxqPIXy4x0E2KbapwPQN9p2jQdZyEHJD/hSttVWSHzoBntu42ymsuJPukgLBDZKq4G5fjKxN/yXTtZgvOjBo7PSMH88Yz9iWlCdsxp2WOIiyvldQ7eUMggx0yksqpy3qgiDy9+gwKo5jWSJfnacsWQK9bLvKF+jvP5QIGPTBCaOBnrto3BNnxSezpdSSBeDDh++KbSzvDTtvrJ8Q+F93E6/OSX3n5F2pVmubBHSWaKOw1nNww4pZhtSgkoU/rBxjRyP/NsIAbGSlyrSpacDeTw6IK7LJGu6hfqDmjAEX1yMM2Pt4yXevjvdJ4hN3c+xJGKCvjUKWMfRk+pHWUbWReWfNLgFvgehkC8xpQa1GOrwCXD42bunsgx1X0AX6vlY7JTQKrIvWVbA4i0q9L9WzIKY/dVNEaZ0uxANFzKhq6OqedKe3vXsRTBr/IGDygjt18erobmeOJyiYgNX5M2TA7gGgkZx4WspG4lgZSlgcoMDjybW+jdoRh1QygABFNoOzDaAqqmtaUpmWlE5pHpfZVj0UhfMmUgmFiWGvCJWRYNl74KLNsJR0Acl17GiKAhpvTkgnR8vUWCwXf5EzodY3ExDnDdYFjgem8kgO/c09quVaRZT3eroDSRwDLn0SLcmSCFn+4hbHMG13w6tio3My/22Nku6cbUrBKyV2OaKEv/YasxZLe3BQCpd/BXwbefEuWTIElcZh/DrR60odDq0bSqtQq3nor/synWWzhNcxflFfFJnIl8rLqaH+oa1JUC5wsgdm9ncizMpJo3GO7tk6D7CH6GmxQbX/RqEDdwpNdZwKiOOHM5oH9nFUoGCBg3hJVLgYIYE17eoIga8Amh5x1woO5ahXr6Njw1PAPaiJTinBzTSu1G6P/zJrxaWVPAWq8UVG0np+9m/TwE23xzr3nYPwU0A7NV4DiflHpEutdC2MxenF9plCi2GdSdkLjDz/YYwC8UuCnXdr3HszXgcGtDCavwmOsxwQvT2gxCoFQsdZ0ikmo0yDsoUEv42nU2r7uaGLmoukY3BeCIqiugzK+B1fconq0piyBW8PNvYu0jTrZJt8BiFznXmWTDDPwQaI6h4gUfoC7j+gfd1jIYMiTibA0m5ZXqEiaXw3CCpctpJmiGGcouTCpmyk7HQk3qM2XFD4JADy+fIr2YdX6tNyf7z9fsRFCplHh++TfMPyXrhBxbGy32+5nuFqBihdvp1BVH0AoxOY09p2AMgiaO9DqRXdtph0VYz027zYC7wK2yHZc2I1njgTR4TBXGf1n4we1nwTEfrIf/lxFCbpDGPMbEoPHRD2/NXg79XqH8RhYTEGaGNpUDOgvrZsdq4c6F3pCNyEsXiJtkoeT7wCgcHpLJk1nONTQ7edVNLkwwtaBwSxSk1oSjL1TM9KD9aUOBsAWZR0WWS9IfzdNsfbBmlUbrexrPo7NAosOT9u8IAQQHh6tiG1jzO87Tdv3Xg5cp5/iCjpvAUH5yd4QnCOnk7vd67rWhXOd61mVJ/hUjVqq9yWEH0Tf7sdpExcCKpJAzINpDmKbYDqGv+asjtG6VfEt/Byh/L5OcYIP1yklCINDRsVdoUniRQ3d8B/6QME2gUKiq5xPt+ANC/AgnKnv9F2kMEWO+0w8WrgBO5r8HudYHynPg+jBxsubZ5UuMctXxT41JfGMYevaU0vZ8fg+hA0BKYrVkjBgSBIHsybYqmMQdhOFdpukmQZFPIWADH+J5G/Io7EJYwmGPCgzoJohs6ken9oysvgcqkbCW6nseMYkVQr/h60ScHa3y+UZsfwyGQhG/uZzNRRNvDbCQqi33oXcOHu9HasLcdmhlxRCgSDnnTg/FZ4/bTmWu/iS4ErC/4ataVdT+vp51ujYXRFztJoUMtlwEGAih4GKwDNNdP3Z+MR9Jodxw/2ikeWr6nSXE18nI9Y+4kvtGLX3HbBAYVRNHVLlyxqN6HOKUW981CclaAie/2FrekDLBQsbAire3k6G8893vIUfmznHA9/87Ve7RHwUsrBXFVibad/m4dWFwGPgEb27KCCbyEEDHbhNyx8urT/V7KLwOR3teXO3RUIJYKnZOfKvgKPgkTpEnnyQqUWDx+5frx1TIJrP7w6cDrU+yWXXOUm9XNVlsesio78L5+sULaVKyr8B1Q7NNMvBzFxziQ4KoMwtQyOXKhh8O3HMnnKXWqHwP+E+a6zawskSM5w88i5v2c/DDaMalPGFfyhzom1L0U71/bkDu86JHRHIffK+lpe0zarhNPPrE0Kgnzvt3z1VtrFLaEcND0Tk25t7E6B7GgZDXYLwwqF5iagDjNUNVXf1dsfocwaf/AtKSH01OCM1Mz6Vip0Bq9pdw15zov7BQ2SN1S5YtGOr1/ph1zsPB7Zp8xcHOS/JJhIDL/Zm7n4VYzAVCOpoy1AySnAx/qeOIaNFfe9CLYi1N4xCHWRUrXD8KAOOIpdt14FGiU+0uk3pt8YsncV2InwnC1nKcE//xkHyK/sYFb5LC9dCU7dPthOXcaWsoL0gI2NPQoCou1nMptmOg5LxTYpz3pJrzqyEBZCOwylC8w5f1PZt+e7WM4IR2hov8FauofX/jPzSWgkv4yXshpZaszU7hrkEyboTVJf6httZePbyeOOvwc9wlTQcb4+B6tsxVrbrDfvZo/RArwNwNq7/SaNfRNTxUR6KXC8VAH846c4jaBczAYFy2qHY3NSbm83N2IMsnccFKy4eYgk7yZ4qhfBRXLVXY1EoI7rHKsXgyId8qrT42eFb0Eh2JTwYqBUIZ94BFJnPKSfMFdackr0Yqv40ap1OqmkazYBA1T21n52cFxYhQFhJSdvKsdjI0kBdBjA8nRTPr+pY9d++sRuCdm2xF5EO3KpirLIo/WVT6l2vnLe+qlba6eVxzzMUqpbSMV3aWZRkCpqds1Hf6mpQgqqPubk3D+Taf1eFYA1eohtiK6Vo9NWLyU2QXnkQcQWqWfJcO7n+NkfBIFVOhUhzNnp4E2bH6fnySfdfReFT8UTRMA4+z2RWCEo4axX5RZLHkionOJcxgdhjnYs6ZEiNjAj/Sbstmdq+jE6JAgyKeV0FupuGaOaTWqhLwxHrdzA6uFWHKte75DeYys+VKFOhppXbLjiPzyva96lCWS6rsZKZyv1eJfxk9eoMijuOOhxelIfgdLg62e69oIQaMxqekaC5WNTNqdPh5ft7TJCCa3z3eViAXQuPZQYz+MBkYZsyGlApQk5B2tIIc3kXhtrtN4Xn7ytH4mddGstupR3MuD6DRriZeGDcJob8NlBq0oEnANwOnx6XhRRfbBRQLKAbncVcatEsnlPUah5Yr9EHP8hL6E2gY9KEbQyXlaoPX7eSVyXmw30I8rg4YX/a6T/jFsxQq6sIT0RnTp3L1Vvd9Ic++QAqIiGuNPtaAsNX/ecmJyklzaVriSzbzN2g4GDG6tjZoT6H4cP3y0jqJXJAv5y92TTzi7v0t/FYAbDex5JqBBE0Lwd0A/EJAaYVfPBlo70CBQ/Pm6KoN7TqzshLLEI+uW2EuF2efnmL+cCfXzPriTUyc9lbkbJDjB1+5bmMWryGgKV3MejeKItfpJ/4w4sGK+zVb78zobso2sfoPVZFSoe0nJlH1FvF7uWgKHZZdHmw45dxxiCH91U7oUTYVKjmILdCHyyW3rCFnTmbm+wWUsVo3VtPz+4rt4CPuODu9KgTfDaW/77NXJ1uRJf1ssXwHpZeiDTp+rnw/kARGgx1Ole+uO7jOcD1Fji1k/nJQfhc1hBpdL3KmOaYPpgtmewld3ru4RYgYnlgUGcT7wbH3CL+Q9CwHiEnY4ptQK3MxGWXKqMPg0I9oUi+hcizC+jgLZwV3m8mu5YknQxNnN8eM4AnHexUhEMfuS4bqr6lzJW9EV71Scd4aApctJQ/rJYD+oVqRTF7Z7o5xPpLnULKKgBPFbxxCLwT1sbbyIbbhlhcB0mnfykAMoQ+q5U0MJeeD7OtLEuEZ1sijE22rO+Y+A5GzggTueMqeN1RfHKWKMEEwImqG5iXN+RATgIANM9+rm2YrOIjEUrvuo6clq9tP2IPVjLrgHdCGhkODi69ZAkMyCMtwZIF1xUXnz2KHa8RVtfBGCB5Qcf99FgGVRc62NffQBLlKy/JUnxea1KxbLIrqUQB4FoZbn0PJVE1JotnOdEW96/RJfXNRNQ1FfymKYBJ16Sv1LdLNHDr1Ygrridu0jzE6fr2An/+rMM/wnZjvJEme7+cwlayJA5cZbSLTELwo6uFm/JgWWgyWX4nvIaoFzFlA5L2DaVwXe3ybnxEV4qGGtjhm7YS04UByfsK4GBZl1aPZvlW+vzSZgF7siayQmvz5++euYAj0HUy8NLO/4lW6f/uj/IuJg4fnReD+JgWGEypEPWyAD/WRBvuw/A+rYrzTqiT4VilHZ1kDpUwW5RJ4Z8X3VRPdKUer//QAlYFZzFaeEpLeGAk2FoQXanmvjfXA8Vq2LbG5UTd52Pwn0/THsFyXb5ZtKuX1EBPwXikBNxpph4IjypEX0Yem+bPB4PXCTI5VAwUIXAaMLSPTg4wdIJq1x3z+rwr4XsxOHGE9zp8HUiJnLOvmbQU0gFFzHMJrnmbo5LgWdvRPjXHRr0QZMo1twolffD7umHIviZ0TIRNovR4o+ffQVAyHAJJlqT37q0Ie8txdmPaIZTc6rDZaY1t8ZghE7OREcV8Fh5jBVdpSpcClY9ns3DfDJFxKA5iGlsK2PwJWvvNzt759j2/bC3dTyWYXXy8kZYl7CxNBRTW9hzF/KVTq9C7PXo7HZ8GcCkDzqkg6UOgRYCWEhkDylFn2ASIKFb/yI9gYTVDz0IRHJxv0MstS0nHeWG54m/54i17xY4VYJLsgvWV2QfHuVWbWoETYLBIZ4Efoxq5KBXAd60/WQnBbtLf/cUIQxJ80Kforhw6bdEm8M9A6LmTk2LqRTBear05EtJldkI4iSa1bTtQOA5M1HFbl5K9z31xvukbXe3zkV5IIi+m1MctV+vAHNyNlfr3KS+yuOKA/RqXHvAU++pBhTippdIEeYyCsQ2ZRocQGRwBDU/qkh7ZjG6RS8sAYFQUCM3I5kle6i7gcRQiu21p2JMi7soFX69pxzZp4BbMu144kLUhlKDT9iLvPY8G6BtFZ00dbNyDFTKT+QtYjwnet+g+s9AXuZ3RnuO6mEObTDt1Hc98G8i0EGd6zj5rLdW8LUFaFFCYuxdsIW7V5dOeM/63FHzostM8VdNPcO0zmjKddPlwul0MuwsnD+hF5PCkPgEmAjfjbCEYoAQErE7/FIh+k6Ij6ofaZJB3r13qxDus1S8mVHXETkr4LBFMexZfc1UiIFQRmQs/gCGNetuLyn5lxJnqZCyYtQddZaxKSTqNGn5qgtI84r/63ozHTD3D7viEfyZKbNwtGhVcEXs3NTFlJp11XjO0uzimOK3sSAGWFdkfUuWAG2a7N9fIu+MqXiux1Xmwje1UHYkkYiXkFKGImLQsGOcWhWPlTj1iUCkhGnXrRSaTY3u164mKE3C1TWL1W2KU0SXIeK+MgALIldgs2c2vX19iAy944jGHADrfvEmKxnD3CV6m0op9/LO/urrbEyIMWrajABTQ+4xaeOSby9driiZgyLbX1KFSbKJqevkRDde9XOkQDpNPUqObSa81kTIOX7tcCQEt5wCnVkrToEhTwA+X4HXTNOnZhGB2d+yC7nWcz1uuhFvrlLxMlyLB9KDu+nGtl7+iueZUyP4JEZ8KTAxRL1N7hud8xqy055tPXghxNTyngPBSkS36vBKu1j8uu7zrdSMn/3HXK8ad3nXLzctxq6BHMMA55uXjlaPqdLl292dKKRsWIUcmN6FEwMqX6MFQKa3sm7tWrM9EXNAZVKEPk5oP5QfZKC+xevdpPo312cF8J3Mb6UlB/SZyOycmX/Z0ObWGvBkoUWQv+8NQSm16EQfbT9MgkTB7w3faKQkw8l7wVVoTOFVUkmWXOV3n3kEl3H2kkw8IblH8r0s1bQV79eS7C/0DbrMtOszgUw/XoqlJEBn8WnvYYaZU717Nrks1T95LrTVqw8gBYrwgf7HM0M7T4uSoU1AveBGui0xX7qGJRi8997zz93oq1AKE9nqGim88vNRW2NUiP0/tmpfKAcP7+GGhND8JUvf7OknmgB4061joMoT1OTPWExsogtkDZ3X7+0b4RC7y2ny36hRLUpXYoxqHUbrv3tprXqr81pWC+tVPT7kvh2q6zT8gAwXBbJVxt7kTkXbo00NRPPblKryzDE4p9WKcZdgZZ6PriSIkXmrOen4vbXPBkV+qi2/IhkRu0qTS6/r7IRk7ZBHimP996nH1u2QTi2LAxzqsB4Xnw3zTIWV7ocu+ctJfsqgZPNJ9NqWCu38sRvUaXowmYKWRJ7gV9a724sWf8hctQ6c1S2NnUnnWI+cGhLMIAnXYhvZJ8bXHNWtl0aIcuz3vRf8Nz7R/l9+Ltmz09IEm/+WJ3BJ2jFeGKX0myspUG0IzR2l+xgYx97CtYtNljXgyCShgHWnUhIIsqy11HPLDD3wF3uZ6axU/kv52YcuGgHFTrtWaV0it6CqZzV+Xgg8FZlkXjWHVapI+5Rx/GiNxZcNK7s07Q+ezVIcRZd1e9OSMBVHpC8P4m4Bk/rpOwC95xnidj+zmD6d7YUNSGK0kzlMBsxUGxtHcKSxNi8LPigvJ6QfXC1z6GqqUgULh32+RZdwAKfVeimhhiuoBcTB3+de5NIvqtmsmGbwWYqBC2SyycTPoTmrKtOze6xAiguJBTK7Iv77D6EyUjNzk8DP1Q5tw+8z4lyA0SgsWTGa/vdRcNGMb1YOxiRq9n6soEV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m6gb6my3SVqRfxvyOoAmgnbsOcQv5x93sVGssZiu3uadmV6P+PnkJucLNG6S87wGxowaC3Jm3rijZnEyvJOqFwUTpKu2SQbtX/o7UcfU5KZ479T8wJ5+YHgo3YgtTuid4OJUsOi8KGx2IU/kQcD/b1D4/awIfTeF2yXD4lK9OoJ3aMPJ9MLYnReApUe7Fx4m0p89q2wM8kpMjdb0tV5kdlmART0DcbleQwBX2+XgfgDLVachN4YD1R2g0RdYliiG39CZYsXqOXT9LSyCCYBYrkagff4I1jO6f5Jv3O1/VQAFkRyDW8JVZYFNkPtCPwfOp48WgLxnMIggNCq9p69zVXu8r1ZG9xsrhjsUyHg1fIRYu0V9turrIXpP50Rvi9zGLB1bdMUwbb+yXIoVQsg7D9sOI927vrxoj9d4KeeLSHKA/wB4Z6Vx1zrQSKshwGNy+GjU90HZsjCRGFfA4cKvlt8pPiM6DVW2xY391tnFVyonqJgBY1SrcrOdLXPrUeKfPlctyr/xO8MBb7vf7xb+FjSKjsfCqE7aZOcp9/G3wFgJxt9SoRjvB/Pr+UTzw3hc1jQHVwhSYsOdXUsPOEM5/yWzPuRZB427j/e3XPfG6f1N7bbnsCHr60jEbToDg3TBRjmijpK3f6LJjU55q28fSnjxmjBUInf4pJVR8bfh3HahwHVYlguBR4apyQcReIBq14MywE6weRgdHyXfP1XnJL4E0S3Xw4s26Gi0HnXIm5Xn9WGyqSecbYPRvzolCA9jk6nJS86o/jUbtUZWjHbwS6yXuvuiOorNoHmP01NWshh3qXUW4erkCz61llwhQ8q2cLAX5nOrib1zpIX3P3ksENsEbP935VBadwZcdOLsCNzOj7vIV0xf9aBnsoeeCbxx7up3whuUhGFGGvGw967Ni/sWX8h8VoOQIZ4atN3UFaR43TV/CMrO4J0REkw86DycX2LGpApOu8lsRHmA0x2Zqxcultab7wDwosr0UbLczKxstRHwq8EE4Zfm3qvg+/u6UByHlqmCZaPvPU8LG1hd2t1LGgXkh/FXZ8k7XvFoLvKBpoUWrgk/b31HHhHpmy/qCHcwEaH4inf5uNhnAMoDsRo74hpKXLkvnCVGU1W1172aIxh/T9FH4gDANTKUfc/tDveA45AQFFKP2KhNi8Qo8H5hpaNEmv3dchhWlIeWRpY1yJB0QF50HxrSjLvwrSFV44fXUU8sf082t0a4DSsNHqRRzJpx/KMm1wH3rEhmVH9Ss/7cZyitYfhGrWdpN9fzMJCFB9WH6b0CAk0fs3mTx3BxmynZ+dnndvRhjCCZ9TtU/g/3HuaDxVpzkr9kgEvPpf9GbZ3lR+nRmA87F9LrSvCNGVlwGdAtHWluIKGOMj0kQIy9F/RA4Z45dwOvLE4/YMb4+ZdgMO013JOHPWs5QakQXA9EuWM8dM3LjVxkMKQwQbeofhcJM9lFU9B8122FM32uE3Ckx4eby9QtrJS61sgIhoKG4mfRJGkHRwH8tTejvwqqsFvyKYtFWy8XKgy49qknPthyTplcy8Z27nIRub0o0IQw/H+V4PCWq8kbC193s6lToROm/lR5K2IiJJfV++o7OtoAfoEewTuAAIGTCSjdCqhJzTNM4oi8e+i5++KIgV/RziBzKJ0B1tp+5tbf97krGrP//Ksvt/2TAVnW2Jh8z37EM22aLILdCbVu0K8RBops6r1T/dd0iJOymnIHYN88+PcC87iSFcq5HcM4uW99giDbb/LLgVZa1vQSsA/G0o9i/Xl+Tc/oC3d+0bTjNmWuSGWq4Nte59paA6Z0lf2LRdPgGC1cHPkcwnqzGCPlG2uVvRCGJWuKkkdhsLyrZMxeB8pFZ2Du5aBYURS0RHAkrlct1tydLbe2uReH3bPqI+5HIMbj3tI+FfDe1sL47Ed/waY9psgOsy02UBDxMQ1XfhDz/aNZh3qVAh0xi4BwcOeYr4kZzakUIs90txl0ViqdKrY634dEFPPULBBKq6KH+nQKrFzXOP5fmpLrtokUjJajLgqxsmYXvWc58xuFJvSOhKoGlxG7AHTNXvYBC4zkPUmu1cu3Ey0Zy8SI81Ok0ouPcMwWo1wJieOuhS6W0HvJwar9CB2LYRajGbgtSC5sAn8EQh9UfzZvoWy2JsNzK8q3rkOk7rafB7bsrurRw2FFCvhvVVAxvDPAumykl+iz4baz7QoI6JETJVX+mIkw+ft3n+ag3gzWGfInInyymlFyfw5aF3Gq+6hZVA5mISCVDXhEBCF79LH9OyUtXRCqTE0jsbXSu9R2JHvALkz2IePYHRzcTOu7vMjGkW1B1VvTtI/mXdoIN0yyp67Z2cqviO0cF4pbTNVWWJY4ty29zyd/sKcoT9F4n4QwKlAKHS6LfkFR+yZ0+Qf9JBYlSZW9+K/YOrsixVHdASk33hLbzXnAMB/QpJfB4hBCGDw6XNxFca0yrV1+oazWrd42nUrydjAKcvs8QmAnYUdQPL9svbFdswgISToQq4ZZB+pMekFiamQnYXjxpOXV1sszd/rBn4Qa6vJiAbGpC2IaqN6kwv9BMSgvACyM1eHxr0qt1maHiH3om1UesGrB2gK9qUGV6hRRJce2YKShSosEey1prf31PmFIEXgyflMrjGyJ3D9TTxMsr4Xuby5k9tHluntHiRWGR3667CDWE8YvCgMkAZyzzR49v/BUMNIF/Bl1FAMacNEiW3Q1gEhBLCVZoRaMvMtT4dJxUsAOGpWig13DySQ6Ef+eq71h71DRKLb01E4m1pViH077zVp/6ymJcNyUi5nBhZ54XLx6BVoF1n1HblrhXwgS0YMMuL2vP4X/EtVFy06gvg1J7hoVbl6FoE3pTNkRfGH3q2aGmzAVDJMqQGidwk/Bvgc3rSixL/YVH1YjCf1/nBd3nMhSVvFVzXyfNUZFqmDGJAvDBrm28N3xQmV9v7RaAIlZZlaK9LCs1dt3xKVOSCx1tg9ZfndPlllvTPx8ZBLH6aAQ0LtKkOq17y7gW5v4olceXZHYwyK1fjpBCBokzC29DEpKECuQ5bbp56/sNzFAuxRU85fHbb0IOV7a7JSUYT4GVm8TDmj9n4hPS+PbwDfc8INZO9FVyg4SEj1ZkF4jDeM0HinbhgJ/eSVgzUl6pb1zYB2J8Kpavwtd1aUOwXeejY560fGxpKJvqrT9X1nO2oFCc/75qjt5x7Dkx64irDW1fF4ZAP/9CQ/etuenJq475SI7zG2td9o10cPeUlds8t2T9l0n8MW41k8sc68Sy2mXXPXP6S6wTxaNHsm7jY1BhZq/AsmeYLh6AWXPJzr5tRuOQs63GCZ8IJbsxRrbPYhqStq/Y1MyNXhG4HegTO5XNSq16DF60AW7NyG0JdStSx55Zber1aaBXvnCl0R7MMdDaVWzsx+mOAATgy07L7lODyQy/oo7JSCn8EI/DoCRSB05T/su0mwzMp4EvNE8iEkCZ1VGkrkm6LJTE9U2jJPtc/rwe8yI2/s0AqVsg7Y4d/RuXwZODpthYcZ7Gvc1+6b3vuGOCjEz0MBCM7RaJmn+BfWV8bj+Z8matfybh35qD1Q28bIfRHWteE0zINs4NCFA0ZBuKDhZsI2Mh3qw0T9DWjaEuTODWeoD/9h+gh3XIxdEurioXUbbpqsA/4tw9cckGAuxsTr/ZZqxKMX6SomhXCtTuqNv2sUO+HQM6TKSB5PWG/IgF1+gmd8TY1GiL1I5GKHWeq5am0yX+e8HUfjlFFl/9+5cWeCdEvrsY9NKUdpRNk1xOJ0fbXaR/P59uaAFNFNJ7dQgjRk6aqFZxNWpgAwOi7+081vlg5R2GTJlHACkQ44W5e/zjBIm4uSsw8hMlkNWYeCGBnKDQw21SgAvUbGNkQ+Oknlp0ViyB/4+bqMQPICSfxOcFsmnlW6QTPo4Zz0ejuhlxh6E2OiT9FwjFDT13BttCS3pNmQ2fgy9G6H+32duOIlMegBcJxPywK8w4o4aUGaW2cfvOIhgZR48zHDksDmJLqI52uzTqppdupGRkNTCSf8uqbcR9fDIuap2axRvDjtpkSRFQ8h1bvIn1Inc8jl2GPN6nfjLhezMpr1829//Nb9p8PeHvU7kt7kTtIs7X+EzHhAQDWkkr+eRbAs88okzKyaqp2AU3Zdd0bDFphufkt/UiAZbDfGrFRuWeMlOsSlziAPPxrwIrgIwlZE0HXUSnhyGQwiNJyTtKgiJ7u+PAdbUOLfiAkezU9tnlta45ageutHE2b3C8seXBoP/rtv+IoySWbn+V3ZA37uiCyip9gxTmc+UOEC6Wd+U2Gpa/v2AwDrWHa9igIQUkj+0D7Mk7WayDewYm+2r42UArze27kggqVluIRXJS1IdMzKvIg3vxF9J/6Xfxtmi3wXFa0NofXvzjPVh/4khj78oOvQJLQvgm5IChfuoSvzMiDiSx592c91jzXzDAFnLvjUPe4sBN7uEjufN6s4/7x2vAGrMsQlxQRjll6/OjkwjUQ9JG06dWkbSENFHKl1OQCE5/iIbOMpKVbp/KWhD3rIgdH0fpEx70Q4xFgaQsorhwtokOhto4gCzp3YFrTbHD9sF5acYTK0+LnQvcCV5U0WAYotFlIdgdxHx+OYaRE20xU2DwGUftFgY4a4a9PIm6yQXxmvM/PVCXiAZra+LLM5yoWXfS4ZGFKNheWlT0/5HBd3ht2+rXiadeHroUDd393mZewSZDB/0QazICFRIlvNjcwqgS99gKYkGM75lD6CJuz40I7/CEw0UzYdehx0nMVqvf6fw3txCU8+3oG2xSPTnVuc6tZyRqNwvFNIIykrxnPxb4L5mP8aWlHB3P2MGufVGq/2JnNYSdHgU1ZK/LvY/BiKjTKsjpUE1WWe2f+F1nCuygnVTeO0tPPIgdtvr9l+Qrux/lRtBnF6tLHlciTjSLpoX08FYfWWNh8y1BaGE0NWuvl0ix6yNJLkcBjylOZJ1Bl9awkG4MTc77Ydgl4ClvwO9etvfT2+gVeohSzmaiQ48JG7g7KiJhfAoul9o5TlpwgQ/3ClDKHoy4jMTbMfUdkSCd+DQ5fI/LGT3v/MyZiwMHTd85kGjBmH61TzhVQKx2tCcW2gThEVubDjiHgFK8cR1uO65dk8pf/xzibQxJv6/5I0rpjDIbGMm7Ifo6MIrcUfbU462mjGAM2CFG0+Uof7k6d9DKDedZYOTbSmOkONq94TAqSghIJhFjznLExBLSxrc5XGoEhIWYJPhnhXbj+9PfqjHw1h0OH2KC8yVi8nQIeLH+IxTvCFqFhilZjWcsmVGtTMybtfGlx3UIohKR1eGN5aeegn9kFKtTXixH4JvzLZQ/ZoqRrs997H4n2bPxlIFNVSJgqCebI8wsq/lJ+zSphs9g0A3gvyM8XZjt04luS66yNH+icJGy7yxOr4eX2xCQpZEXP5wOm+eHNC1rdNJpC9VUUUDuG9YUEJyIhHnIBenpNYAEQ44gpG++PpLayYjBrsXHABSpirQeOO+boAT4YsqXa73wazvAdMOD//5EsRITYPhq47SFgHybnV+jWzIM7DOW+FsN5a4A/MvfZLrnQbJ9rydvLOXqsbS8MUgBZ8A9PLQkfLgjSR/Ow0Vh/izScE+M+sHqspAw1dcfEuZSpDkwOhxiPgIMbuetDQ7qIxJYPVPklaEMVXPMRzEMmcY7vyA2bNYfPI4fiQb5fDt4myWEXSb4LjYJLR2biEb2dQo1TsN6UAvTMpGxr+HFv073PTn655YAqEbpl9wje4ZTSpbG9MYht3i7Aw8hoZrnH3CZ4MxdGtiCZ1rN7nmKWkW68Ckqv8b0JPOF0EZvsG/g6WMiAWayRh/9R3e6OdLRxRI0+6uVUHFB4znIZV06Rf2lkTRxnxxGa6a5DAhjG/1bgCJziZYy6MnzJ+RTxZ4W4FkNbx5NaQWdTeR7eu1TrDGLA4mzTyKFGVSAsi1Olf4hn7K1qhWFJcFQHvVmZOj5O6xYpQ8EHQdui0L0l0jhm2X6/stTTrNX92fG/2o1ZEmq5/FnVUO5Un/9CFFIGv0/93NdpDo4e0Y55L8tIAjLLUzEobTbHf0dSzvfaf2Xh1Hv57iO1QTHau0EJ91EhaDR+8k6eQJKEMQPpbr0zzChasHu09S88biSONhQXJKE3wzBIFtwRIAD5kkgy2BT34PM8rimP5Kxko24J0nuBeGk1jLwCuPIDc1DShuzeYL/RfkexIkaAwy51aeJiryYq5UmlusI/jK77sQnLPCdCxNNmNgOmtK8C20QoiobSg+O8pmkM5B1XwL4fPwDXhRHVJZq7qgOl2DbHJxJB6IqYjx656k+bUdax/8u7iA1DdDW9Cd5hU9vsKQcGJAVx+4f7NekiYTH3HC7/ka/0ths6l3aQpakij798uU7zScAzMo7QxacFyBLVMuNQXE7hlkgdCu4z3VFTKLlqWc4fTts46hmqEQM494sBrD8Vi5ygBZ9CVRpKHhYYmZ6jyjhEjdGoeLFki0JZ/wOURWWaBXsNQr4YqHtd41kCKOa9z5aHod1dPchbVoVIhBp+IqegBteNYBswVbT2jii7/KQljw7B8YucZpbW4lgNPOFYn2CG8qvukTFRYSd5vFp+Ka12TlWG77lneYLlZ2FoCJM569B8CScietDOsfjmd8xgybxmf2KVAQ1/9n7ch/H4dX63iGtk7DCBrKxgkKW4tBVQYcp+p5PaFZyOliX091C73DeA2/aqIGCok5zIgN8RdgJLEIHezROg/txDBqWdmBU/PZWdIYBWMKo+kzN0EdzZQTt2ZsBkLzTmnlJgSzb1SigjqKC1GEj0zE+7jbCFXYRUcwpvgCl35KAuFiIcdguaav2lfa0TMqf+8gSbMIO6su7EVQaLafzyyMbGS5FjzplIp2bI/1M4DIok3HGWKnh4qFAHjuoLnum3cyOI5GhTFHtswxlcOCR6yijkH1OG5ZNS2yE9uyaqCrFLVxMPB+ZYgC9l36jB7zbpmU0QzqL6scSFfXhxkoXIBL+HM6jm7tYZ+TO8pFdbFHHWQvayEc/A/hc2EeQRxmfITS8AqUqPxS8Pf4mCaJlmLQRrmSCOJ6A23Bjy4Fn4GfrqRdzGIJcksvHl/fBh7gDTcpImlyH7szETA/9+3uWq8IPyw3aCtk9d/ba4OAtdF08tifDdD9SlhdJvqn/WqK7x/7si6FQgO4zPtxdr2yOSOyB4EW0dfCEtmWkZUYmNisOIs/aoaxLu8mysKjuCGKMHli0crbd0E+eZKt5EGEvZL8Ni9dYwunzpCUug/hN3kdUKjLnZnNzQsz9N1L+aKOWt0W2NaAXJhNlkd394fX8bTwd09EdymW5jEBemUqAxkQL2cDzyjxhZmg6aUEX7HI+NVr8gR1X44eiTpo7uQ4J0FQqfX0dY5wul+Q63OFWNSxlMExz/atKX/rpExM6R9SslHJCMaijO8cFYxHRy+elL9nTs3Ka/IPbJdlACLO+VN9uhCDHHZCVBdnUyL15M/4YKk+4gR5EowDhiD+Eik9Q0Y+rfbxJ0Yeq2Who9HAOiUWjsarfVsvpAS0wphBBhaIeMdFXmp+bMwVCi0PJTLvVJiqzLLrsQEBifFKt1OxJGgdJzUB0r8b4Msc9roEh5tJ6LpDAkkUZUQep3EhVtJZz5Zqk0EVMczuHMzT0oilF/xU1pDI103/3ej+2Yx2R8ujzk8iStmLEe8ZB1To55cDOEFrUI+x7kWxQFxoBSK0LTBx5YVqauVaNcbEKoL1NCP+57RPz4wEUL/nZKLXIe7N9TblSUTFKEPQ73KbMJWETCOaGVPzcXJDBDYgwLkGv25mOdX4UpEdocibKSuqllNufbdFVGUJZjqeVVm5lEeuACYi719RexdsBWrh7xgq6/5MPt1iMPpcKt1zjRx4//6BspuGQWshawG0LAdI3kTdcJpVSyXL/veVEj1Ax/GBqt9nIeelOA12qGmQtxqiITy76KOuy09Wf3Ua/xhAdNuFTplfrgeDp3K/IXPXlEQ2ymsUKHVOlr4gju30L9jCEFN0c9LMew9YyoKMR/7j4+B4EPwzKD7aTEuJ1ccGct/HrVeAmkzcqWFafYCafcqjVMx4WjDMw3Fi7RcQhd54/g3+JmvNB7rIvt5rDqVDSghzjd9lOivnJPg12R2/M4fykXJCrI7MW7K2hTJzTqcgC4sqpoP1baU4rw4h4G80c6hAQz2aON4GYH0FG1LW8KeNfjd3tybgvfXKrD1YRAllgVqawCR33yeRGMWzQE8d12sjWRR8wnHkLIo6vuqRW1luEUJFM+K1k9bKMqihQhHqiRiS8ozC0k31TAjP80P94HsfipVj63fT+e5JU2p3Qw2223ND8+t/pVGb2H6aAj8ql5W7wBFgh+9q8jdf9iZWGvEAg+ui1/3JPT0V4K+TKtRZNqIl2EmsWJkWR5JbenBF1N4xL/tGjo9B4IO6c/jP1aVO9HKxQ72xjSfLpbpDAQhrTF0vAc7QTGTdW4HP7/RSiPHkmm5yIjO03SW8hIB0oyFdGfrptKkWT/pXd3NNJ7eIhCuGWO+CKr8nRL8VJ7k/8nfV3YQQ19CWJjPo1jGEApeTG2Ol59kIRK/36/1SGvkkYF0nk/ZEBwU9w338miGkha/CqjxMmxCSDcTYUXPFvuniCyjNZx0Tnb+VNmgEo5zAGgDXMQrtX7jVqeotpkLEoX6yEIRQjWsGLNAiMJfgokKk7rOhBnyPY0byO5HrlCa1lpm7NoW68DfRposkPOiZpi3U52s8dEq8jewiYmTd2+ofVP+aX/enKghC9pdqzRiT3t+1lhaQdBbCnaGLdV0NwBhO56/MbY9Iw6KrqPB44wUG9+Aghs7g3bxC6SF49KqhLcNCYaEML81URPD6flna9VktrRiu+Jxyl/rN9eBHu+Fu9T0TKe2tpxAJbha40laPgX781GH0/keBGtUhMuHsO6Sedvv1XHrLdhhMIj99V5OICWEdnKLbokvdV88GcmCYrY8fRmIXtBY0kAg4CQVI3t6tp1a6ztRXYQF/qDjCB/457673DBmCUTP79sIZaO4f5aTEcc7wda2ZodThbM2lbpNzbDpSzwaEcnC1x6rJv7CdHrrWwJr1E/bre1Dc9dkPWVYhPqXaZDi1j34O52vZ5iEpMmKOITqkWiSVycyHNKi4pWBOocEbZF4U+3D+EHce4RFrCNMuLYXhYeHc+oZeJKptpG73LAIBsC3Xlr0Dr518LwpAg/JYlIKbEzsEHSsqra0gVVTDdP8Ib78ofdJZPXF26X85uScgDEvXjU9X2GPJsA88X+ziZc+qQ6b6BFqAn0THqjd4dNaRAKH8OxLfVbmdYJCY3icPoxNKbRwRwkjFJ069vOU4OZ+EROzOm0qGi3KdgHzA20IRTo1KuLjYZpKuVx7PV7H3d8ZDLE8xoGVZ0KOS+0Cx+UGhQ+3VL9Lze5PVN6dazkI+KeAqpE05P+M2IGjajrdMOow+1R4y4fasB6xZ2hskT8+6qSGi1aa97VOiLCOVUf0MR+s9WpiNIA5mFH6qh4tqS5u2r2nm18YGEaPtnY4pynieXa73ev9Gx7f0qUhk2Uh+AHPaTx1oGcJ/JSYX4dmfY/UXbm388msU1L2med8GHpk1NpMzpOc6fwcOi/bL3xo3smsr67NOKmTjkRNvFzMy0iYW5hXlsbdENzOaH7xM1uJ66L8Yf5yTVdmsucE/zstkwtvN62+fCctV8Hb0v6VDabpq+yv6GhBD5szaapWcgcl0e9WhDZC7psECb0+08Uy/w0PygyzCSsx6TOojFANa948wOIo8sg3c8VPjP6sSQwUQBXUg9pT53+VlHTTC42UH18flRoY3KxYIiVM0chYHULJUOp7xP7foJLIXu5efssRK8TuJkSTIY8mkI12ewbAiHOC9uOcEoddnoDM/UWElqYlqgWgG53bWgN0kV0K/MWbaG2obTI7Nr6NpCpfe+rg7TZfgzTDpTL1dmxq3f9BNqwHU/Jm8pKY4mBg0NTKuVnDNaVQzJYGTqX04TnnNWDXh+g69/NHfbJ/ZN3pv6mTL8c8ER3ODmLE1EIDdwAJb2KuECFJH1eJZZtF+3ypU50tBop+MuG86RIyad6AQ71lRmq5JkrDfZ4mXBY7ClSuibHJiTxQXs0KeloyOyUx3DdvEKNj6eGVfdvfy6wO4nGN7fhVESLPk/FfToaxKdF8VngUILG2pnVLXCpWYYfELhG1tVUYe47DiImAFzyxmQ4RrFh1EO1Tx9VPtoVqa0FUIKqiyMT0VxkN39D1eSIm2mALNAX7tCGiO15+rSsRW3PrWQHffmceJNZMKowuYU3U6QRlni8Fwy7t4QK6fVGPrUxzp8UhtgtuS+gJ6xIxv/X81wywqK/iN1QqzV1OaR2TyXNzDknkWRic0O7yEVhLT8/sCyDJ1QcVnOW7mInvIv6/y2R7eVyqpeIaXLq4DRmC07tuljmxR8D8vSopknnHxjhMpdPqtbibjT4bpUxgLsepX4GD0XEYDi9mKgNzSX2rGjlwkNn/qJ/QTIwH7gZpIcezpzC3/BmPZFqZrFsaVruyr0tgY+vuCu+kUNavWVWo7d+RwL7xahbj+juGCsHZ76YAS5CxeG463M9OUiC9y+d0PAmA1af0/7n8LQw4k7rjIf8gE/HR136NbLKsBcC+9tC1vpWQwW03hHgc230XgBT48XdJynY8G6CwgdxnQpdtzAKPAOV3e9Uw18CNZOX82unHXxUwfuhEpuzAmpoebpge1t6D+jMhdmi6fJKb5hr/LyKxPKahDmCAGc5rGp3wXvJuLWEpcdvo1/MCEE7ZGkxLiWM+F3YlSbILQSSHVtrFGyRVsAsS5+4fVUX3zIX3pJk/hKUl83+d1v6eioIqwa706I2vzHlLy9Hr6AX/edBCZ3IUiFV95KWY391zQtOK3GQrppzMBxwNC2BduV9S/ERT08nKFFO2lqLmG2HLrWiESk1UYIQKErRpDQZuAz7gUcNnyM0I5I059a0rH1ROOym4nCD0tjevac48yfkBRDKzLxPybwvxBgSYudlD94n64QFejIeBA9WWurfv1lEm7oDOJBaH+0GY7nUC7IesdG1qjb0uv+6lzIPtXq4AVokfjv8SM6ZLYUp8y4VRxn7DykIBE4g61GvJh0qbVFRYhIrKRhZ9P2ZPuS8heYggqPxccWc3h8pD+xUg64HcN6w2qAUNkr3OEf7X2WKbgHVA8GdVkyv3woJd0z0v/lwwICSGXqhsuAhXoacWqAg/j9RP+cr7LFe7gR1fpuBlD/mMlQriHNrXvJIBQ7r2DdHcNkvl6x7Aoe+0qFd/lsxn3U5VuN48277TBIgH/RvdCoAS0jiJ2x33oBDFATDdkSKrIJuEl8lmRLAOtfiCzzfWwpH3uYumd27WQmpsylY5kk95gHlrw40xR+LjGPcb7Pbhac7oGo9sIG1gw7h2Te1o/1TFsVXVyJyM0JxgaPNsUSVCsr8hoLUUQ1k8HxMhLLya+OqJnH0i8iOpCpJHsau29WlH2OTGUqAb3fbgRleJcnRx5m+q7CIHB8+b2q8lhyg5d8M4DksSMSybKuk39X4Y2FST+QawoJmme75pYn/Up8D3IE5FWs+DhYv6ya6yVytMtPpoz5jfZ1e3Lx+NC2vzLHEnOSf7LcAN1fLdegufLF+Olf8XudIEB/nzLGm2kgxJD/TJOdZBFSu+UbiT47WePWyE4EZtSMRWs/y0zckalf6AxKgbGqKllq1R8VESQu+gSfo7XBxTalT5qNV+WIrOnbA1ZvXEYzpDz67pGO3oAiOtNdN8NbciU/LzYqDZoaL0Z8exVxxctG/doVgOqr6CYvBLhIjfbDfoJSznPyHWpLZdkkHmMr+8wR4I1CxepzuJrIPjHwtTDtidRzi7eyX1B4RDr1WHn+DZAR839TNb10XCUGa3P0T4B7kc7/hYD/A4D0ylnNYvwR0j0k7kiAAOYn2VXX4lWE1cpFtekr84rzWszKPVIDubLAltlOGH6YLEZ9vD8MhjGkJqzcxX8DhtAob+vbDeBKyyJP3m/nDT/ISQD7Z6bkSeRG2xqCqucsUELQClfPVbBVWqKezAKCyOX1c9y+6jfFDfCfQr5YgU+jlT6N+aNkBBDbkNHVtlKxPlNz3jyimX9aR5DXcFT2EmtXkpjYSUMPaDTZS4vgunb08sQQ5+8Wm1LBDn/FbApmWsWxBM9QeIB7OMFgiLgAmwyLyitdOB5jMHpwY/S1f/CNaa6nh5Crk8JsCfefLkxp/qO9jeOnct/q2Yi7ZKwu0DnZxNVaq8B1YxLHVmjlNMPUejD2V1P39HOKhmShjg2IV/kd8XwzJpvTmRsgg5/6IgvB4OhsT3dVvGN8yNTnG/v5LUBu4X949GsaMG3VYInUhnMxgvl7qXUTFVr7ahr1jIYII85ugctUVBJTasolS2c7oqaQwPgBfyuxL7yWSYJkfz7iuyASmbjm+CwK7OnXrpcVkFtX5Y1cZDUvgj+tePLGl8jYOsS2bSJwYHDBLA2k7r9Tsydkjw0FXH3yEAOV9p9eyrKf1HRaiUymg//CtsYhoYDwmNiUI/eJRMgDN9gVw61pB5aRCoLVQ96T/qNyysKkKjV6UsrkhzFA7HGbMpIEOBsrr883lInafzVmGbK++oNBGyGQNXfKJ1uuWMisoaOfgM4vyPdCV2LPjAVrUOwEGZFPa8hpFyHnfgi0pa8PK8skQCFR9Kdv/Wo/NzN2lkW5vodaTs5X8eaTymXxii8gdO9IFCmOMySq2UtsJYwVnseIbg/tAXgyiUPD5kFIjywdsamCcoZHLBO6u6UHGf4Hm8avw7zPrhemf4NAgfpoI+VO/PUxwOvPyzNZkx++fbF/Yez9P5IkJ7uEJx2lDgtmxefX1rCnZKO6a1ZwKrArYFo1XDRid+df2G4jBMQuXTgtqZAw38YktNuB2dZy4qtinScNanp1Oqc3YMgdGRrFd2q1Xegd8V4LN8QKyG8bwFelZv3ubbVbe5djaKTuIg55R2mKe46loIbpthDgaxCPC7VmHQQtaOh2dE3C4vndfT9aog8780YUt+3OxY3+CH3h8pxWXkZ18WO/b+aXiw2jStAJKJEY+Ia5lpI86hrG6VzVH9WhsTBT7BJ2lklJm5MmiG84QjW8BKkaLqrM9FsiR/g82J/A+kQD8v0HLWCT4pKp/skxgaZZGV+3wz/Ydg97RLOwt3wL4aBxleecJlhvzaqi3d+qJZip3/2CyX1/zyjgNXiCZTzia+XvQzwq2jXUUjtdeA2RkBX4T5crfgKyObZ14OqxFZXTrgeAo4+0wl1CYCHXHgt9cRatPMLWkJuIBfrLKlryfozvn87LeSe/JkhigRq9NfoKS+9MPpGbNbLvsT4kNEZ47CFQDn8C3E7T/WneOgQxmJ4T7tuLdparY555qHngx8bhsxFTipUNGTpbGHKFtF3neZod+2XQLtQ7APdTi43CUimA0OHsVgqnK4YoHFSekwG/z0JAXaoPV5r/iqwdOg0bkJlRvpWN5qUvpod8802tg73wMI6jUOz6QAQXvWVzRz65QZn22XOnIOSwmpiquDOL9vVFaZ2XSyip2mUiWD4OI9wL7jSs2gDKeNVepbAYyqp1D9til23n75d0pcQXK/dZQMDgij4V6tS6/B7/34qstrHvKuLuYTVPf+txSShjHyXW9Pu1hGb6qadulcqAvLYnWvwsAFlN9clBh/5eUMNw+Giu4HFu+XvcgZtQkaPeTvDyIhJRG0aInApymXuwt0Nm5PPE2KdNbsShMNTdaMHX2tSREJin7J895cTaz9bhZr+JTpULZm+QqmMxYoBsrNr3Od9/MyEgMcBEoiWdMOq3tKEZ+JscwjGPLUPFES7MJpTzSEKDCrK2CKW6/uD37AmTVjo689sDw+k1MaQQwC1bmuPDYTd1ROg7YEKhR3qJAiaLhb/uVqCktLxUEIEiDqS059E3mZIRMnz0G9LFx3+h9ULSL5ZNxP/Gh4NFFIJefCvIiUcHoctdykPEduxSGZTahUsie4nns4Y5fID7e+iD8GblWeeHiyt44Sgr/GU3X/lkiGYpYFP7cyUL+AOLAbKQ2ppKlzLP8fsbX1jpNUT4dOzFDqbsybLlp81Gz++cGG9Nrs71DdxpzNy6g9+4/rLjdZFDZ5oM+yCkkGYI74Cq3gJAwY0yHq6iyYyTpklokS1dYKpJpIz6NuCaC5cmIkq1WrfseTyE/2bL9sAJhe9NN0VGrzlm9++/IhF+Aw4J518Gv0ECkhQvEwAgXC0R61XCzobCkfDiRi6F6J0/tzYrYd8we7Pv+FsR50DxAiHCCkT1mH3/LPkVfKkiGLJwVS2axHFk4soKMWU0mOgyZ3XugRBqctx0roKD7YZIQlcsKrOt80Nu+29X2CU9yObeddHYgJtZniqW1TtRF6jiWABtGMg5LeZhcx2t+sFHE4cGE+bbfM/lQ0UsQIkV2/bQMZWyl+vpbFVonCLkYcBZrZKsXjf/s65OtYV5vmkq/nDPs7ofCakOTWfq+6RbRDjUv9ggB+hLyIa3ST4Hicjj3Y1K/att0UridkGkna+xcjQ6WpqwC5+Dd8ta7SmFIBM0yQB3FCOogVXsMXjv/kqSUzMAs9cqFQIflXSCknnagsRgNUw92jFZHgzi2/SetbmMeWAHxC9MgLnbcLF9azTek05Gv8w/HGC9ikuBvbGOfuXc7pw4QDyPF/SbsxmAzW39jOA8U6LrI0ukp1rSBRjkN7WPdzSF8MNMoNYW1Srk9eXQXFKvSotzKaD/kWABRUDU3HRJHnynplrgY0lVi+MWpbMTjK6KcHe7LX4E6Pppl12KBVRrFkAzGboxhrtLnMZvYSGR2cMHNR6eHlY4pByit8cIrPUXAmf5PQuun77jKUmdhCZ0SA6RiUQaBj+bPAAzBiMxFsRXv61J0yLiq0uz2INrr0JC/MN+dceIxYX2wpUAenKvaEKVCiMGgxzHigSZlYCL4UcaPCXEE2nDKnwGYIU53TMPH1yfQ6WKSo+9WU4BP5VundyhMpygIOJmB2wWHsDYFo/B+PbInvu2+YeicKYuzQXr5fTTCnfx9S0OErbB6KSVUIquKJC84qSiVZx+UoHrXkIKkLelgF2ytjiKNoL+C+BZsbRCHN387x/Wvpaga9hn7NDsAODXvS+DZwnK4Xtm1fHIf4OBoy0LNIgDjFpNu2ti5ifwzh7yKTrj70hFdm2Te9opggAjU6FalLaVoBAV/6/6u1EobGdDTlOE6/zNJoQq7aFq+a9Mi8e10Y2Et3zgCAQ+bwMs6BqvdFf1kj2Jg4BOhzs98u84NsIhjZDnYZjahp7NOiqwMu0p8y1GQnvy+C7qFwIA1PUJgUhuY4yDxkazx66t5T04vAq3K9OXKoUpBeccUzmSvKFDpNulSl0dLsqxcz1V9Vgdes9jBYzRe2qGspjX2gYHmfayG2LHz/eZ9rXEMHwQBjjmgHpEYZ7Vpt+O1rlU7u4lGwxzcF9/aup5z+P44MQnK2LhwKq1SA5Nc/Rfkel7fuqcNtLchd+DyIkyOB6K/qrSiHCt5rVmZ35dDkp9emGCUQ9MbiT51txHGwRXkFRI0uF3LsksS0qXyWzpDQwnPWJPz14O2JcMpfJUMpS3Gj/AeZsnfa30Ebuxayn09ifhunAR1HmsOQI9CBwW9ycs0pDsU9Ts1+OiHxS80/Nfvumt+ISZw2XmiSxui4zO82TeKRsrfdhbkREovIAFnSRTjcr+xjbkMWl6hbkJNzP0sSLfzqYj9Z7LC8z8IGVy2PBdiWIbSX4G9I9ARwqmuUiYS/5F50JEpONslCOX/QJTQO1A3eraLwxah/spb6R4kmYq3cDd98S4UsRM3YGXTWU1CqDcIrpv/1zL46SiHfWu/kOrQ8rOK8fnE61f2n6LT4DhUvJRW39AdYDuoHPaNwIXClYlwgr7NwTq9kqDFpNseP+bVMWTsxbClSqp5FuE8LJuitgC9ejz+6WkjJGA0BsdxxFWxWsnBJHTRbivikfEjSg5j+z+0DgxNaGhkEfEdMDB9KfwxtnpxsnlJz7tJAwnAr+I5XrbrPH3Rznha5uO0FfM97rMsiaJRWeBhzwjX/6zVo5BFDwmsHHzkiC4e8JVk2onAcW6Bg1oqlt7mx1EG+QOSV5aQH1zwcG3Rkoy4zL50qHtW6kWBbqtkJDZ1SBMITh7ttzZidxw9gYwf7a4SwkSGoPAEp6gHDhDVg0bHPgXwoX8BFPT5hIN6p17RzEOecTvdElEtBrKCvJCF4dAgH2TmliHtSEiZjfwTcr7L59jN0n4Box4/IcIhJe2FCdjmZDzVpe5ijDaQDShVD5lQJSJ38ot75H4Y/Bsxh3XaCn8mWeVXo7tuve0XN7lXfFu4L7L8Xdo0l6UZvC3uyIE6M327FAh2BN0d1Wdfe6t5V8OX6nF4c/jF6dSqSu8t48umxQsLTelX2anxgiXky6Ow8IQi6yBzmS3CmVIwy3HRPGg1s0hbWy4PqWANbBQlAgCSArTb7LDrx7YpZLQQS6OPI1rcAOjQVTKKuhkexRA4qw22mGBpRSv+QNrGUOMuS3fQ4fWZ0ZjbhqvCtoHfuYAwQSx/VUaKYpLr8Z0pRN4ueurzGOdMx3ZayOEyi0mgNZtJdAEODoFI44FmwTkGzJ6K0iI6dRJjvViRcoMbjc2rtl+Lif7UoSC0OSopZqhV04eGWlywA4u5itxHwsqheMfHqGVdqa0W8HFYdfZGVZcDZ/GWzipKCLzNa+PQrrbCAh3ihgXcBicWnbPBEAXfDjaQ3GgsCH8yMwlQ5z4BiqKK3PnmmOgPjJBJ3UKGdnq08C2gof+d8N9Oy7Va8LLGCFKqr4D16SAEGuCgpfrENx1sCpRaXI47T0Nfo8tmVfwuSYeEt/dM7dH23Lucr8lbix7MQz5ZZDMRRScUalsWzh+Di5cWR/rYw+HYgy+aIWIXnAb68bPGzocb8XQ6tHLfKVx27osrluZMXyUqcHtuqowJ55j/oXNeAriQYgmgPCbiPwSzK1DrlFr9xkJOWfdiN6bi/cjBZS/7Yu0g6SlOg1QPe/4QDddLeoQUi8wPagNNpBAA9OvJ4UB3k1YemorK1bWdV5c3fD8OAUn7IlYb0oFiPxAukLjbSZHxs2xRhoJA4RV+lBi08+ydOWjSWFJlFKzwn4HRP3zGl3sc2UGYCUafRRDUtInTvm3/xdD/edQus19oyBsQ4JrapPe1ZCyr+ROn9tWvf5SjDBur6sqTutlyJvXw47sP6wILYvnzpg2VvQYTZTXNwkFua6SjyQMsL1O79QKykXw98wAqD4CwtYBovE7ysBywvTxXvGZsDLSl+6JkYAjvDUkCJEem1KdfgT3ETAtORj9ad9d8Diq9ZHx4mjGnypfw1Bqip+8DuF5zaBMNr1cvWwU8uAsLvNes63W3bs7MvnOuo9S7FEtAxtz7LplikWWp/QQX2fWxRQl9KzEqi1qpAFDA3JVigPpZSNU7xIePG189hlMs945lZ4rgETtvQkQmhxeki4N0pjcYVmVwDLalKOF9yIkLceckd5VtQRn2t1B9ey2Mdyr7th4vv5Wx2Wc6ffXKxFc0c/9C30E4QwLKoftMqgqVxRRt+XdDyvoxIjsjAys6XuvXN5PGzYdMNwdboc+ySxt9TzvBaSmoNjOduFmtdMNqC5T3MNmavjxp/4KBaAm9qvMxfsce2eboa2GVoIpAWmLFFdjVSJbfdTe/B/qWkj/nXHVtnTkaAN7fZv87EwTRkM601d3qQIwyCyTtiCJKKJVTATCBlx3GUlQGcTdbCKn4NCfuV37RoHx2/WfspfjiLLovZLsinSc0RcQ7WE3P46leJPpts83rQ93zklMpmgmzSWpnzb2rHceFVv496MB08giVIGi9TG+gXXvGSdDJXLAEZahonj43NiAQHQtPscOKOe7cAiOc2g4uyJbmb+m6zLJvZQrJjULQQ0s3YJU/cbByL3bAkJc+V3uTwYATEZ/Mp3YTqB3GrtVfCUbPCW0LLx8YiCA/GCKCttIX15qSc/uCISQra24srpkAo2aFkDTdTOYJ+JuUUa35BPVbbjeG5SkSa/k5UgA9kc9vaCUXSc2pFEDSs6b1C+gfohw/X8rlyB1bvba3uYMjMICYMiKg0alvFkp5CRifWVh7vdrdjngSlL5bzoLaxBzQZORyu6PItsp4NV5EZdDCNk2t5KEY3B8VCzOhvTfeeLk/NrFT9iYajEyRF9eZuywhwAr3r6vyJg/piIDg94JyBard3QHwEZ5d17//UGsSkMrmxiw2Hw5lZXuXgClC+Jl6RKHVM8ipIUBeXiOPmBf8K0HOUbAyqQiievuqyeswocXd2dArjtBajf5aALvMUR+ZOo/oZ437zMfPVsrhOe97qoB/JMoezk2sxz1oYFwWrAbklG5wB37X88wPmYnslPj7J4Ep0yrSwrzD2B6mLOjojWKhgvQAUBO9R74KS6N+EdDbX9xuHqexhL2HBRcOiHaRUQomJ5sr3m2hmvI9yjmOzOMcm8WHBQ5iQOGx2qSHn+sQn/d1YGQa6OQJ7/0tb9fXAgyg3pfoXDxSDeRPwcxznOHG4wPSYYCh+a9gciSkb7wlO47+lPWDAZOynP7uutcHBuBwumf9tBxhq5TRSQOauayVTyAh/UDDR+oemwt5Xj3TdCMkvGSEtBScfQCuvpNsM5Ij/PpAM/zgXtV7h3HqL0OZvBgiW1fBSRUZmePqDqAaBtplCchg0gw4WPHpgnWd9M6rXUq6Z203ABEHC/QWrPc9nil1s3yF4cznM6+7znRcz5DgSyXGJlAmuhFUF7MvfKdmGLk85sHm+Kmk9h4+8DjNK5Ho2KTXpeEs7jGbzfueMsLrvM5pixbxbbAcTO1QEUlIG4asAwWP7c3TFBB4jzwmasC5ZW1+Hpp9uY26QsD9QOAFvHSUYX0hHyBCND3Tfl1KP+DwH4jpexlDoNXvxvzMukbngsHVgR59Dyvx0X6UDWjGN74s1f730ND1ZZ9RkB697O69A9AEuUBcP2RifMKZmUIutwdJf+r+Uuziv4Fw26z1+yh7GV6Xct8Ibz0K3NBN96A/SK6suAW0HiM6Tg2symFzQd9TeKjUs35uEvxXJWQRw8+SdLTIlKBwT+6sn8XAlC+mNG92CmUgbBUjD8+8O7obWDuyA/4A9Xo//uCq7zTgFkmIZHlEWoqyU4skjcPg/st4Y+xZD1xmeoPffWzZZFP5nVJ8RPYJkawjMGm/J5WufzsHikjJ3clhiTwlt4sbZwQL3rhIK7PXC7ttKBa45gcxkPoNSzdNmPmak7W0JtCsT2stOi2j1HAeL6e3HN9rC8lAGHh3vQRYsR8iNZ+MxswsrIFqij9Vt70QkZLM7ehokU6JxBaaVHNjZWOPTHCGv0b29OS884KthMo1vhFqhTyHrxQU6qI/42i7a+h/ghrzyrwCCBnwBWFehwawBeJYa0BFNgEQUCbAbDfXHCwUxJKLuezDClaTll46REcQecGnDEg4LWB6BL0U1+Dl+v5mpefEHA/pd7DgF1J5BjzDgJI6wugyvL3njUK2PQOveQD5huIWglH4vro5MEhhJtJsvAn7rABP5RJB9pqGSnkIvLSeKoNm2o6qbjStG6ticIdRYtYS0aa1dCiIOzF9WtHKAS6/vZBFNiPUVvh7IN9Dq1j0H4rtRzMJnEGnlXoIdKUCwXezSQXfvJUsP/BVNaa69OZh3e0Pq3I/rv40BEUxKHRP78JXILP3M83XWztpYpU7621imWCNyXZZgh7yDg+UCBqbcM7ErWU41qts4fP/dRAHMpUYmma8LaLAYi92S45Sp/rk/fPePCxGwZ7CF4d8giEAkZjAqifwkxKs+ydo/+y1g1kUkyG9SVRIBGTkkTAig4/9vdB2t2XUhJe/qLhsOvcxoW5p1G7EaTg05gN7ENgqjLvMlJ7c7P23ydRXMOgVDYhB6WwsAHrJcggpjtLqhs3Ljh7RWp0M0gzWFFt0etaJOktSKYJ1ZeCNy7Zupg5qLWE9k3zaS6ojbyMqw6qC/ASbmQ1s7EcL3NvKa+ADdVBiv0wd6ZvDVklEOd1YATgiegHjDzOAzB4sdWdXm5+Y6zwacQuBd6Y5TJWF0Uh6bK7hZcdxp4WLry0wqDbaDDY6jy4be77TLazyBnPF3iIhCOxhhEJhSzsZT+8f/ZQd4RkayeAwnA0fShfRmXUd1ht69BrRss7uLtuts5hVb1i/8knfTCXnifKd4vWshefj3kB0NncbZ168HMZ0wMdszpHSBbGB6o0FT4Bf0HpsClOyeJ6rpgUrTRO3LV/uscLSKuJBz2bb4uuoucgvIZpelVwa6mgCmjG21w7/CnXlo0kxr51P+8bjMG+Ff64kSkc9Sa8UpU28zWhCEPb9hAjbQSiOH0+tpLw5ZAb/rD9whSxTgvaEtuvaF+bA3eDcgqI//AvySIu3cWfvN/rBNI0znrzXbj8XkwdgBVuGQ6/g1/K1v5/fLObLjEoDmQonZi0W2dItWRQFRvoYDLuDPLQyny9HNKM/RC3dz0oqBr1Q1pX1mK5tGXHvuM/60I3O23bljTVw+6odvwWrFyRTSdw7df49ceDgMNaFepsGztMjUUgsrvsj4lRJaODZKtG6E3A4wr4N28/bqo3kNUKebcKR6RL25RD+QyTGeqIfBcRCmcuiCboVI6bIpOIzMkhliQL8ydOiNzJRSrA7cxPuk9NlZQUWHFIExv9eUq9EsJMjy4R0/jm/O2ePBzSSF34FtDDGqV/APPD8A0ObY8JAVTPNvmFpnJkddCAllzl8TdpaMH6eb84OZGzd6B9rHiriqs8YzSzXP/fFBdwgT0zwtN1lsxDCwUXtZePtTFRRSkvbtGUWV12rzAdtY4vN0knV8ABAaqxs8jIV1Ow3KjUUdQV5q559+Cf0dA6VvOHu9DNxRvewX9gDi8LtycjyO0/e0czn9gEkhjMl+Wk5Kdq9hWaLZU292xH/cyNhwLtvPR6BUz5TKs6rS1yfVZEb5SQExiif0ej+UQ9K3AUkzXpPCTIL2MF6up8kzugIwDYootScXCSVZOguCfgb/H24k1BwM2iYF+cOJVMtpt1mspHNBG026vU+d5+ERI/twV1Qy6hbggEUJyG9aHfJeUaaIzNrAxmoJgLiYyBHM0fbUs6EJRlLQVd3jMBZlxBtcFmNcgETfBVMV7bNIaZkVfIs1wQvkgyfNhouQC75NHuV0tXJRWqn4CYZwgxgbhbWSSlCsoN+zORylYWqP+9GwHByuBXv+Bx1uqRzSTw9nd1pCN0s9UPm8fNrqdz2VB2Cnq2sdaab6Jg7qksu/+DI6N8vRODcVxbVqHV6ctMa2MoO2rFsB4ndGgwvoLk7lpZNrfqIVpqtEGzplGaV5WAT1++O5YZc4LVbo1XoSggx77sSHVSur/yn8YbvbzW+eq+9KPuvgdhylk7b01iZwmznPRYWYGIYRT3ew8ASQ9fB9muAlixMqbtGTsTFovuvW7aD9W/WWg7eJuCFNLPk3w0xUsElE7kOaX/L6u0eeRRG+yd0kFr6sgkdkI4pQV7gqkynFZM+Tu+/g4frvjoqKtjr083CnH/pUbuuzIP3Jl6jDHg/9qBPH15ejOdR0Bxlk8gmsEdn/H1FBilTGOUBmL26Z0IozjSi3xlJTN4QMDn59zjEsHaVNCtdmMsCVkK8USHebCetmgGoQDYhfj8KVUsQLY1s8vfzVFIegBnUSbe0FW3JVlVA/QbK3Ezb7IuBowFA7vPeAE1uKuHUnU14IKEwytc3/ts6ZmZDr7C+HYxiERnedTg6r8d5y72bRLlgr+FwW0kxD/UORm59WIH1/WShVnAkpj2s9zPjquCo5/02X4VlHsbot8XXUZYDbiforV0ti43j9wwHQmD+qr5lzo3oT/iKF6l0H9oP+aCn35hfXv4u5vnonrH/JYK6F2OjZcsBPRE19sepCT4nKHPM1AWbxAk5K71wg979vZldAKrgbThPQBCrxLHBZFloUn9snT68c6h2qCIYaOYCeMtriE4gVu92Odzgr7xG+Zo7k33TRy5/P5/oQR8a34ZdfU62En6T2UUIYkamt4CpWbjkryxdfC7LvCJebRsOLh0qYB1vjBC1xUH9eV5MEfPgnJIKvcT98olIlgMEjfviJ7lcoXdDnkxUHKQ5Ml1bhGEB7PG2L8R2KzKNDvbLR8npo4inz4wI57SvAo8XD24+Df5On1i8hdlQu8WfSgJBN/RK9s3rNkTpWXtXd5exQqGaNnD5FNDffnwMHOP5DbVDbrLNbaHbZBM9MxHofwGOBj9xQdi3M+zDXJOtfEPchGuzWAO5dhsIHsa7TdMBA2P4lUKMwBZ8hpcADptMOzgsdeNvEe15JGYg+ahIVgXKI2r8z9R8K4r9SHql2ZeGELmybSHgHNzeS9RFIt34vmg+Emz5de9OCkOWKogVYfKNUjhyNs6u1sCXwGruz0M9rXSqm7OUpKgZPgAR0Uzu10LhZKh5L7A+07eOaEYBjqBrObmIu6HDBImxAa+7d3zgjZXtP+ok1eCA8HDeMNyIl4D20P09jvrMJw2gaTT0A4xcUB1dnPV3KPMMcDfY5WvhT/slzdXwXFMGoOojxOAPuAEuzEFZjhYtNkAiRtfafE3V/8WjQtN3bOtB8NrtqwA1WV2A40alaNMxok0KsrAJWu+1vAiObMy41C2ldGcn4cEn1yMHj3FLJeIGyavB+kO2O5kERfZsqBlXFf5WD+lnvkEpYQiWJyjYOfaDVq02fgfBom/IFV3CJXX9JMJyuBVF90hE4t03eD1MR2smN9hYRZDlm1P41lVHThuoxsdA7uigO4F/KjSqh51ZVV0JhVhDOceYYzDKdkfnAqjWpcWy50d7uCplEqLgMk9jyd75XHa8HuETaCU01OKuUC130V2I2FH0zJy/SkowgFJT6LoMp2PrPrcvlzJj5Ka4kNNfmyYase2u/hZVwEtq8c2zdn3nd2PUwBgMvA5ABK8wu6iptV0vd5KUnjUeRJQPJCHAJ7M69E5fS7EKsi+MOQBUj9OybexgwkkykmUdXcs6pUWCFgIjfN7TvgLyBC08FOYvvp45ovrMAKEaa/IymvUGavM2th3gvrhk2kV+fPPQ8KdL3aoB7WGQgNgGLv64cEGhgrsFfpftRiLM5vFv0FJM0ffXHln6f+f8/sCyhuwmJ2OIlJaWqMS2nG5vk1jdialH5bE8aLoRwuC18LeVcuvG9tc1Fk5vFTEPMN4cDzBKJd7OeC+yJPsy3PVvUTc6v+A/hFzjDzZ57+MdGRHCqM2epBN+N8nMBu9I4thLtEad+ha6kZOVe3LkW/Zb//HY+8wGByt0ss6rCtQTklLJy07MaLwGdPFEM2E+RkaHXjX5ZX6Bm5rfvHHhCCX3j7Wx62K1B3ujSPgdLXvzEzVhYEliGOCuQTZKv4riado1mZTuBK9q0kM26mCDsA77alw63w1VCBSKs/jAAhAK2PL//YfNGagU+nDeuTU0g0ArHHugv4/zPixi7P3B7hB4VrgKsgN7PlSHWdmdV3h8I5vJsrw/u7hHN3Ey6ACJfcgBIiP/+KxBDJY7QOebRGaDGUPDax2XMmKQYVkI+R7yIeUlgp/fYSGQpkYYLYauSepURrCnsaOQwjcOSPeV5Xarc+hTVKsLWBfheCjdZJvnsy3ezvtnoD6UIu596K/rnhG3vrLlPJx1wlaFVqD9KFr6dy9umyDsQAp6Vp0mFbp7I1xmfWEeQDy7hdfWLp5DNYfNTnVQarFquLlIgZxVGMLKwZx5GZ4MUICLUC/C1T4S+TePAv+jVVRASgJ729klQjGyAyCD3RBHFg2hsk0Cff3kG3WzeHs3sbTXrwOFsbTW7PZxZc8gRswyjAwNgZizbSKBQ9CkQcW3lNr5etH/R9ro0SWq4wYddAG3X4SW0edRwbX/zvu5GlGpJEIUDCbvq78hnA92lIbGlaLALp0mNtf7E92oZahj/QzlweSGQNCqOEHnJsy7MG5+ml/oNb/BalUEEI5YecqGttM0nRILl2TofHnY+iDv5dLHxnLYqxLq9RCMtPyMeoVnRlXglgfCJyYP46fQpJjtG2V+i0Srb1q0KXaltRpmp5rFQJ/QsvCbshQbtCObvi9nOlcQOPR0fqKv/QMnlOe9SB2/E3XcAyCpWd3bjn/yNC0xEu1yUKqDvCBkFwNZ/f3C6Fo2VNY42F7gfaBEyzj3gJduS4rtm064WG9k5jvnSz6MsnG/u+xNQaW+A1RXZGjnj0H2L5zKNROL6gqt7zAow0o/LvH1h0Vclkdn+RScxHgOQs3+82wPq4ECb7MSf/dGt/q1q0m1oS1S862E3iRuf6iTwCMNJoWYhlRKqhMu43eEbFS4+FtoFx8+xK0WUzQ9H56l2pJ5SSAwufzDv5tFymBoWysfu3JU3YchO8CltTekclkY9PvxmfLRVmuiQHyySPCoaYxLAB+HIBA/kn0pZ1yIrd11Lv/3vS/Rc4G50sCjH4J1Mt03yuT9zPbj/FbxPKTgc9Yg3ocaE5ZTsJuZSwg5rbc3AJO3l01m3zI3/x450GQ65G/gznkYKja+Rz4XROT1EzqwnxLEheACus9iD8Bf4NQyOSszAi5g/5Tmsp6p5cLyr6E49dGHMaDH24KUIeJY8p8t4HJlBXdJMjuTBnoxSW9YZk1Ac6xFQeVDxKr5+EmYx4xIXkNyo5dF14ubfZf5RpnyW7Joeyg6OIFqJ5BA3usE2E3g92c2bHGcMgxsEbmGE/UGE26lHuATiR9Wc0MKasBDlaIv6ffkV0aV/6aHiuuib49AvW5x/gj/qbJ2OusCG/a9u0WN4vId1U7KykbLUojtlhja9Pz1m65DiQPko6Hxwgtjv7wTgkmQLsdu9pOuWZHNrTrBA893dsyt0M4U2f3heDzCd7q4ZX67d4hok8u8bk1JN4r9lMgfqPvhSO4nF1h6A6OSe+3AYWXYSlJCP7jQBNhK5I4gglDgfya+G0h1JEvAUJYD63aEaGYv6Mvjj1fsogDtCmbOfVGzAPmIkRhi0bHY3N4Ydggn2FSIsDtvsI/aetz1+8WwJ6SMpbuaCTUSsCgEwwO/lCfBSBAWM+G6hEz6jY+1dKeLyY0twIOgfp13xfB4jJW2lFVzsECfEK5u1Jdlz9rBTHDpxc6SjT/sh5yRw87X/LPPdyBLONCvPrkWvHBT4PtaIF3PGcmNg1avfWYKjMiDdJ4tp4JHml4nyc6FnwQi2P0oi6oYJrQF6tu2LdvY98nDUZKd8/EMFmwRZXnU8aA+kOWvXPw9hPaYGBoZSPyoN19aA5WeYSha/jJLoZ6p4sZBM/tETKd8PsGYRRl85mcSV69bP3Qi8zYLL9qkgkbDZgTI6rt0Cc3zKhm4reKVHE8Dw4PhENSBI4bHyXHKl1Uc26x+grPKvQ4Vfu+w0hqyXu9KJswwajNM4TqmWc4uzdD7zIzAxuTlzATDE2xwXcsRVrUOpnHQKDRDEXnmDD9g06cQdu1Fv+uxqr+/lvHHVo8T34Iriz3j9HfCyutoJCvcz5nPfdyhX+8z6yomzLyiYBra1U6QW3BYOArLLxmfFzgFRAk4uTLnQVhE2KJsFLoPX53MEzHHkw+USB4AuuSLC+AigumHFZzopAUi5xHSXIsJJw1Hk5oJGtdRBB3UpOHl68AF4X9mNayCskxKgWJ6xx9uIrNZGHS/yTgZO+5k+Us5lMPNcI8psbeq5rj3dvbZeTIfM5/INoIlzEF8qWQX4nJnREBSCYkhgYfupkS1Q2hEvDyCk25vSrZt+l14R4Ldr/tDh4IV3I0/VOmqxxy1Uuvn9pt6zIOprquQBbCNREcp/Cw73CjnlXrGND578FTu9X12dV6sf3A8Lx0b5+cCyQN52RQzo+x3YGmfNttdY4HxAVWLIcuysx9ptgDujkTtK4r9mYAq4QWVZJYpAaAuWAM+07w0JbC0xW+lQMjuP0Fsf4N9tGCSbDCMqpGUnh5QbgeM0aSuXqPmCE1GzTIiuYxb6dyYvP0IOcdGhnUg1Y/1edGYlW+qAe9vkIgZIgbcFmJN+dRPoHvJAvVbjiplMyXunsSx1EIDe4s1lWHkE6ZreR0mYJYcfUikSZ3773+ubP3S6BTlTpJObGpl1mtDNXIK/O5EmTqJVCUje/i2/CEcqINUtM2TljoU+y0sDYrgiC6IDSVIPFT0caRo1Tq1Po1/z95rKcAP9cONkMediK4wtIKUR8LVmIOA2w6xumo0/3OhhglFFRqJACf+tVI/I1aI1c+fdHuskmy1fg9/3UAACYyZboofblbCVWb7KS1gPQsRq0dFFlzUsLBf6xyfOiNI38JQRpOFwrrKmYl1ytyeg/961pkVzbVmfZb1t78k4YK0yYvmxBo5JqACjxkakfHE/ocKPoFpIttcXlgEsyY6n9hDiWr+gE4c2KZ8NgZcHFVTBs2Do9xJzOZKd5AYzkUp+CdW7Lp6ACD5t1irLIAzLRZTu9ev6hltoyE1o6HaAevMw9JISewsO6W71nQqY1g8noiQt95DZBbbzu7qu5/pOpftGHo0kuNGeBJYmIObdGvmKElAT/wwHL60bNT0d5sRewSERwz+C/PCRK01jqyQawydNUr9DmpancMKGtW/nGZqjmfh+btuDIVzXaAL7Qw2Hj3cKA6Gu2BBShMTtuOSJgoERWEzz2WuBSBNz3lLj5BVC5d/gxumlUtqit/AV1z48ahIp3G2uQl68LT5lZYcBW7XTToH0JJhnPQemkwqo3LDnghBbIHn8EuXSDg0K/WKWlW1VRNQ1MqYvfWUF8y1FIScmPlDQDwWG34xrLKJhaDwPVjs5RAV/mJ94tedLUcVN+FfwS9yYXL8Y66zJ9eUZAghTOyhWCrTfI0RyDC8hOt9DhzNuYskltlnhFKOqaIe6lQeOdEPg+8gi9IFpR++iODqWpCdN8GZv9MGKXf7QRSQbYGoIUtkVsvXzkHYW8Iyz0tz4LMoaCKhDoIzruYnkBdWgAujtrSCou1DTo2c8Yxy1iC9TsXQ5UhVLo2vUafcBLDBjSsw+SbjedTw7TDfyWjwN5PU+gTxC/ClTg9wKt7SVXs8VsD6c7HJMLlQbVyaR1eyN9/FGrBfqET5Khh9/ufCwDJrmxaGFr2PoOMeXFxD1ot+UA9LhpHEs3vm+KMjJSSImGlTv6eVTcrnqNhtHGFirQ1gIOlT353SWrRCLVKXa2PcWZlj9jtJLVblTEpuxRHrLK6Xdp8FlFfjFOD9mTlAA8tXM4FntxqGv2EDVQ60ZwAB5Zi0NE+rKSUjLnVtk34QnbVxMDYZZX1KyS07YrM6UBtRp/GC8yC1xym2DjVD5tBvBGPqp9UzsM/ORPvhOZ+69mv5lJU3v3G8ufMv8pF5y99HuwNU8i+VtE1G6sWhBYBxcZ/qlWRi8wDAae5f+xprZGgrDFk/P+Fdy8MsxUSDdUYcUpBWvdJbJMJJAss8FKAsRyizLWXG7izvICRxwJPGljM9QvhsWLNQ4HEZPpKg35GX6RXIN6L+m90wAKC/diA2so78DivQLr71q4szl88XEKnCbqf/02BSMp6LznUmnL7Wc3Ai61IgxFMad94iMeOev4BwJX4rjn07AaKtgFrZj0SWS9OjqTw1/bV6DVpcexU8C2PxmbsRdLJjJjMYcHcD3mx8M6vxg2TXwpLrqsCQ+e95JMzEzMatJNDS4I/kDO8GKiPZI+XlcQdhnAsCBR1TxD3F4iD0bnLpBPTniHd79cPmUlqgEGLaQMX2m72IwvvxZE3Wq7IIY7QMu7npCaCT8d6Vvogs3COT7QrHNLd7AbqBCB7nJ7YJhh5gJfargU9cRXFOf2FVDdWNvsL8X5d22yCuNLytsCgo0j/bz6GvXTB0y2cZrhTTiq82UGcX9TJAHZfSBxykerYMXog7TZiYtQvhjfg/2QZB1UOADSiVI3i5Vw6+WA4AvvpJ2WSgqcnvEnPOwqmm3lBVD9PZ1Lq3MijM3hzVux70az/JtsoKhmoOnlLbeUeykSsQl79usI0BWZYqHCGLRL0ymm9bemfuo8JnJTMd1GV0DCGaXNQpUQNeUJPIO/FQFgJpPY2Bhy1IgfQXt8kOgq9OLWsRRT8dHSW+a704P2bBaAFM5DvrNUn/deQpJFnJbO9deQEJjLtI3+L+X9YLK0SvyUFCFTVWvim0ta7O7KYvlnZ3xU2Yfxc0DmcQL8YUE9VcdceBsJRtgRsXxiRd+3pj1dYvJO3PjrFi+XDsm2FTQAzCMVz5C3q9hBmYewlTRbT/jHfsqyTTS/EDclw8sCNaqfmsRsqlb3S1rC1YSRCZnKr5/syX0IW+myNhOWmOa6ghCVkjOoKLFRWV5ho9tfgvEDPDxaktIDwKbS9KakZYMNmFbwhZZdVGKwfYgM01mF61jA9QlabrjKxjLSfPpZ+wp7kyaGgHm3MbRHK0ij1N9ZxnlzeI8gCDT95oUIZHesf9hDBedlXPuSoBYUgaX3lUZ9n85qYIkZyyXu5sJHj9Z08b7Cn5JORig7/QZWgmSdRtEJZ7YUmkSHco/M/xoHyJEPPEgVzKIyzYsa/tQ9wBdTdVR71QDZIKZ0qDncMyeiW6rll/RIPAXtcgKW8lGG6Dd/swl44zmp8zvVvHUIuC5Fwf3mWbGdbDc2YjfvzW8t+YYVflpvpQtJTPLRHsnuMzEPLsr4+rxnues8hk9i18QnurireRLao4Vi+uz4bxD2qi905c4lbc28BbQvxFzhqEx1AQR9x1sy0Hcwo1HanbAjUi6GuUF7G+Q6WuSvB0I6QuTucGZE7WS81NC8wqM5T+XXmJMOxAS2GNEB2kUNUK4zadUlqRzlJisUz6HtQTB3EY3LiflXSqSRMTqbU5EjwvNdzVXG4E7UqXEAmzomkg2abUiyC0zSNxcQIvx0qZPVb2GO+rnKs4KoTnN/wj18BPxaATxVAzS86E8fkPiqsV61vs7bL7GJN2vxLU09rzp74YvbHfPUpwH26RPay5RTl2sti5F0JHVgDu8kg4REKthlcEFfEjcAme05L1/zss1A9HlD4wBzXQUDGZR3GFpvB3kPoOwTKwe0e+hPu+Ro+py3BHIF6NRoKgtWjiarOiXC5BemLVVE/Qiqvtt0YL8+DsmXNh/GP/xqN36DgRYyHEnLrluQZsTpuiTQhuwibtH88Vpy+RYnY2LMo55PJLMMypkyF59h12PLcIHBZ4/iLlCmnB2P1PS8IOfdLkjVYzO6YgUahjJJyRp4lvNfEgYOrQK226tFAq02f0pUTkiiLcy7DHv3vL9O9u/veldW4h44Kju+PtdnuMWqJHXY1RCymKhnNrqRNfsJel1AknoybN2f397gVO2FCNNhlqFMSByEix9uABkWuCLtIrOMZSQAAkYjMi9+RPm0PmzUwmFq5xdbs1ZHNb6pHdAMBOFTUApXKofEF/nFsHWasFEq7dtTgCIxkrAsB7YsntGvvvKLsF5lRChbgoovJDb7y4tgfUdTDX99rV5X9sy5QKRjQyUjX8ZjWUBA5i9XmhbjPJgdzt/eMekEdVo5PnffEqdM9D8DeI4jXPzSL50yMEq/lP0uK/8JjBBCnu2VrOrbIIrQaHT9dV9F3No9nlaff9Z1De/k8qdw2L5TylZppgWPjCx6M6AElckVT5sd0RyHwG+hSWSqD0hr/iZRk+0b1Je1Gr1Qtf5g7brCq06/6dpfn0M77jdtFJbzhdrFCnFVVZ79xZzi4B8HJHoQqTXq3l52P8Oe8NblYXDc1gGQkbDFUeSg+sOCMcvhVlMewZ6uyj4yPWn1aNEAS4xdeKojMWWyY6KJIxhntupk2q+8p8PWAN00EeTjAlCXe5Qs7jT5QpAZfYjwlAjJf0uuWiS5PcVt6Ny78Vk2bPVOpFbqG61pgyNBC/4uDWu7eXn5N3CD4vY1yXnUUnrSTUabP5d8KhTYjqkTy9mTrk81UupgR3NmFuszNaSyUX1/rp9+tdfl7eDiOowuZLNWqZKdWrCmEPV07qHXBaT7GKzAqfeM5BSOJm6u9YAQe/WTJsZy8rGghv/hzODOPK9Wqk26bxa8NdvwXc4GT1T/YKnngQL8FF7gR1ZX/EWe0SDPLFCVhXffxi5wJJlsPaxT17fv8d6HmcVcmrynK/i994e8j9vGNm1lR/eK7R86o1TmV8JVd9CTSTD7MX0npzjARUo1WrDTbRqR/ZJoRiY9vHh397+ptcf8yPTwHUq3Yw+ifVogE6A9/zl39imdvCMbNaFxVaYmVU1sM6K8QBOYobvBSf7H4JEpdBg/JOomd2P+JDLICTJUq5V4hMWAGP7pd2gJFbM5QhVHH9OyrgO9jzQRjrg+mzf/5g77igb+EPJoajrrBOS/RueFNGPgUA/nGkZESWHu4SnJQdrPvctj6Qipxtu6a8REzh0U4qfsM4AFcu79oINOIb2WXrElS/Sa3BmQZkykCNsW6NmnBMoKcvczQZiTNQVKZVchAuA1Ef3yP1SzdZ5Gn4ncbA8KtZ7mqhdgzuUC3Sh1bZxN2RAlFKShRZanITjrsKb4kOUV2ic7ke9+vH1zGc2h1Ujc8dZmEt9e87cLqvEu8A/oLgqZzUTIPMe2NH84M01rwISdGmaRD2XJEB2SlYvVu506SEmY5qjBC6FflNMSwEhYqa+vRZXsn1TNoJaaD1FDOMELMrC6GNJYaKEP1gRB+VVK3wb79l8vAl+1Ry8aUKKEPry84RLdnAw8GmN4IihGSSDAaWUmCUR4Gh4+aRPma584GGPSgEfwyVQdTX0rygK5c/qDgoKJz63EsEeigU3DjrBNa53CXQeHH5l4tcM4Dixwv+Wt4nQ2d5fhbsuw/1SgOngGoCYFOo+GePQtGQCEzJxan6wczlAKnJ0PE12WdE3BLImLuzQiVij0YMwiChqQr3/kXAFvrM0qckepOjmKXOkVrvDYqZAfQlHG6DpHbBtMjTa258yKVIOQ8T5YfGBVwzjEsCJwMBPI/LBtHCI9UmTIE7HHj2I0H4umlwnhqeEsJUyaai5KC2ngbq3ZwzzBATRECvkfbFa8jo+Qum+lWLl8y6wJaGm7IMMcxckyomLAJjNam6FMfB06CZLoKDZgFBGKnk2cRwlxVAPyoDK9W/9ZsbmPkreU7CwX4gk9yi492YnEuprPKJTFFZ7CX8xNlOnF2vt3GG5IpLogsf68eAqYikW+mTV6RNyh1F+KSJk5Ybb1VZ7HEJrhT3liXjIcfHA6oEt6E1NKERhmt2XzWMVAIl23gTX4xWPYh4KDMw5s2/h/rLoi7vYV9plSVzFcRO9Yfg4Wjs9AN3R8S3Ax7gQPj7TWM2W4WL2AVlXI5p0W8BPWS8S0Q/Ymr/sJmYMgH/fDLeA4c0mWJfWN7pGJqYzITlGyEYYCh3S0smXVINvjXLcQThOFUPXhC4RIC3F9JiPmy8YOtifBXlH17hmLS3bXGVRVMCaFocaso61d4LlurjPy/c/DPcbsjcq3//lBcb9SBBpv2qyfwMNCuFQvVZ98vNz4MRwfF+y+w49Z+i9EAQpZKUURVVk+nV6VlKvYRo6WEnPt39+bv+0yda9YjjzwYD/j2CQfqC8LCY/+C8HYy5WTwHwx7aoItQpqdMVZ3rjNzXZUrAZ8AIsg4Uy+RiRHQAIAl+gyqZFFUGOPa1cJ4RGGP13RB1iL3RAxp6idOj6SQBe8qcrZwArjnh6iSiPdm1c3r2F6k7p1kn5cl+kgkDSIXJFcqmbupfcfsvTFHJwjmEfxSMkjrC3PP/UsA9Xz1Ssf8crxu52UZ2zJNSvE4sWVmtvH/v8f78Bh88QS8ckm+nxuVvmvBuGaktx3narG+LK5ko8V9CB3XGG6JD/s0IgueEZqL3rZvR8N0CDTF9JgC0P5ecvDgN0H3aRIUiuevKpFHPCfuc3ytmHUe7fejxxeDymAq19NGRax7n641ierBcNH8Xze1jMZzZkjNqK2gN5ChoJPuP4JD9imh8y7CqRn/1NQv0Q20nvFUHTH5IzQJCjmRoOzc5OC1NbO/0VzKGudd1iN836JXV6AfFWbDCFGlhtPOszphfzQHNcdFgnv7D4bRU0XRz7RdZrEcEkJU3C4InlrA0y8S/xZZKamzORMi+5J78Qt7gnEN3QouJ3HvGBvUsatNLqaUTcBjLyw0KYd9QhcAV/QUm+gCZwzdr6K6Xr85VsmbPfX5z91YKzLbKsCXMCwFoqZZRHEsHkjDp6JT5FhD++ybTqettSI0q7g9/SNq8/MWNbO2S/B8FvC4U1zO5qHVYoHJ3tOi82deusaJEpHcYjhTTWkJyhMXDGbrQmYEWO28rEbdhCNNe72n3gd04nsoft3B2BnTwjKvlkclt0JqRv+WvsxtbgqcgRvh2SQyCqsX1w0V+zx9Q73MPO3YJa872ScZ6w47XhKrI+b45vj1+Jo8ilWtpeyodQO3sNptW7K90Ra4D0BCByg0UvcsOdIrVrAqCzwXLHJEo9sqOXuYmNuG4rEi8LzoAfZA9vseRjGmHfjdsigHfYy9SPW+nrHSGHxJcmjDO7oPfmchiwiJtg+zbrGubiZmWjGCswBISCRdt5m1hXDgEMwLrMymEEQNVOiBfoaH5cWeElTLvFhZ9IioIoBMN7SePTKXDaW+PVOXQlFTqG8+7gB3zWA9vfiCaGoeCtUh3Bk7CKIDmLsXcNO9Aku5M05Kt5/bSlQKfnrBj8+TaAJEhb+1wPd08GaggpqmhFKkIUJJ8mLKpIYhsNS6AmMdk0SPrOBDRFvE/OtrBy0esZ+YvCi81u1g5zPSJqOoXUvJ71hIg25dKn7yUZK/9/BThr00UdcdrIvt/kPKMJZUTXj7B2rh9lipCu92l2k32f8WQSzfAuqUTFc2xThnvwEdOfUmp5D9LaME70rwTNKU4F8aNqmpYAmQgKU+MoBeNkrKo1pDsbQEqHMpfBCZR/GRTf3gcl6YsjFLTXXLFzwtIqDx8Yy+HRALULLp/hexVu1ZSCbjLiVyqpnpLeF5YTmwKwKZJGuvHAbKojUtzxhJP4YdSsIQITNm9uBlxfeigPtdoxe31nDBWzszuHBpKRJS+yHB7ZbJqwWgWiPw6J3gIvGD0P4t0xdi327Vi13C+brrjwpLLU80N6v6ev//JG+fqqLg1oPcmPac3mCmeuy1uo91yxvzVPBS88oRBkgseh5+1UJiOFw/B3ILbfbfQoEb52anlAzQYauPaXNT3kx97I+5MtYn5syK+Uo8Gpzr4sYhdq4doWEOssmKQ9/xowr61E0Y3IYM4QeRYf4k+Suq1FGZT2U6zDXVjc5akA0T+v+5uamZGmZApplclEREWzg7KCNAk22Nvn6InnRFAUSlubvST5Qz028MAMscEHd7kQlo8Eh8SFOYQLiZdly7ryiNDFileX72ChXtX1jPJDr8O5lfpyKOYodj88egP5UF7tnsq8UrovG0ODyXoaLx2Y2oFlV05P2B87dbGswvnuM++NLfuRMOU06SLu8zMvLQ+JnFFlgVkU+0iWQYYJPc9rmWiKIWwk+pNXreqyGKmLkD6eif6FHLYemwdjeIHLHAiCnrFjDeTq3SeGCJjbCh9ymsp8cZljaUSGzgV8jwsru1adEtl4/0Saa3OKqP3EfeGqAJemilkOTbymR7KAURxK0pVuazJRc9xEwefQ9W9bzMUCn4XeMnaL8X3p+ZfyxCtVhMjysdAW3z7uwq3U4VEnzhTqubBCScLRvjYrRHB3CsdVxf6dm0EyDMfFbeeOeSlcrTodz5PIdjhqUk7mLpsdfYFlVumezTGnUkSJ2Q2f38MmeGUiDCM8Ao0XOaZonDSY9dPyX137d1jkIcHWrrpK0lcvV+ZcTZcmaE5FVV29RiP7G0JwDvLIAMFDGDnp7cm1mgUoMYn4XX248TsW8riK3eOB2IFxi6lxiOVG/9qPPLP9WJjdBEnAR9HspoXTKGH260Hd6q/tLoDqzkdSSjPtfaJ5DbNWGKRxcei6IaQ1/mj27vpcc1Wsq9I8fGZM7gS7s8+7r1WAeIrKgYyREJVCwcxSoKqidSpDHyCG0FH1E1rdeX9w1pz+55O3/Hf6W2dbzHel8UiAKVOcH7mHXED4WVO2aRr/FmOWhMP1rrXCgO8NGsvJgGYRct5OSy3F4EN/8E8bwG8Ruh4OgGTnIWOR8kbdGmfj6WKWZrCrJwEcdssiaK0/bWWj3mhk+dIqpMSSL52BtBB+wXy/cQIolZi6nd91urtXVBJnRnTIeli7ohyiw+CFTr0kaIOMNCf64qJu/FE7yG1oqSWzhWsbBYdUiSiWE+4Ayr1URNfMkvRVToq6c3Rs/Mqb/4d5rDd4U5nC0PFjB2PGmoDgCLa0h39QYpKLLetDc7CtTtq8pHyGnHD+esy0VnZUSb8yACc/5cDLE8WNhArkIxUTwxh5yZAnVMs00i3uT/siEoe1L2J6KAgmupzcfSyDRld/WXXmXsYtUvAVXOn1HKwcPxpjzNpgYLYbUWAedsRks12OD9Tzfbjv0gLUcc1LtSxu24BE/Gj/5CUhLB2187jE8dEonTViGXFvmyhuRRJMGRU29EQQJFabZ2ZN/MSIVAZZPFvsE8sod1APvsbt4DF8RxxW+O+ZGR5OoJuZ6WWT1ZpyX+xY15cvZR88O3MqiIqUHKp1eVdhaUlFAcrHBslTEinglWf2p2KgZYsbG+sAcyqeRr0JLqq0iD3E+jGMgb9xQyuO+hH/1NYVNCs1df4nYUMdwn1GKn2bRe91zBFZn1MCst2U2hnV7qoNbyaPeSFnG63SMOPQA7cgOxCOqg0uf3HTWDzte/9K5VbGWwVoM/s0ruh1M2yI1qWqQJ113CZJvjbD7mpXiIYs6whl4vqm71ELqO89S2EBhvON50SLqyqxTeesLIMhbmoxRgUoV+09LObH8nQ9Hc7RYScZhR4wb0VrvUtuiCJD2Nl9bRViBerXGrFqDb9t2Pre9hXnA2O8EthLGfIjUXc6y82uKktTYlbSILify5kFcqE64+/FhkUwC+s99qj1M76AL8P0KGXT21VZssKZEMLfqwLIECfwQBVu2JwM91XJNT5yxiRJaJte39snyGDMOT09Zp6tDb+VozfOLx7AxgR01K7sRPFWMLYKPJqspvSfmFSE+H7tJLG+yJRGs0bJhuiEonsY1zE9W2uJpyy/7MES9jABu+EBEANl4B34S34GBOBfMTA9B4gQpda+FrtU7uRDP+JPnOqUTwaFBsu72kjm87KFcdBkp8BKcbqtEGR2L2YhnY0VlQP7bri1ICnrjaqQCYvyYpbAuyUCgZ2juhp0lGGqVpYP/rkx0sHsKNS1JP7mRBcnwQ9d/jlxxiM/PJj7o2Z8/6Z0KAdQN0QiGw/1pC3hK79qtuW1DHswmovboX4vE0+Ip8xDrqq+EeUUOy11ZQfau9WXkKTl/V7g0QEbgrFTELzqJUN1fKJ0mjEPIusT7fYtpUECVU8r0hUr1BLH7RPyDlMcDbBKZi7OaZXSqW4I09luzHkOh/p14j0o17C0MyivvNpTp9QXIgMbpR3YZs9EdNoDaWh8tgoYuuBEDAi1n2fMSdOI05TisjbciSdex8g5bD7uJ8HZot5xGQnUEVLbZKUM1mkCGcL7swzdoPrG4qpgJHPK6bU106knVvVwXYjAApndM+GGao+qwda58EZ9a+fzlFE0ld6XFwjOaLYhWU9bzTqXZm4WvSGpES83Oc3rDKxaWi+I1/9mtrfygZnxONZUD2rj9dmby4IY1iv9CeZ4SUnQTe2djvRbzylij6+trSd7259UwwXHe/FdN6hfI+7lIgddJFePslFcl0aoil4JRILtySQw9Q7OyvsaySa+6rTRKQjNqLJhC4HFjR0U+t0o9TkGaAmeMjgDI8m4KiP3jV6F+SiubYR4byEoBxJBpTFCCAQFEM+XYCbRGva3iC2Bw29YoORTulnGjrJsbAWbhrLcrgUiIWpOHB0N6JLT/ji0btgsYSgK2eAfocfCTp9GlbIT2MNxIaL+M3Y6Ua8DYObUpial3rxwbPBm65ibZvuXHgd+a3WxwpACjmY0de86lp6A5mM4VqfRmKI9T3la7hmN+lq2qvNtfvuRjwTA9ZWPlC/1vviZRd8DM8HqfqCF0skAjGsJo4V6TDxs6d5JjrGXBSbvwVkRlerXrPlwzScvm/wFUMK6nnnSv2quPUMO6CxrZWB4tAxWVmSyov/SKX9TPpcz+3UKuwKv4OiTFJKHGnhVdzSXTKva3Eak7ii5ll7i9UD5FQ5JnnMwSwgiIE/I8uXAxCFPE3NmbffMfW5eS2Fa7dRrDwZTWpqUYPBAN3Nhdf/W7tMyYu2aeJZ3o2r68TuFyq151jwKWKvF17KV2eo9kOciHYBrieniF5FEq4N2qCw7ePhQ8XUoVr3uFQeo5yIgvDaYENOAwNduOAIRSE+/CJyUa2K/jx/32r3UlyesYj9EB4raK6JrdNbquu9pYBSxZnea1HN9OdZt/Q2v06Sxz/1seMtx7JYGRuGIsQ61ylPecFMm4+wER20559lx2hW47l81dHA8VDcS2UjJQ9QkvEqWPPiFw5WbZbNCvOlUvShblTLmuXS7uSSKyl7IJVMhpaGHJ5Di6MTVoP2g5sPfSpbjF/6hi0PKro6biGW5HxMZnmPrm0poZxt0oPKqfgJp0r5D6Mno0PSDpaDNH8ZJjMCEm6FjGiu3hyqaSpbNlAQcdiSk5gbuYDAcwqD79I+mjWlttrn/XxCJASI8ERMTgXlWWWsG0t9anGRyUJjofK2yRsqCoZursxdCTvX6Oa8zd8KxVgMOre0GxW2p3nObOEtFVjpbYTehjjdY9FEK9nPuZCSrWA8T8sEyRtkO1fvBsetCa8LR2TDV/OCWRueX49g8OtpO0Lg16Sy7B8azuDT2LY8SeR+qWXFnwwaBAk0RLRNCQJUZwY1K7Xfh17pzr0KexuMdxh2t4dVh03umOTH/O3S7tAC60qlZ0YKS6Nd15tEuLWB0VQUOf1bJZvW5AV4Hs0Ruc4YKagqGkLJ6UPYSpjFozyIoQg5+e/VL8nHwXFynH2eLplAT688lzZqiztQGLDdH5sYf31S8WXJ12jQrDMnY/RIbjewS4VAuTduet1kgnwpv5kQg9QQQEjkLgC6a5RNBvXz/rSc9HcYTDnnv0Qf0JapOws6jQ2au79q+jr8RzlIMTeENb6xZPOALbMq8To6vTusPhskK3cgkq63E+oc3mZwI3qbz9KKY94eGwBnGYlak48ydUiqhA9g8g4IGox5hkiPJBgIqjnRuEiBoUx+D0GCfAUuMMAP6Hhq443KjIQvMOLOA2kGpQsttto7SQI04lxZFeMCew4bkidf6zMashGOriSMdbt68i59VX8xso+a9lOfse5xLptjiZtHeMRkGlzyCQhMxRid3hriOBhGekuUggL3onFdB6gRXA0E++neAKooFlvZ1fbLDi5q0yZL3binIeSeZ0/YzI5J5QGeFrV5Vfqp6DlKThmI9RBtVMq0WHsMast6bE+HkLOeeAEHHKr4ip/cBKGPSSldAkV0zSXFUaBidu8QU1NgkZ0f7zNGQN3LVc5yjx9u1Ew8Zl4fNFMElu+BMCeYVHwNuVEkFOJUqO4c30CkxPlxNQ4gaULnPJnGV2tRkAKIqYWpn1+KsQqZ6OYl2z2SkUQchCs1lApvEedfgePBlKqpLfz48pCOH8Y6i71skhHB5WlOT2CyvxeGAa4p4VhwavWgGQZijHB+mF66hGy3mXWVKqoBSKObCek8j9UNxu65pt8dr800CNs8cnQrT3Ke1JZWIqlYhqmXkdUbXaPR6DAW8JAYN76Xo198oS7ZLUn6j1iNUNiRppPC38n974QoSG5m61FXmrskV/WC0ogvw+A/lVxLFysSagOUI38wA717kbkH8FmPeqSlSDIzm9xLEsfdgMdu+MAPhUx3Kh0NWOuJU7kVviVwlI9urCL16v+jPcM7xsIebyFnxE3bAZbG8rlj2ryhZ3ruORB84hRnQkaNLejO2Vw9d2kC2mpxiBA9OpuBFVYJwjov9QBnfip1tjcLlZLjDlPNQPgkQQXD7FpzgKLPRrwFeX/qHJ3sYOg15X5ai7p5MxOyqTU0IT8yQJmR/UnjOnpI0mHIxC+GY9OVEWOxJQFkVpG0WIT1wzTohEnpCteFwpCmCC4eyeZuDUf972oE29zPOH65QNNRehQYROm17TL0GAIv7+6zTbm0gigDdC+KPxyT7yQWZtYvd6ovefm/hel3AhvB57eCFqbJYBnXaQUOb+9FLweB/3BX51VvF35sDc1Re9j9tRP0/Lve5w24sQFahVDaX4xzgn2TQUl3wsc6z2dJNtQj8UV+X4mIucrqlc3rWxhU9M8HsLc+7EK9jaeNW3u0dmtswaSkAP2gPsyZOD3PLLeeY/Yq8c86IMDYGWGRsGsxRtrP4jqI+D6pTEdzIvVsCa4c1l2EYmDBYjXmEm6WfH8zAMAAUequzfT+a4eEoxKbA8Vb4xhq5HiaJJvmuGydszHD3THoyvdagNcC61WpusOe+00DwZyY8l4yFV/U2xyQ3Yjk77wP42qpC43FaVKofpR45TwO76OgQUTtMo/0p+1bryVUJyqChu4tt1/XbdlxwWbklLOQKbHDb113mpOzFYCG2+5ttNcZVgiAjBzv7XsmL4QqKZslmLhnnOOslxXZJH9GpFrbs1QAuhDQuBZ4S6WL+CG3qB8D+vTdBbRCThnuKxG39EYKGvnr3Ccp6PF+2BYJv3yTqo8Mo2e9OJfulTWSOo3GYEkivkGFfjes2esDtuhwTXf5YMalFYe4JnX7C1M1GjSRKQ+VdRqFOJ+6q7iAiDKHUpLBETd5EMLFUKc+z2gJCabj66xvN3RKu7ZHoavt53fpGEijjFNavjmmfq3F1fY63IlBoVSsjC/Qy7/jAINOw2LxMkrHD8mz1OOzL7OvDPPp+8O/0Wh+OjCGtQS5x/Spy2yHtnyfnlfcmJlrjNIwvmy5BI1TtaUUyCTzpYTm6ZDE3kZlLeVx+rvwDC/xEckxcyx/afvMJ287ac7VkbmJjR8th4llGXVaxvd+9tmybFe6LIN89pWrKEWaGiJTX/3GJDPh1zK0IQ73WG5Ug+MF5GKHtjX8LRPlVQPAWpCyJYETIkSPA9XC2PoEFYDdzMU/nz8s9ZzzGkXk2HEnsdeSSTlwd0Vp2I9UqjrcjYVs7TRxMGLC7P+lzFdsMH5iIq/ajXzN/U6i0TUnsOc+oqyiOFZt9lQwlfujjANoRf2f1XiKUzMNe5hHwxm/+/35nFcZ65NTFHNNQutwckgwkDHrEjp48KCZofrBhBuH7WPcFshDcFNMbYaD4nV+xNxIchpm5xTWR27xOZSI2L9QA8ZjZ6+cUDa3LBnYs+nFpfYlaD7HW1kB342IwZ+FbnxDw5H7jtghkWXPEOHqHeMZzSXs8PEYOrc5U63eSEBUO8UIBiMFGSB+LzjglidEPIUxIUCoOLsWJB81lMVgbg+/puZ9FAuf3tnY4u/CxGzJLBrjje6yfLbDAKQzomEwTFpdIIws8QCsHXb4lN9C9XrTEWii64CXXU1qJUFzOuGXrd/LnO7THfS+3WZqUqfl33P3vggVmuMSndCcdDuMHq3w5S4waVoUg8LzPYzABhyHwOt+Ii2/cXTSCbZ3uiWcnQuTQKEToym46L8c2ttMHFT9OZb4I39YR/36VFRPukzThLNMRz9Po7N9Xo4ZT4mi4Zj7ux0B6SJUAxtrY70Yj6+a982Z9PyhYFgnyEXzbfnz+TS5ZSZ6Pwj73VLCLBLGZ335hKaZtENBwn1kxQdkHFiXkHYQYvCWqYDLRoEfejvlrAegGVpCQldmz+WoK0sqmWGvQ9Ypmg0oKG6K30iXDRmeJLhalenfM5kwD975DGlb5WfVBdodEao7f8r2iMTQTnakZEA8Sj07yjyG+P4Sud6R0tOW7VRzknV6O5PTy7End8X/39/C6WwaDpItT3KLN6F3NDMZUporvqlH5L7XlIzIpP6ZEyC3VTFduK8+VsWX8WfhfA5v0fM8tjGv7lmWsFOznWjP0uUS+GvPzVaLbaWRpLn8UR28bJ2CqSGJkv4XrOyez3uL3CR2zNHcnU8WR1SpkWESwu9DNgBwY4rCF66xaqF6as9a+tYYZenElZQesC6W3sfcOb+3ZSl2VdfkFbBEUV76FUgS6b+fcHg9mpJ9npnxzHXNi45/BO5olpspjo1apsxie33pqfk4AWgo95NGlI4+Gqzw/UmkZy+ToHI8h2+2pJXGJgbWTAPEizfgDH4i93hTzFwnymJqzVuxg044+EN6fFiPoGtN2dSWoklXH5z/+jY9QEt16sJlY5jpatBAaXPl+nc5ZGPWukmb1fsusM87nc2PHw/kGLDzb/JxU7GNlAwc7MPG+NzuFqeEueSsUYxYVDeu2E32Jn1gWI/CWVuuPMZFd0qDu8DrAR6azZfb8OmK19tuWKA26mOZtZwISizgihyMPrsupwu5ZjBA66HAsWdhdpWv2TCuN3HGKZ8LTx8PkiL6dxxXYEf+zh0piplX41VYNPY0m4UD6Rrt7pXhomg6EfliZpHmaENK5JZNT6+j0JTKI7++QbAPfNNLRjGw5uNNk1XazZq/mxnFmnATFQYNNTSZDRkDESwt7ELyQSRHKD7XyN2HFRP9IurFWcvKXICoRCq6Xcl1RR8U2P5CkjWLBvDDETA6djEubk4HwYdCpOELbZCMz6w9jjD9WSE7cuevhNFfdXLkxDwjECrsMQihza/tARYkX4MEawbWRnglwYE0XdL1yP0aygJUVpP82cr8UGnQqliUQoTdUqsTaTiXbqnz6npgO15zFJBF2GgCoWoXKAaxkBUJOcspEUfQDHiAhloKXPitSJVjwXf6gYpAtSortcRcyH9DARVj7s0yh+pfFZtlilxwGGUzbds5XhJL3fyB8Hu7oE1faOYGxFDG42PuSJjhJo/fxD05zwwAhX4g68eR55NGykdhTzBcX0nwu364otJNyblVPnGKC5HkUadcMzgSfKxme2z6wMHV3rJE2XvZBcpkvZ0CTzDzigvDFc7gTjvoQj/L93X93oNaEQ+cnQd2EmMkE0mKfuBUdt0mVuYctATwznBjEtwOjJh8Sxaars/f5uO//9JujgArhaZKm7xAdQ8VOjzcvyFkU7Jf+SUSdGpOr5Tj15EcSoo5xYjjNTnkyDBv3MRpjZmJVeVbNpsdOTTVIc8D20FLq9qrETQO3/DpLeYhppD8XeJrG5bb9/NE7yM07v/4gzdGwxoYxMtvefuOVgdNpOGb89JpU9c+O44Xb37TEGx5TQ7CbQm9llTZvjdPv6Cu0lR+uFkODMba7MeXJ3beUsjxuZDlscwCZRpSOUR9bU7ELz67QFYbJtMHb/JulVcAJWcUh66hzstVRxZ5sL2BrZHW8bSNVRyhNJGEBFADDEIqrVT8XpjvRSAP9zjDshbuKEanAX8uZOkdfvGXTVB5CMjGuPLvVfMa2UFF2PM/bGBreuucw1WCs6W696uaHGQtMJ7NZfcqAJnDC01LgkC0OD4zCiAKvo/lqGRCj/Q/IYxrPDk5DACdyUx6HN5w4sPhQLM/9el4N4CFkx9AWpKFlQnQ4txWvlcFFEj+kX8/9Hd1EV07YfWKuUC/NroZ+4TXKv3TV132UhqW8NEa9kw5vW2rapMQeYvJ6GjrPpPdK03CtkrDg+/fGwsL2CEMTLnKVznfBeRhNgZTIT6I2ExasGkCMNhDQWr57KMLavQSucQt89+YVzgEsBIzy8LsDil43i2sAgcBQiFQyciM2hJnY3NYTW6xKeF2gOnhoe/5zfPM2A9RhiFkp32j48cpts4PagC7zM0a17kFaSpAeoTEcUKA9//jO8n56jIlZsXZ7kd4zD2UjfLSQMQa9S/rn7aS33rNIIMzKaaRPlaoPPavOWSJyl/dkKum5FUKufJ2Oq8uOPEqGBKFeoRSROrIUPtoaSf78yD3V29cRaU2ZslVRpcXY25n6GoY0nqsHFUkrgAxNV99ay0cdeg0/iqq0SfC8DP7p8WxQsjnzjccr/eMQn9vzhKN5NB/dt0LYzHP4XUVQy7TxgrfvJEyNDToBvrRi3NT10R9cMYe1atKrHSwzsVTnbRKWnjjS9N2jRJuAbGl2VCRCCDZgIn7FQhyCnVA2FrmcEG5shtt+MWl27+scAmb4ghaDF1zU/+6xM55I1hKM8ULClhSv1bmY94QOLqzPF3TQiQLN4xuN+jakBmVb1MJQg5s3u+ahlpPkf5inblx9PMsml6Lt2swONGU0IeEdoRQ5GvxxQxlg2OGkRazIAysdx2cHQd9D+VkL4TPPrmN3HMTv/biWmWaiAis/RYEvmgwyPyoeuKN/qC3RDqLL3VAGRjwY8J5GDZqyK29y9BQ5FoRG4+1dg908La+i5t4l3yczV7iNyOsZcBLSkrplyIxRUUrlSmlze3jgxQu204MTn1jWrpWHcnIIOGRn9VWLkqTRtJeKUhUVnhbzISu5iDkO1sGPwinJ6mhuGTNde7zDdffDO9NvDKDSY4UGa/11npmyWLeM294l2I9w+Y3hdk9qkqwaPWCJc5+MStzoWmD/3X6nGJWmsVLQ8vlMiKFJZXvUMahjwa2NrVrkd2ssvw4xgkDoLBTUbwlEHqCXdIACN0Dh3u2786UEri5Z+XJxxS07HAdyka5PFaFn2fFukJ5MBFMGhIZaosFTmmW6H8EyPBdDf1UdzpbTHRCrvYtKxT+4YPFsAM+63smrBUhcU1RGdBoJXICkUoP1i0eSgATkFnGEFwo+jgajCUAplzWtT7H0D9JZY4Vpjy3lnhTVah1hPAEkIPaGDjlZR3AzZzYsgzKomk1YLY05DHvnwQaMhn5DgKeuqBV62+lYojshocv40dp/SwHcSiwKdBJj6CgR49aR8k49kwo4yh4bMCsN0TSULYs2cbcLYGLDDKtfCl6/UDURUoHDyFt7+kCwgZyb3Q13RhbDfNDxW8P/dHUt//0ok+Mf+n6pO7+zm56PuR/YKZQDu1Iw2YxgBkDc9PQJM075hFHUx9gzB1l+gjE43aSHC7wEuOlHtjx3LkKFJsWc62B7qOub9fWNmElHuE8hUUiN9uLNgsIUJ4XzIuJh+mGGU7HXcIQUMtL6tTa1Av9u2TFUAAl4kFvlQNNm6tc2kWZOnePdpXhVqF0OX4I0HKyvs2dRqjHNKE+Y5dHZqQXZiy2RqZHoM5v9hUnSu8I+Tg1ZZkeSfOW7dmlswJL7LJvMXnZxoaBflIa52PeyrteRSqAWFOSTEfqmeoi+yuKPI7ltL2XPTpyxs3Z1W3dOgpvjSOlaUe04GBPeVjHdAFCqY93UgrO2O9VZ79pX6dztS5NZpwMuM+dyW+kF/Cx3v+/lVQseFnXC1sBjyo+E+/KqaE1dUhp8OkOXOjuzuWjR1L8VXNXkNG0thywRLKNPsj3eoWPzsjiFz6N8/TmukBMgo1SQguyAmXgd0QJIJtC7Q8QlNsKY5UJQ60W+WGvj5hyGmiN49RUJRprwKAuwMTidysrdcQ0JRxiG/XmoPRLRsV2AfhcVeHzQdBwFYjQUB41Eg7/eBM+C65yJZfVIVyByb+CR/nb1Gc6OMGLiwKxr06LQLTjoV8uwSOOGYU11ARg9+ta9ejPU1Dyg0UPx4fsLsmve1zVc8T1pDAFQQhtSz+oVImiyVaSuG8i6CmefjHqo2DSANkizN3SXkHzm61Z1TXv5QGGUO8JfyTs1+geh5LvQCrOAcKOtFAxu3Q4hpG8EA12K8xQE6Q7tM8Jg7ozidpSgeUAS9BPZjl3apNuC5z7p8/Yd8RqyJaaxKY+EYTG5izObAg3Ps6yH+oNzRA8yj9GGZrefy5KtWoeAejXD/M+F9RGUBFaUXpxO9P3GNUFuhVsnzqVtjEvmanAKRu96fVGjEnUgFnwW8UqdTQeIOoY9mFY+RcMigyX44lmHNO2KIyiji3MYqXrT86SW0n8muLh3SLtp6Vqj8Zf6Bp/q75yTI6Q0Jek1U0FseONXcQ5ZqDqxM38yJMcAd4+nI0gco+zT5VD0Av27oZeozfK/lE5CTj4Cr0Ho/gUuy6TbWnZx6OrJX4y+z+3t4NaUxv/8bt8oJGTAcmN/WJLf1YHB1sc3MQKS09qC8QV1x/jxBRGVEts+T18WpGpMVPEyAfYKAvPe9QKvKgIxpd5g7Ay4/GWAKr+lx19QFWoijbGkvcYtxle/3KxO4sW/XwKgOlI9sodG8zRgVG2J1Y5vN/Qc+ouadEJn5tOLXWE81vKko6kNsMoacpB0HLm87JEmg1NVW4HNnYNKRJ7PzBsfRpFaKPDiwaLoEgOrRvvMOa3oup5YOsqonLWiqBrPY2JjBG4czMq/2Bs0Jd8+YdVMPM1QbDnO9LWfrqdVru9mwKM8a8npl5g+8EaYKO/tSm4UjdUf3Or80SCEvhQflmu+b2ekpYhu+SodqlxX0McJIV3wahuwKR8vZJ0wm4cL3MBjLUaVvUX7f/+v99bzKhFT2uzHXhlCVdJx1sCTC17DjneaKX/l/tg7Rlqdb9EoekxekLp1vt2EoTxciILsFmv8sFTJr4pQhgaYUtQ5/rwpwC0FxATD5hiU9xczVLRJDwg9LPDMQzdFUJwtziPksaGGOWhKEW07wXfL5NYBJ1snJs6swlMDI5/dpzd4UzTQPe5KWYFTyJSppXXsS8eiW7tXKNwUIQQn8q3APexZ04rwX31ETqehrxNljitU3ZRuedUAPyoOwBT9Pt5weckAeVBrWlxjNTVVXM+uvXFga6yVmta32OJ+EgXMNvEmHs0xvIHjSn1kwBwq3KYFVihsiBu/4sAAy7CH6D86sjlZj7wA3Yi+SHYPsX0O169LIJhCYWkXruzGnyJ5c7ZQZ1Qy5LmH03R1oAggDoQUXiCvbdUbWNlQVwmUx2eQ44JjYDSuAftR20YVrQj1hd01FQmniLvlYo7O5GUqwznflJ8owouh+VBG4NBWWIMmtkqQfy88SmKdXAWUMEJE30Qi4r0+qye7rdRby1UWg6e2dlZQpmCPF3abwEldoxvLje5wsQzhs7BFr70H21BrVSIpggBadw2WtPTx3V1bN/Hhyb4INBU+UECshBWqlXST/Xut5z50strWLg/y33UmydTCxRnw1uWK4i/HPBZw7uvoNw3/VTTqMq2UTIH8EC0Nwtp9Gx6quEXgO7+HBIqnOhEZlOpJYOiaSC7f1NJ8KVxU4S9UAglFYL6RJrzIfQ5LW4sxXMUucqxyOUaGu6L/So9HAxJV/U4UGOJAW01bgFJbXRp5sniphVGor7pBnFRzqg4nUsiXHTkdgjRABplmvm66HY3olj+OYP9iPpsx7XNMwyCb3F+NYVpsWdY6+NTksixB9BJacAHp2Heb5EAGXNpIppUScfw7GygfEwGzJh8PsMN4LGHqHEyUXOE9YQFlC+3J/hR5WV3tLLUXSCWYFmI5/y71muaPYzMs1OSx0BDew1wxmXJS0O3FWWlfTmcCLLUrkLxMQjmfCebIY9ibvxbEGZ5XnVu34UH/zraWQgj6m6YsPI/ZRCtsP6uIc7AG9zT7Nn+QWTO4u7sqyytue6dFQknaGx/HxwqDbT7ZdMRGpnm2+L62Inet7bSGTWLreowdb1Ng+Z7ciWwIeoxu9H0dKRPUMlWsIuOqhxfWqUk7sZl13vHA21P97oUmlR1p58jrnQLe9nyD1S+LsG3AREB4STQ==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da0unzzjJBCy8eh26qStK4AYcjPssxSaxpeJZ/osdoUhXBE7eYg1iRvxvu3Fin9JSQg8p9+oXQ9QxucYh5i6OYeoO2WuqFBs4nd35nviNyzp4ed/gCQ3O1FQ4o51AgcfB1+66fsF7CmttnPG84JfqrDrVk0W0WI1SYFrIjvuU9DzYjWjLjY2+0/ULvjaoaFCtpbiYwI5kuDNd1F+suPZWVhFa7cEigSl8LSX/V27VZ6ZkFgVb3i8kYXqJ1KMcJKDBkA2fqgVYOfIrccZFPl5F89XXa4QMHNRDLcJHodudstd5aOEfUA7yMJm9djjwdAbCyk72DeK15+tx9jS3LoWggLREZs/a5e47KIl3kQeDuNOzMZFkx9qnHyDgCycz8KM/X7kRW8VLQ1pD4YLfbP7pOTu5xwujjiwgDEonr3XHY78/kl7mqVk59bY1ZCnT5IalPegYybCxjB6sR8KJrRcKbqAg0IqI0e4pAxIw3fJOUnKO9Sdw4EEzMt5T/8F50WAYUPaJMPWRoownMqEooURj0FOwDf3oPKrY/vo5yWOMTIf8fYTkaHLzPochFWnjc1wfycAUVtMiFbF7EMC1Zivww1c2MOeuiji50BRZC+KPODZ2t3h/IfSeRxGHUE3V/MHm4o771oRCSpL4oi/QOgcmKhBr2wKzUv8QcK+WuUVFurLBI+H4z0+YFeGOU8nheFJo0jPd3xKSV//dpnp0FcWAxYGOX8DPauwWEesm9LLX5IPQxWqBSVPV+RiKYHL6L8DN/TapmKa4oz9as9Gse4CGfc0YCnd/gLstJy8KHJQhce3kCY10z5wFoEPNpJmORQ6OMfPW1Juzg64bd8Mn5hkIrHFd8b0kedAs/zBLkEsGMFsWGwVre7xJdVMb6CHPq8VvqPEgxM3wQjEOozyAD4q5iBlja6zA840Fs71CLLV0w5c/J5SVbv+zGPLD8Nn3810N5TnZkyJqDCpBL1HpNjPQLjyRMTSUxs4i/eZGRnbmVoC4u6zh0x+43IwZnWYlQFMTqiwsd9nmwyPykBL0qetlu88lF0BKysgZa5Ui6NDRFeqa5r2POMRxa/kdjnNWkWtvrRc/UsdklubXHxhzsWjWBUnTwQ7XxCJEMxZMB2dv8kQtwsuPu8HgOxBTF8Fc2mXdyqQaMz+vSeWLiiSox+oadrx3FvQ0xCmhtKeprTLX1lQjgIqReXom768OF2NRkXW4+YRyBjCCuLzCaFFOFTD4LtpQnNP9365XRuxDI/olKFjA4u59ZZ69yMO2CV5F6QQJC5+34ovLDoXbsoAdvWjE5A3XV9DjRnItvK1QkPyxZlAZMEGjSC9ecnAIh9ioXUONuPxhHdTZRL916HMP/8h9GX46zla2KXWP9BaxG7sq51I6zG8TatdaqlSwnWPDbhLu19wpoZ31s0it6s8PnHLsMYUAyMc2UGKPZ3mVU/FARAqLSKsIyia00BJY7XGHb/5vUTg2YYAoKumsqfaWhwxCIcj7dUEagvdBa7YKx8qKVY8sqBKoxcERTVqzs8bjwyU5eEqw5rizCGb9aEJxShtbebqE9cPjj9pQz5Ayn+PH7E5waoU6H3HMadeiLG29quYOlVhMCaN73FoWGkJQCJvp5zeBC8+kbOyb4dXU89QSOESebNqu7AwQyDOGgHDEO1WyoiPdJ8ml0Rz3UvZxLWKAOYDoCuVwdvQfyImCu7u7PNVUD0nuJo9wXUoe0cV6l5bgAF9wYswy4FOGgyVR7cmONLPQoBZEPi2qteua4WR1uvzuG+W/v5FhVrCYNm7c0lvurlXnzs2G9uth03z/lzVcdgUrQDynjMSuWYOim8sPuTCdOk4tn1BwHZRCwKz60o2KKRbusFlcTgS8Nvlv9SfPYNVKqmq1Rh44d4bwJ7PZWo+d5nHjouB/Cp0xfzkuT8N2T/Rv+Ad6H+/3hUECe0ldHjLxMtpCMicCA1R1DD2dosVcWb9TSZY1NGi2VaYFw8ZbDKFlrSArQ3OZWy82HNW6qJzBxahB68cteHMVoCcqlhmITrq+0zF4U3L+yxMGX9iEl4zr8YdaPvM+k+sv4bJhSjimxJJ2fgobSKxpDkdWcWTSAd6GTff2ziu55Mw7UI8pjHr7NJFBx7CghWcS5P2qewSuQ6cxtTqN7z8jY2t8EHDkYa9JkVPFuIUdoBgAxeAxFS6ecTRNftVUxa28/dapgkthhj7AZUnscv3+8RSnhIflUFNIVnvBIJ9lRn3tfGRZY2+oNBsntQ1YOaYWHu93U+I3t5vY7jNX+gaJuFn6IsmvB/Q3VDT71rupTdbLP3Akea6qg1MqvhXAKiCv7tqMBm2zEDzZ1KFnRkWrNEnkixp/sZhW2DgjAGOgn7yhT5n/UhiANyJjQpZ7xofLCzyXPQDZDo2ikWejhRZ0UbztR43M6FekLETNzmd96aZeVcLR+T5p+Fl5wXrv6y9q3RqFkGJXlz7XhFblXLJr+SZ6vMKr+fjBr8y3TSdmQmmryQSMlwAQKtsGtoOjVZeFR1OlcAWa/lx/MC0DaIZLqK3PI7bEp/gF5eh6cvX7fqKrDGA0AO298xkB+7wfOGq4gF6Bt3NWtUlYHG6OSHQrYPtUwSRSFrPxrSA7ikzl8AXWTEdGtzWT1D1grwUm8vcjgWkul6sKmZ6JUBfLSNtbjZKMp9vh01bWJDp94upwaMjvzTN5mv386cswQNLZpeYkGWAQ6RHLAhkvObpRoSpV/n7bJ0qstZnffq6dbs4evEKW6novtMqLKx5knuxEXSnpScSYTHnBZs+x7rh7IAPvbKxiRoDld2+OGd7xLJaHo7syTgfr0q+vOq3zKK1khm2P1tmQFXV1tmorzEmdsIYCTnnzB2BjEtkryaNT5ANmWKayYj86Mfvo5cjwHRPDFXGV3GOcgB04p/cwYaSN4APamdLbtWgvyFmB0zFRwDCoLECtD4fSan/6dc8TNCuapv6wicERWzoWjK1ATRvc4qFeK7Ood5pjTbhjsGGd9+/q9kr7+VrpQRZ5pu07+XfLqpU1LfpOj/l7WDMU/N6V6EmcDc6P7wgaV2qGCH6s6xwVEFPIqsWBC6tMMs03TMxU3U+Gycf3x4OaEAHWGv6XzmeLqh4JxdhrKZRQ4Qk1H2m9uy1HQm9a6KYsoODivklVQn9a8J90tCWOqHTh+/TLXij5wz81iqqq5BflipnwXBNtYTFJ8s0Gzhbmnih3V4cCARxmrSwPbiUq2IcPMU1PxROgWTqA+qAUCSEsfakeVPz+Q9/sOTfK6KWrcCKVyMmxA5SyZCg4rAR70qQbW1y/+QGRI7/1UwydgD9ymV7R0MANoFVyTe5tRSB/Vj0asDNC/kMRrKse+/aP3pg5lsPwDwDfWTjvXepFev+SgfGYpRz0XKsmGFhcx0H1xYvv/Fjl95rg7qwrozyxpp4F2XJFZey6Bz44+c+Q8QugQFfPXZwKDVL1xJ4wbsUVMq6alJLrAnzqZcVsFth5A5ZRT3vveimUbfPNJU2lGSMaPHIFmhcE+uMYMzKRWiZGE35Mi4w2oltH4iDVUGH7xyfItPa7somOCZb2s9CVcAQjbQq09HLJJl8jkOVigqNgACvK5etGppUCR19n8V9hG87utcH5K8ZiuWq2Yp3B6Z/pdvPGqesmVykheAAuQPbIyBDBg0P5EQyOm3M+XTWBYU9q9DrIeNO+YmAOgp15dQ+hjpcTjUGYiA/3OQUJ0KRgLl9Ox20GGSechg0sW6VosBojFUdV22SjR47dSZWCwWGM7Z44ANPf2Ns5/hovU6h7PgtHk43qkd/fwIwQv7FbSzQH7Vae78Kuf7VIEAv7xvGWCRDCfqMuIPtj3ZYr0YbyWHBViEuYN9lygRwRFPwvXu7b3N0Ibx08IrsBeRSJPtG/Focjery+pvnCc2pJnSwOP1yy6wEnuW+8BW+iDSR91c3KZn2Jz32Zt1NLFPMBWSgfnJnSoYpvG0dXHzJBS4bVsHGWROBQxzHc0WCbi/v8vEkLR1mW2ZHdRdqhWYBlUwy+Z/UHd4u8xTWVkfYOcCLPwWBRFx+nTc3QwhLmjiqQXe+fz4AnVmi0QIZSPScjwQwAbbzIcPW5yCObwRp4f3m+RaV+MvrbHblPt4HT1J7PWT2UygQVDG4NzWuEkClT1xSIfP+WfOZRn0g+Ydb4kJKF0CLpkU7gxYmd7G+/NFSroSSkBD09rgaUPg2mvSFz39NUUHX7wQDiJMQH1UJSAPNFCr7cXML7M89Fie9szDBHCLqCAH7g5K7IAoa3WRvamB//Kw1+rJm9bt/2d8lBHFWsjZ0w4N7u5o2H1z8xkIQKWkWX9EtpPTuAWVGGHi/tg41bA/8hl0RIck+2xU9T6NgZPuP4GsOGHhiyGRpftalwkA/j6vDYNVHBsMtQJJGgJldfmlB2G7bqNzy9pg9wFoaI2jyBtBWamIHWGyUfWqep/GZEB/iKZFYzjHDP7ZldN6LFBXSjtFU34bCSBsw2kMhGTIb4jeB0zM5LF5raFzbqO2noFmTS8/AMT2uJJTqp2B9c6cKSBvzC3a2KqXyo64T4wek5NkPGUry5BZLl6UYdbo6NtdimKEpmvfK+GlPyHmOoFBys2eGKahYsbFR/mHMucUE3bOJyXPCE1hYRIrCQJv5qpOpBWK7LWaGT064meAGBv6ML8WbN3g0ftG8SFhpBlwawNZoQ0jzuMpQT6w+x+oGecS++JPbhg3gWNXfRonL3s2EC9TmtUJfXpk3I6aRa+L4b51oJR7EGJSL7LPrNXerFLQeZQghlCHXebIc0gq8gzdSJqxRdJhXCOKaAWsskaS4Svn4GL1Ret0W4gWGyG8OodX/A8mQDtWgglm2Z3gxKM7QeMM7vlmWw7uVuMDqyfR4DjkgiRvtiIo+iwA89orceK9WKg6B/pfgtNrshgLIO1w63AB7lvl+ZcON6DAlp7IAGwXDVXofNR3zIznH3wt2KFK8ZaHNkAISOvgCXUzAs5CaeloezUZ5GhX7f/kr+wm2VnX4gdIpOqDmFdHktRL4QY8H+9yXhSF0IqcttAbJ1rtO3TMpPWTiGuyzHr9QB9FEwOyEvri3KYxWjlVlzDRkz7bXCrcuOBgTUHkmbiwj2WMIGqevnt8Pd29LA4BIEiLUAYenlYqG3mTM4KL3Z9v/WJTj0rgEvMc0Kia0P8xthh9QcF3lXHDMNcsOFSU/lvVOYxYd4ZEXgfGmy0jQWrp+Wp7wqdCpsh+Hprr6RM4PY/vl+Vy232o6BfGK5R90lj8BFptLQe0HTXEIBhRvWcUj+wbsco0Jql8nP9IzRGg1nCJ91+/0IQw1VHNOjFjidelRzFsYEICt2AgC8CTni9JdnREKoJAtNxS0F2wx/ZhfPc+NTDpZcymh/yc77XvkEi646UWTYz3Zk/Wba0xiv1+NtkZGWSkpmQehwxYl+qm5I50Dz2Kb8edOUVWyLSwqbYsNnTehLWFwZfjz/qvsqlhr/ungPBWDwe0bal/fmzrMbns48xBoEM+lvaKqNAKUjU9cnUyBXVS1TcGVe0s5NkZS0wg24Bqtw7TbCz8nEes/V9aNnKVH8d2zaobD0n/LlHgrPSLLXW8Dr7Jcazcezw6q4j2+5vqW2CvETtZMMKikStM6dsIc+gVovO3KOAzEZ/oZQeaTY2KzRwdwJVGbwvLKqsdm50fqT4n/LX9R7w10/hDeEqz8ofSJ+KQuWL46Iy7IVDptjvtVwSd77ZEnADZWVS7VjAkOo2c0fdedEot/EgpbS7dfbv5pZDxAjJ7YwY1zklLhGlvzE9MY8WQoXJXhAmOc1hEChkBJCfd2xzUN94ujlmFMKW5U4ns3Okx6S18Lwlcqjyxw+9nmF3HD3ZgbAmk62eMTlnla9bMHa6W9B1nyHRc8mpT3hHbaUEWp44fa6cCy4Ji1od0aVdOppRFZeP0HXQWWMfb4OvRNhMsq6BI5Rb4r3dgBnR1ep2uCpUMsTK1GwSx4k40AZhjcEHwUqR4MkSx4Ysd2SPvSnsOBzyrFhTCl6E8ji2sMe9svaB7QvY/avVX/R+V51LaTFBF2UAvUxrOrmVX403XpAXa+mR5KLWSiVLh53Ok6+wmoCskdl89yeuZpQ9MoDCW4XUeL+gBvQrfZR3sW8a5vlQGu1ZSEWQCCokKUiHiwpePbjf+5vrcT9LTUWaBmK3Z2mPQ4/Enakl8FS2tB7dMzoPolRVGkTVumn7aFEEUuN1IBfmQu1KPKaIw+r7eTtakEyaTGhGUj6LkxNKasWdJYUjIFwWuhWdH/r3F0Dv0lcmLQA6720LuLEqUzKHFeHXEhNz0OJQdH5eePO5f2SmGgj8fJAHz1nzExIlRdzUbyjaBvG0taq6P5flj+CCHRiHylWOEh0yWXzHcLl5PseiItG+rWyo6RctTs00tWVDACK+Gz65HTpCpPWANoP9pXEfFnVXZvvnabwU/UkwmLPRUVwAoxYrn4dxDijCRI5lDjkfvQ3rdgeEt1BXAENJf/ayTVkXYKuA14NzMRH3E+kq6zW/0TS8GBt737VyOhiY6i7yzu2FFS9HjFEb2pueBlAGeeVHjs6y21T58Lf0Rtkxgnv9OQh0qAEyz8UjcLJp8jjo2Z2owY4OuI6ii2qJLVaTpOyMvL5YLM3jr08r8hvRCCbtpM6Padx2tELnlZJqquZY3FZ2knXHqYvShiPUMPWsJlHX4OiHydFWgAbd4dHOXywzZxoaMIcsCoxCSE07aAIrXFJB4KsebKX+uxyPMCdw3IjZ2j4vFnmeoBBQdXMwFkJU0pXJRBytR2H5U9jn4EPTHH4Rm9nacLCwGe7SfUE3V2+Tew8cfxVUH0fguuWjnxJdTGoPfgLhqYEZE7dKNr46oMiOl5/sxsS4+HJC8RPeZJy1uqE+5WXef6qMxk3xFl0mfveAyMpzqM/dQF8H8hCmUc5kaj7KV9yKNelvOKaj4uI/dbJ6wZmXhK4WfM2PxWtyLOJhmGqDoB4tlwTCke20Y+E8ZI1ZTFYm07ToMR6bp3YW6wkEDrg8MaI54UEk0J9rfZKy7o7CEa4lXoVi2p6LXT+5e+m1I0/xGuR1C4+zx7+ZqcOQkbCkeC0FGBFrwrysQ/MkJyRO+DaeYzvITr4DwvxOFezSY2O/InTMWEnEz7gL9CW292FSJ+ndtIdPIXxxJYDrrvsdW4x1Z/SfTAtMI07jCIqqKoQXW5QmDnyclpbwy28W0rYOF+9YzCYkgWmN6+mEen/f3i6UnaK8zzkuv/pcmWgUkvy61+L4ldL8uxyPTHUEgk83je06lyinL/dB2Izb6yWqdsUIcw/YNU0lrSMqOzA3jGuIIFRYVjCynj1IMQCKVIwg+t9SkxhpJ3JwfURm28SK1FDOy8N09Qt/Mk/07fhmh/GS4c8bhKZcsJtBIfD1e6eg77aOaZrhBh5p784ZAI9b5E8Qs4XAiaP+PUIdg93mEPHHGrHS3dDjrapHCKvNupzqor1QBL77Swx0yrwzWfUKr1kLJ7GDC6aTfxOIVmGegIPQh5kD4uk8AauAzX7j8lkROerPhd7nXt/ujlFX3tNxukENjoxgUI6EF4z1Onu4X8B3IFJiE2+dGRJsiJJ0W+RBFqQb0XAon/VjZwmRXAUxAeziCUBG5KvwKPz93fDQg1zAj/F3zZX6+5VjGkJC0z4OMN3fA2B5Up8IvdlfHLWTHCIH364ffYh8bK3xkmGXGZ9YrLec6kWBsWnASHEkqyAGiin7Y9rHPcD7Ah2nM1XpG9ICZOJpbMHAPHPMQoDc3tOO0sPkY3aAeDYfoPUX6+gUJ9nFykhr/FM4inARiq/BirQsXTubxrGSPXPHNfMozg1A38dynUwpthevO+9BU1p5mnDM22AqJdNi8WpyplDlBvcT+GK6w5VbqLuhhcjc4poMKULdxcuwHUM4dKNoUq7rVynKCBwRzb/zW4+HNw6S0Uzck0yZxtYUYVIOFDrwcFUv7w+bxRjoLsd+4Cg85bG3VWXjzImakn97xx4YUKvLQLyXXJ6BjTbEKOcemEEHaBTk4fLT/y5Z0wWds3yZTW+jDrk+eDejJANlef2bnfh6hFlIut4lyokTvK0blb2wVbpMnvTQzfjprYUOmuiXuefV1J85ZZYqMR6gnt9U0vBruU8bCNB4tB86Y5ZE55pY0U6Y0yBFuGQLllleqw9MDf7YixsS1tROxruAnseXstW5wp09LqDyWr18VwlZe+MmOKkJyEtv3ijsYBNvPdh7Ww0u2Q+16sU6vJYau6EwUkwtCqKxU/WcBpTYzJBad1EmR3zfpNjJtXZt26EJ0XbJK8mM3a297TpSQlOi6C12BmrPid1Wch/0DoDwjpMoT4cM8d9cE3ZfCldvM5SBideb6w/C1CvVE7HRvstw+aHYnNhQkvEZ7BNlKlFxhJAhf+xyFhvDgoSh6KPLZUCaHu4Lr3n5E3YXikwBHroqQkV6N/X1hapOIqHximpp2MvznITe9/5svjgJ2iN/fhlnUNsLMA5WDsk8Q/0cBFr83NqUD2z6hMsh/9XjoLitdC2REX+ubHlXStBLsxsQQ+mzKILLJbeWfye6hOUvbprZ3XFVNZITqrYYRJR8aM2mEbrLQu1XfZcDTE+xhMm5lPgp9fk33UuQmyMI3pjljxO4pdMn9MopvMUScC4dF252t0jpVYmAi6D7a8T4EgYpR01kJgmrc2N4M5yesctpx66NnIrBHHZh7wO6kwFXP/1kBarY5kKpKI56Sp9nFv/FF4MzmlYQEeKbNr58F65xfiLOAxVa0ADpZrzLi77ax0zSF1pfWF5xVUcJ2IzXn1XPiFf8tBBhRLhFTKLQQ84C3Mjno0nLJpCYz61anWpfTLkFr1djb/AB4bVjZ2TaC7i1nUWUlJQ5SPE1ezwVQXFQZhWqcDfSkBkXOj5U1DQIGvivS2R2Sa7vOvjT7fg6ciAl4mGhcpv5m6868ArpeloIwXf/qsB3aPzjfE9filUubjKE1CKzTXlbkmULN/U2pF2t8W22Oh5uBfmRH5wZCvU24daQM2Po8pga+Yfa9CrV+2E+7EZFSvVfMSTRzfZbfr6EPVjMRclXjv3nZfQipfqvsolV99fSpt+CiollWzfVKnPW3+xKKxaEifWVifv+Yy7r+2Ste5M5A7vq6eNk1mkhFS8mJHoa2JKakcEnuk5GKtAKLv5QiBG7e1dqeyK3Xku7/3U1ZvYqkACj3zyiSIIK6AEMOLmSwzXbAt0YPd8Z2u1a4dvpDXlb8kFDdROBdN0Jnqx6g8B7TDCBzqoJc2+bl0VV6q5ul6gdZn8eX1HwPtuDMpvU/Dgf10ZCR0GKRVbA0u27722fyImN8PI9uY8g5aK8A56LsBEYW3ksXssT//+zJsDYNcJqH+pDD7pBAuffH1Ng5tpdRqUSSFJOJwvkZpZ5Ooszj/WngdTxwYpI7DM2TmED43zjOUI6wWw/O06uSQM4ZAVGknJiFjGsGFpC00IpC3jFGqWYSHZJuRC/gA8+E0RtwQ9xvu2FAqTAzh3eGYmyCUPZFoOFU0z94z2EWoSsUtjoNcMAPfiuDTLShNUuI4ea8nVia8VHEYMUJZRraSfwegiDcFM70KmQKU5VIafOigU0gkOegEinXgJfe+8anFhCxB/hZ0Cq9yIa6qUujGLgR86ON1wMKgxW6BSFHAokzMEc+8F8oMS0GBAiGRVSV0GObvZ0k3PzXnjlOzsB1sx82Vl6QSdQdu1xVpdDJ7mEtfyKilaP5UxGaxrUy/SBy4mMcLd8PsBi28PGju0FNvrJwuv6CdFZnZmQo9XCJ8LXkSqg2dnXanKaxRLxbKqQomClOGP0bFnVqGhS8Ikd4jQ3VEVlDIhxgvTVbG7fZXWl0mGfYOrafiwS5zW9Fz5TkE5AAdM5J67tvhOZ7+pmggXsFEnUrgI1vdSgAtB3OlveyYuJnsrONitiKFc6ZStWk+YcPEZ2rajoSJqfD/6Ko/qo3x5Mj29s2cBroVtbeKV5yrNhTJNv8Ec98DiujiCe1qoWqEX/+EoitjXZoSLVkzApUrzTMgPBLfT+g3rbiHh0bM8ABUgB45KeNA5k98lAHQ40X2OGKTXmc//LYL0lP5z5luxNyZEeebPAg6k4OjOzxNMrp/ldTOdRlCJmgnrx0Jdj8bJQP0o4RYMNVJDhNN38EfBiMjfaM+CkiIgoueDCGWCjSUMyl6dIwnuRz2NQTlfK4+bYwDtCfMjuexXbmLg7CPBMaPLOSWUVNITY2orZNIR5u+FdtL91ID8ubl5AZBpUzyaIOHy0wMJqNMy71sI9XNvIBJY6lz4SjKN1CTvSSRtEZvgOYHRVR11iqHpi69b5IdB9pYp5pa5eek83TbLNH8SjmpUk9SkYBQyUNrppyL/w6POFRkGtaX3L2wYWdU6tVwUIi56qDX+M7u5PH+0eS2S2xiBQYeijfbkqm5lIFo8JkqSmJpm8f4vR9FEQlJx6+6i7t45RoMdIiXlekekwYqjtu805VJhkRbThp4D9ZH0CHENz32bqllTY8RLK2bTQTgdJvi68o6C22LxMP32atdTn5+ILNpDQIiTx4cq3AF5PO3ZvZ0k2QJfWooWYR4gfDrBwRt/yJGxF2110isl1j7cmHFQs3pjr5GCiYje3CTY6WWLgLeTKqsDe9L0Q1mpr/rKFt7xrQnq2rZ5e/GCKSOwjTryiHZqpqRFkIZJmYvuVe9KdkGgsHLFswwbi4EabfnQulzig1ZBYfUdV7uiehU7VRtJ0wm9faGxDyaQvUyfHIFz4PXOjBqFRsmGi1aPpHt8LBwctt67aGysSPQR/DAFJjuPWUqInJGGYevCVMU/RA4C0VMrKTEBTVbWhCHoWisT+etVRZTFooVPwbPJ/ZJGm2xL97oBgBcXLAi4XFBlbO4/V2LSme/0KMk5meps2FWvEYMiXpD6HzNWKr9gGWCQTIjM9VYyO4cSQBALZh9NbFm+ZoaGIkChQIZPR54XpdkqPnlPGDLw2WRSI3roppcLzgrnoTpgMgM1qJm9oKL/0FN8YGnfBpzolGPAZnTzORUndsqvP727c0hiBi1RiY4xqhHT1t7OyZqa1DrhHCk2mEj5XnKYmM+ShD9KAE+xboamUvcUjsqQzYuA8VKRtVpT92kujaJYPhchdFHKaE5/c5mNlWTgNCSgWmgo7IFBb0LF9JetTVPAgrWj6h7GgnREZRRjoGebKTzbFF1O796nYEQMp6LolDYThXVwa4JOXOi1myoIjCjBinT9FuUHoC8jISvzJWiCXGIow6O4xIpHiNGPqdE/izJ/skuQgRQil2WUH0z+f3wAcoQaOIeeuN2UlaBpw8zEM3Q/pbYLYr8zqlfU1fvPwv6RpEiXqIm2t/VGYezmJ9ob1rl8tPLOVP6ZMJ1OP9VqfnrOWrr5NW2TkDzRATD/cWJsogADbVrQj8vA/veQgH+I6IYVUv0wwhR3D7eCBj19s6UOyM4gM+zwExEQPZMUMT/LsvukTMqBWJyVTZz7WFR8P8EwFq5hzbN/00PmKN80Wz04OVG1rc5iD8OQuV7NkRuPNc/KOmSp3stEKAvZxFFyzCAfkyq8cbyXkh944U0n2dcZghdwf4hhBt8ESbe+e/ssHjQh8sBYlBLpPJ3OTdLt32pyFe0tT3O78kzQaICX+Y5F12y/Sn0Df5zKLru03WHP97wUU3sUvZSfxkwulOnYbcDdCSIVaZZIfCNiRnhe6rCIZjA8Ov95ggYrWiwq/rlAmZy75W60RzQuyscjoCXfsy6+wL81HvWWM34JmzuKDxwavD1QZrlGoEQSFln1iOEgwNNCpHqeqAOBvR7KsQ2zSpmXFtCBUBXrK2k2bStt67KUm+nCeC8YeipvevuYnjyUIV4gFSrA2kqfUlVasbHaimaghcxvZ4teGBdvIPLyOYRXr3E/9ThMgE7rjs1nzBsV1E1fwS1LaRJX73+CS9dGTD8BXTGLCWPjjVJ8UB0bsoNwOQ65J6tIjuEk7z8rhjA8ksEEv0CsLqrWK4x/mCb1to3VnoOxNZILqELVfirM7AD/0ywkNSV9jRbLWyKwMV4nlmwmrUHONNmvknKXjkghokHqx8saQj2bqfNbS2u3/qWKD/fG4U/xjHIGmf3FGIJZTpuLzRU1N63q6EKRpqixCVNk6QVc4wbcnzhCCkGM4SG4h1KuaMNF7/piPUPZqg+xZ+t2R5KhWwxSYfwTgzOtTNzqnCAME37d3xSJ48IZpqpQs5NKdC47qMr9Iy2ZCiu2NKN5VLeoIQx+YAkwktq5sevtQxLnf9jCtfMGSd2ClfT9O6xC8pu4dc+8Hs0M6/rYOZf/cjLF9TQF2DsGhovTUe45jWEgbB0bASiPuowVwdwdLKCLdMKa1XjeFlqLj4lE4dCxzcP7TNGb4yQRj7NXtQL3LCaj76B66KLtSIlfgq2+K7gNFbX5Iz+XtbXCGasQhis19dKJug92TdAE6giGof//86VWVqblN2tLhWbJwirY/xGZMu4SlNAu6Q7BK3APlPffMq2nOScnkAnRoXytIQsesI/2n9VCd7U9nAVBHge1UGcEiilJW0tZitKOIXz4vqFeui4tGbHtvQdwWlcW8wSS04fToHIa1WYyQ4s+hBzEZp9yklPl9TyM5QFkSNixm7qaqGYSDPyt9N9zj7HK4aahNOsR2zXBmDJnxlPbgYKq3xFeY7d2xSgXb+0pAoG6aquXV1UIb+06/smYAEreL6WGzVFYhkgXMt4yrwfBAKTXXDIX5hdwO1sOuw0JdyYIvFzwJ79cBnxQpgvIvODvnBuKubhUv4JhdPd8tZBZ4k4GaQXAOkAoFQLtxSzZFZJBDny+GOzhYPGMyw0jSMYRDhUGUH6Os0z96vBv+ITIvdsPYhHSSGfxEUHc/4r+zq9035SesNUautFBXfMVzp0YVbkzNaoPkmfPYQtZB+WdmgEUfLa9djhxQTG8I2oxyDqKmUHC5xOzVuZ8mckMJjoXT330GyvbkrRsh9LoZwys1jpGwSHaNjft5eEGTNzjJannS3XpspH9nDoGtE0FKmmfBtQ98svn3J6TQvMQ3iuVYW7t0SBTbxCV8/sERLR68R+YKbiATGkRmdLe3Oqeu003OMbNf4L129VZ+KQY53BF8uTiGI0moT5qGWfYsS6ALczKMfHTkjJFmFMV8xl9zq7XqiV87nsN588bfqnYnJSDn4JJeltQJD62QppHcicSVD4trY5zb0N8J+NXxzhd2Ke/cGQWv6DFo1MXPFp2fnSdl1/jsV7azlDkV1HL04EDjvJihdNIC4waT+nDWtuBJUbOr5T7bW+kAuAKFby0Qg7/O6bGxmc2tBBN/BiZuhOU1W+NLWf9Xp2Nejrz3EkP0XCTdRNvhxq+IvOQkqsHw1KFrl1j0Ss3O1QBScDu+sNvOye6oJFXfd8UHlCtsLaPSY+7/n5apEnW604HQ18CkzhKQtkui85Ri3QULbZX/EvI3pgVbaAWKUC6Mue8Xuac2JXuZEhCwdGWqMOXC4jW4s1CJu59qubzHx1KybhDxPlfPHcktbCLTeX4uSlsWWaHhkI2ooosDUaQ4mtNJKAUNIlUoDxRqtcB+aCzmCjDXuzXOfOxvHMLbYpceN0ojp84Yd1YkSo7RaGXSbKx83nX+qoJwZwonpXCZ3G0ssSJi6zPEpVQLgeVewSDVXEs7HB/uvNKFmwdWFqJChbcYxMZlXgOvdKM365PeQagmpN4250ZwOBicW8bAt7+wLRaxN7sQIa3Dws1T1f9q+vQlSXD0f/49wcmc1zIVSaxt7hX5BLPxFsv1etPe4es1fXFCWOS/VGwMC8Dt44CmXLwgx0emEIXmMRzD9P8dJ3rn3Uz98I4hHVd616wfp3pitMz9ujtkzf0GJNkz7uGZ/fEavOY/dA1Cgngt8HRWQ4cWctkah8dPAxIKukyUcYfW1wwhmovRf8nFDhQSSUww/vsyb2QhexEoq2bphorz68LLwmDqpNvZoLjz+UdcQBEdMKRBf5WiS6neH3AFuHPbmUPGn2yT025Oy5rL7eK40I6wmAkU06SvM6eIcMv/sPIR4ErtQPloUJGCq+lJ9q+m2nspDjfq/V2eSe9F+7VlNRJ3vKTBOl974akOiKIroRWeKPV4SIVWj4S6zU6Xi2/IjTOx+df1+6ZV+Pvox2kRyaCtXDFAZB6XWMk/yg3XXI/z0w7lNxTwe8uAfNRLMGLZ7AVYZlfbncCjRlxbmZhVTCFlVzDohR/ULelFwSWvwtjrAgMuKdH+1de35I9kyrEIm0F1lY2X0Mr4rCwgyYfjZt/zzh3s8SZ7LzqIWaTKI3LecStk37prksWY4Hq+Q0aXWDVBM8tnzLjWKLfGLNnZk1AWkBgQqblsLhk0dOC2vrRVcpeGqaVxpKvW1iw5z+mPPK5qxq4jhBuqTjYzONPHbsT4CqTXM0gjBHgRR7tYbFG2kony5g3SlpjmbWFv1Ii188rN8O90wV8i6Nc4qFrG39MlpcYw0lYktJpaCARwF+M5v73BlUEbqWBKT1RuLb8JXz46bgKuFlzHBtOWDfKf3FI1ZI4wrz6ybxUifGt8oI+37aXr6GdN4ftxmHnXFEbidVyb5bCdp2c0zSCdH2VkdSBQIl2WCaO+DLrl16XP61XaUEjVwW66jRrA25/JyFaEsO/rCkgke70ju9dG2STpJ68Rquw1HfeGgeubJ6QPENf+F9GU6jUOWb9iSWv0TcJsCcUm6ZMdRb+1OI3mHpmJnKHBQfFbABAiP86Tbt1pZLDpFyyRBBuuClK/r1W4oA8Z/BHhd1ORCujQpBBZol1t5wkmU4NYiQovqArneDgP5qi3zciC5t3phMymmKbypw7dH+cZGW5dimuTN9CJaxxY0vDXvQGXCoYCy0JfbSw1wGVmusICWQBZAcAv55/Zw7aa6eLjHHgPEUfz62iY3H26cpl0CTzU4ajUhZOwOlkmKy+m83DM90tkxh3hL7TTtbmLiVJZcRDdIZY7hWIFWon43oHhxfUKJUUkhcsG5mj57ee9HmEsIo4j4cNuyOwp9nYxWBivI8RfYlsRiBBavsOogayIITFRf3ruecoaYIZB5+357YXIhYqF66NIZCtnLF4AHbiSMANlMOQ8k2s/OAZPkJ4F1ruOuqlnOE6iy1+ApgAOJ7zbXlS8WFFAmIolUqmEjYK3ucoSXbsGgewHWpg2o9G3D06TfTaoxtgF3dP8OmNdfv50iTFyoT89oBI2fNdJvL71N2tPF3l08j8t6XeCyinwmEmq9FrUDgWv83B4hzkAIqnCfSV5VK7mf+IqTeM5ujEvaW+7WzY1yznng3daa2vjbGFIDohYWVbCw1aJyWISH93nQOQXFGdDFtbnSYpy6I/jF0eQDaOyXeZNdsbJUUQrUH6cw0JRZH8oeeopsVrH5u71ub+Fl6YTuLODM4eSDeGaOjygA9WQcF4SFztHJ0bYhVrpITLsUS4Y6ZG/JV1MVmQ7yBzs3dHzIh+MDWssfP2jZzCsowCKBfskynNctskIT8cn01vbLV4688uUKYa6DNV0pV3q1iuzRUGuaWGLXsT4XtMY0sji383NcC0UAE5c2AKQBMb919O1L2LFhn4Ju42BJuFrEP6KZO8t2TjXFPf70aFABnp+NkpunJCBjzf11CwddaHtcZYR5zUnLEu915bDdbvSOtz5FWaT5ejDRsJzRCRWljVldGinDVHwm4hjSiiq8hMOqZsFGtzE3XGQO0IWGqu/0SFvSBDLJVRpbfRMWVjLp+ue71kIhnwFDCDgPgp3iMnW+pLBitQyNVwiVpafePQcoi+znmlM46wIpCFp47PLOJ7rk/QkuRFLM6LPgvFrNfMU6y43Wy/YVL71X/UKTXt3eo818kAihWbkb0xCbfy/vPnEhO26ppFFQxn/IGLs0U4d2RhhR24XEdv5pnZKjn79PnAQ/2I79MWv8QnZ0piorF7KSP6iR+yg4Jmc5s7237UtFFHioawr7q/RxwAQW+27vmhayfT7oY5r5LP6g1K6mq75FWKC2YBoKL8NwTv1JnGIhaB5DQojXTkGxvMogYORfbxYaTKDg0C2wa6Hg+pe7E5wQD5NNQPaKwuF95FnkPaimstbuLXYABsReYrPX01mPkKZB/dpAnbWjuUAccqxI6gxMaIe9zkCZ8PcunzQK2qbUOusz8E+R0hkvufZPx5+D/uHgVF7DhQbxiDgmeb3476efJB2dc5ELgVtfAEny6CNmbe55SOzZ2EmcBoTdY3PV3jv7zbd16Ld0evc752ucgamwUBnc08X+kecaQ05bMQ9BSKhHe0qNJjpGvzKJM/nqQsKmkuFaWDHeShTaFzOV7R9rRtFwVidpqCC1w2XkGWWurdXWmUfOVKPMc4fllT2PklbfgNPihmhdrYTh4+DUkP5TsVmOY2Bpr4wRgrLzAg7kKyw3rWVMK53XlyNGfIOAV/W4p2JbhhH6RSIognGXLBe63Frsvv/47R5iRAyFBaBY0J+zc7Pg4jILAEl6bDsBE15u4c11hiJPhpqxnGGaU+wHg6fklfu5zOViTHr2NSoiUL9wX61q0tcxsCITsVrW8J8E/tp0EBVeS7UG2xjizzZB65KkN7UZI7Y9teLFp0g+ZfGZDI0SZ7gtJPtRASXn3F9Q6D0vrqOmAsobSoOAriJdiCPedCSs0Pij/kIvPTowpEZAqr4kjBo199HXgmWcmma1xNG6J5se3HYDu1InsSxrdbBytQWB84FAki6E1YHxXuf0mMoaHgC4/zrZHvotjRaZFnFMfWjlMdnAt3oalDhs2avh3YR0npWAr+is0TB7MAts3afX0K8cAXltZWpajLtpidUbSMWMlC7ELTsn8v0ZBIwh6ZYG/kGFwvMJbV7mSHvI58hDxkhYxTPj7/M/3AeP+TlQD3awe2sFPTOqPAzoHtGQP7S0HYc/IpuGcibDaHmQ5TNGpB2ENNK/Ob2I/i4g8B9V3t1y8D7fuls4kcllbrzMhJ3WUNhL3f9Lpq3MexylcWX3+QAyNjlkvWyFCxbjBXajzedMrcDTMWxbfmJ6sUEl2Djw7r6GNTnBGq5NzZ1pgovGbDzcw4VyEVLr3wKp+wSxBXrPOdhcORqXpH+7zQ+oQdJWI2dY05V2CAy5Tj+BXqYXK7PwCFqUo0tPOZWQAPc89lJWU1wfBqsR1/VuE0CSl+DxLHKauDAnX3So3jLJKTZ4WlhoXhca/sqw+Nkq3ZmDaHZ7u4GjGrefW7d+0JmDaMt33+jS/IT8qwqPF+xxfdFajXNRwNRBM6e9PBF8OKLXhm0NAsmtXAr3LAwoj/585JaVlLh6efHX+mvs/LqBCw/fopAOcjwJ9wzoK5Rknpv8xiImlapu9I7vQ69EBhwsyoiLnhWdDTT1earTICIDXTcUBTSCvfwhUngjwbyjkcmDHPurAEPHmYexx60odjXR/En004hKTTUM8h8uYpD5Nv77njUkSq+w2+M4BXmGhlkXTFfW0kVoyo383xK6uNks4rQBCCNvBCj37vWmM9P6v59i2xvqrR/A2xScokNgLhr8GDFmY1JF9E3y5X9iOcAQH8nKNqEwzxrI1ifIVJLr4Su580xvCVv3s07EJhuNfH8IZ5D9DG/PF2WEsf+rUag2wLlt4w6XUvJh3wFG0yiW2/tRMMYFU0I2quhYTxiHXRRUXN8VTx/w1Ejhl/4DGewYzkHrsfg0tRnpcgfOYsIkv1VFPL4yTRvl4XdscX9q0IE1JJnYZjfgtU2X7mGLocO1ahHhnTNczjjyHCVdmB3PffV8NSltHDkyyajXrCDw+qquNPw4tuAzt5hWTlRqRg6jEBcA4+atsisto0D9WR1WUnUdG8L9LCttRw6wh6mrw8zf+mZqPEEEqx3SDfxBK2tFkCrmOCbnefrI5fzkIbHRjIimXPFd8NSY1R6fKTVTBfDMR4dOqsPp5NKCPmKtPraBcuOMIvYjf2itcQm5d9NoPdJLKAIuQGMmsFZf7Yy5V3/eGTtwZKwG4NTR32ha/1yVvyTkDzBOnLcQ1Q0YrOmkII79nQvRohOqJiFE0QON5hT75BSNwNTJOZIHQIp3ICp47vgpPStyKUumtGsS7vyS3RH7wZf7vKfGSwlCu1ascJ89+lRgZYCh97Fi50t1IFa0lT/22yob8f+F/ByuozxENfkwejdRbsK3YpAI7DU0oi7UcCrLLrGdAVL95Cw7bhnhFj4PAY6PwsldhEW+19frbPYCEUqhdTKoVt396HYHL4RXxyHWcatFosz2AGp9qIGpR/cZoZ/zflhOyo/vSbTLsfhLVJN/3ioEPUtk9/+o2uGOAvdBhocC65iA72qu/cmZBY1ZAiTA37/H8dDy3vrU7pMXIu8EX7MD5JDN8fhTRGWstrQyfkg3L7/H3IO16FW+EZNpKjnGH1OP64aSKLS1arishjLwbfuSNB+tSZIVW7mqQwYIxDmjFAug7GVjTvUxN0SIzWlyAA3nOWPDNnJRPNvpWFOjWz3XhvxkkQ5/iMdCm6Fxe8vrMnXn3sooL2zAnXcgE1hpF1+1oB/2byoJdPL2WRU4UqDzq1/DNO31jOxkhpnhmZRPThX19z4MWGCCjcfPjoPw27Axtbs+pIi2bAgYxQ2yJkIhoanMQB94kUUDLA+ABSr3HEOn19IkWOKKtD/jhFdbCy5AbGo0CO1gxJi3AqKuF8o+21kcDg9e3zMLekvnAK+Y9fx3biUhpfhn7tajLTVoo2daAa/7o/C4UFSf1RZWoJ07EZcgypUBh6BHDwqF5fgrJ9ITGSdg1laDboCqQmuVN4ah4NP0tt2vZqWVyfm24sxrH/AY+SYCBFpg8sdpR7sbdJ5I0zSvDBrxYQkI2+Y80THHI3EPo/AGlAJIiCXhAfrbdS0dK6QQku8QP6hJ1F6GMZNb0hpjAwhBUs1dkM6pBgryqJzbuCMRbLY8nY9ZguVtiosz66mzuPp9XvmdHwksCHKpvKf8TghQ4vP0icjiIfvuXu5twFYxOXjrhJjQuD7xPeEvJytXjpFPRG4rTT4z9GGNUwALmyWZhAEqgyuCezwFOrc8B6vngXKMWMOePFPBJ0b+fUyAOzFHibTo5Cf9c5minzu/LzBKkd9u1sUf0/FXDrgNUHnonB4n+qyriOKZQZyW4eMvV8DIbLqDJBPGbrab3jMpbSC3skIWncHXGbQjcJsUh/7SAUF3WgPlOLGbs480RShSuNQORcGbBaT0MSAlhBSM1RRFaY93ITa2aq+iUezhW22f71lYv3nuTRE2L7qMreP0VdHXvyQMOmhkB7gg0E6kGJHyynBd0bdE2qqR57/ExrutpbDZsMSLHsSQC/QHzjLP4yb7+P+VitFOgORj4MGdaZfmg81A20/l7GXBBa1sPxvK+z0cIleKS8IXG2ctLYce1c5QNCup+ncPoCwrRS+YUsdBjo/HohTz/goYh76Kq3mXPwNxDXfPnpGWyMitNUCmhis+GuM0rVjJXuB3f729AyIasVVb505UkvbpmxHoaJDQav6tT/RJ3JYX/PyAO4+uWzipLeVvwr8zsifB3/kC4+EqaGA6g9tu/Fr7K00XWQ1kWd5zt0vwBpR7XZB/gR8RVImNW1EGB6a/f+EIxgblQiGcagdNEzPVz1zb5AAGopA4Qk0DjX1FbGSPBSmzyHqycENo+3lsNUjbMakEaVOsFaq5JnAsT+LdX6C+qKvSPN8n4KkE/i4zpfgFMVjvJK3jR0dkBqA721PSYqaZoKTiIcD07FgPe2n8zMnLAu+psSaf3RMUuaFQ+9V7utb68XtCHX2y8IbRuh2DxKe/ZwIKlYN6oIjwQjicrWYvXd0RS+EdRqIuUxEdCqZ3X2f9U7lrvBJ5qITC75fYfS0ORLuHqgLaCch+51aUKfrdogp2q8IY/OhbkLkTiJ44fYj2/9C8be1HQq4Rqjpz06V9PN2lkhAD8YN1uQjnM53UR14sfo13on51K6VzYqJsqHCwG0zRCvLa8nckNg7rHyizq+zfhaolKlnV6sX4V5XOQ6fGHB5m4bJjNC9nbwZHVscU6To4l1g21oaDyIwJIvJTk75hOUTkSE/NwdY4i9R50K8DeDMc/tcHa8Jlah8cVxZtAbRCwaVQjIbSq8PU5O5ZApgSjtzLKBKhdBaSK897aFaLkKWXv9hk2q/hBnUQh0U1tcsthVasY5Ldwu8vHHOzsKfzBVlZf6IAgzktpNzOjjZ3G6CeYtNDuIz75iKtWY83pGJOusLQigvSegi7yQd36qHUg8FDf7ki5acre4Aao8IFlwFX9Gab1aREfjw0qQPbVnS8OCizLm1dSxRyk57kJHkcYvlUj4b7OgZAnCZrJ6iAPnxqNHgvv96U9plTtp6TXh0qJdkeVheLgkugn2DwwNtWba+jvrlckGY7NUrFVXulSOoVWuaZ9D3g6EG5lVXmDUFSdYXQSQ2ptOzd7b9wyGQa8aVydWqQiWCRC0STmuP8Q85lNHLW/VUP+jsjdI+zcPVJRKwdogtMg0OFrqsm6yCMnV0yefKWDUYqixrcDySPGeoeHQXlrGVaRdZZC49i9HXTYV5vFwWSW5BdJJfcgtkIc0cqblwa5WO/s9B086wKVdr7Bb1g1xIR+aDY4TywuozqQQXTWJddwXNcv1aI+aYpduCHMWzn6MBrANTi0+IAYE0e43zYBd3yZs0EzOXj0b3t7072OlMCVjR/4e4D9992Crq7+l8SXlVETdvFW/17WNB1JTmYX9865in+V5SbQQWB9vtuWjgBIplC2SqMUbIyUZ62bCjZAqLXRxYzzUILwe5oml3/oElzKGNSBROfiycT/bF3AItbRQpVMdz3w/JLIA989VE92aHYkBsshDrzkF/VfjfiojkmFalLbLDu4xc4GUpBR8yarLe/YpG7at27nlNDemQvD5SBi7rf+mWPSOR2ELnQ2lIvSAa6NReZhZty9ikWPyzdd/t8wirBoaG5Cfa9u7Cluk7HBLI+yFBVuthxb0BJHEx6Cy2IrRdi2+aVs2do93cxGbrqcirPAqJcdobtLp7iObMBoUtUdJzYfvRqGtIov9PkqSaYWANwl12Cqrl2q0cOWLIBs8OQrBUeufaQNT1fTqAlxm4wXwH08bM/Kv9mjhHQbSBvs2PhoLShsXN3Jx9TR1tO98+pW3YTb6kMius6jWADVVQjYLW6/2FUqOe3kr66pQiwTpWcQLfhbczi5JhMaebeplemZus0KlB4QOiNjZH4RUFNXTIBMa8J2ReotLEyrUzZiBRDQb1uhikVrKVsWsgZu0irx9xUSIBTfojbJ4rmTYMqA261T3qa466COAx1p5GWC6uD/xMUa5byg+mwJvVvZo76cAplfzg5k6CjlA5glxMGcBgbw0C8auaxtKCj/vEURQQfb2zxXYbFDQBQTYje37lVCjfxWz3kExacsml6DfpA4+rsK9hi5EsjDnkk4TyD4WzkErOyvfeNQDsXJrk6rscEdUJy7WkJsuLldUS3dfijbPFIpOBggT1nupxGedsppOwR8D0SlJww099w6cf67sh+SAvjr32veVaX5tcewpA2ohsfrGVduoG2WfvfFG94dTHCEEkLq1tO4XdyeA+w1hd0FukpyuxtjMiMqCFgT/UDZYYInw6WtNYcbmWtFqCyBLerm0Fa/XfB3KV6YzjPgbw9uIBKpOVAJkQYVoBM4S2ctpvFF8booajG8xdsh2+yuffOTJ8CTxbW7ZtqzxqQtmgNol6puWzM3mpwOW6Lc8S/0+8lP1TR0AWgkJbAzvSFGIoSdPO9OzGocvJ6QGeTB8gS0ZWuOOwIOSdm8r9q9HQXMZqUrdLa8ZeIg6kr9ejChTHL8G7r6xj0rcLEC+wADA80n8kmOBymflX7qYzGkW8x2AFpC02T/z1lamj4wS2o9i2dWL9CovIhwbB3PpTU6TktlzDCG1s5ShKA32sRWgqt+GWdGMfELvl4ga4Ylts95tA4goRsgSyAbpkuExR5TPE/Now7lRK3XkPLmnmW2p4p5s7HXmNKukd6vLMpUDMGHakYz4qYD6A6rPrOd8UNADwtal7qc5ZVSiYcLB7h3kCLA4LDXnOY2aRWKyP8E4PuaozVIo0bDhhMwtoRTGQqxlBChAjfoJj6EQJqtICnmOTt4FeQz2ZFbK/l4onsTg2xj/F9hbMrXvWoWQ8eNSWRNJHTemnk22QKSfBBW+Wo/tnCCTi8AR9A1MNcBBJvNYXlvrcIjcmn3tXG9pbf8pZ1bDabND0sqGSFADjee5EAf1wsJKVAYbNDkX8zwZkT8/J1xEFmgqsX2xCj7GdGJNsm4OHz7UpzRQ5b1FKqLV3WZSM3YP3lJG1fSFLOn3XZ2MHmsxx+MD47VjjFEUz1wrU/yZsVysof7Payp9xTKk/MJwz3uqLyNL0uujPpqJ26D6as0At3JrrM303RbszBZJen6tBIYS3SrdBwiiwphP2Rp/1snOelqLa+ZMs1jfaPCqaLLWi1IloYy6h/VEtP37GTlCpwuny7xddsGsV2dGuXs6QVGq9yG4prsoKqTwV7+aaYkFO+RZJFiLDIPXLj0p6y4ypIx8ei4PnQCh0mnQLbxNxDytFKIdUgZIC4CZe05h3e2n/+0Cn0jaVoA0E6/VgnP+l2aWsevmQTpE4XCWddqAi+bh7ZIb+07CTncbnZqrmDFWxu6VdKOJkN+6HwAOABibTk2kBwlDZ2YqnVPYyXPbhTVJ/SrI/5RZl6XEn5YD8l9K+kGdirmR6eOtaTyobYgQKIC7t/e0jTOh0x2pPpRyUwDLKxlwABQisvtsV0qV4L0re6VWlAPQe7KX2njaWcDbG40B7UXVVValFAIdbLXNLSpHM68QfOgcXKnCUJwlQAJg5m8YJdp1eCtDY5XmwNI6R9RQFkdob6niyjJ34xSy3Ea/my9lib3GdyaLl6fLVd+oibz+LjC1La6AOYmdWCVarx/ZiJ0EmrwWAVtxPwZSPhwp92odKM6aEUxoPe3r0Tve6H8dhtyOjklkRO6Ub9sl7D0F9gfWlYk+5OyK9rQwhP3d5eHQX9Oe2EoqI31leUcySB7joI178WoO2AWD4DahIQG9eRm0BDOeBP5eMp3ImxMbuOoJlvYGLBdMAuUbm24zKQ0nd8TVlZCVElXUFlSfm/lDNwJc2QkIap0bSXrnPuyiS4TJRuSsIuUUrrm+3JZCtb7WH3ShdgDv3q9NQ4e8djEtc+NvoG3Re+cwduFPQk2giBpBt9J9sUuNMn6knVccr7YiYwI4oDbrsDf3g7NUBlNGIaPNhyj8DKQpGRED7N0R0gPjBGM8dgoyzouWKagAHWh+nOO8yA5AKlNTZqj8g7ANUJhx38bGtbz6aHJbyCMccdu6hBxNHdE5nnTEE1Bz4rl8AxHA57Wc4G8FXe3wvvqdBp4XAOR86ON1otulsGals17lrl+HeDNPqD9syCDvDAXtBR8dq+xnZzyQWOAi99bNmjqJNaZjYFSehqqdr4BChQqCPt9yksarRFA5A/6IXVCl8x28tCz9nJ3v6J/u587JBurWfEAR3XO9T1PFuN42JCf1qqt8gZEXJbK2crV+BV4LBTnVXmvw606ntH1gnAp6XuqWKTPiuWWJqhyyUiJHNbnNlEbM/2exFpSweNfk8Qzzet5yepklAYylLCU6pvgn3MWqRkE/VLz4UJjfVLaufIl45WHOwGbJO89Q9AUBI4xKgdfY6WoqmckPuz0TMPioTpiAmu4+QXaG5F0dctzmh8l+Akglsfagt+NF7dpVnSIUEKPHJED/s/QNCHbeXyt8yqkOpOXMzvKe1RT8AQV38FT2YJ4yNyJAtv1Q5B68/WeIv9cdV8QTHL69Euf6BNnDxjHnoP/Vtw/dPWaf4aYNyB/Oxksiad5O9cb4ktvowjZMn6SKwJv2WAysV7OzPffUzJnwYVAwWIMa+7sE/BpvlGpaFnqZpWs40qI5yjHZmii8pduAZ62kXuRFh6EyvVBzsbB9lsqQiidR73U5TNFMv+4oadfxVP4MCmakZGqqwZZcx426o4IbG1WYQoSr6u4bmwb6yOBzpXXBnTLjXumPz8Ofc4ZchBTM8tgz1F09eHXSq7jX2LFWyEV3uv1+Jgt+j+Wd+uF3Ji2Q+5u0tvJuqXOn4S725WeObiSAOF1FpkQE5l8EXiieh2jM9bEph9t7h2DBTdiqQbEAMRAeKZ6eTYhldONqEEcX9yQdN/YbAcV9GLodQ1hrFXeqUWC0GrW3kGFR8r5LDouYA276sDwXi0gi4YQj+eA2wcsa+ea2P39cnFuPhmo1vZLZ0AuG0avfPcAAJkh4soTeVrFvIRGrsEabbCAOMJsgJYgdolMJmdMaOGVE9PL8gQKF8ClzNg5qfQ6Dyt1XTNaLF8APiKpzbmK1mF87j1ep50fedGPoYotHXPzsqBePGDBoIxditBnF6fPEYXUHz3iWcECyPXrYZIDe5NU3ANw5pyXrkqAJDHUtvGRcn5rqIzkpCcr9XmrS3dZx4lEUvQ3J1ADje1mEuI5RoY6iZP3HSPr56mXzIc3+RUcu7uVBbFsDusetJyGhST6A6I2vgPIr9O7PSfZdkBb1ra0ParwhT+i00Shb7w4c+btm8GE1FgWfO1uOK4y7VxRZPJ5jfE3kq+WIhd5HAAAuryVCbFNDGBVgNn3KvNPauQ1zCBPQbNn2shsPLBq8JAFkWPHRC/7wGhbwIbw34Aq+7BoXBeQgHhc3I9M0gHvYRgR/bZ4qY0ocZHME7/2itre0LqVmqyhW63/17jri6+IhtvI8eQsZ5PQfYzpSpi9/J3DXPhZDxFWsKOHlGfZehRmOTqcq11TNPCjXxjwgsLbk0dXy3H2SrQTMKkAqRjdD9q20kDlgZg97oqYHpxR3sUwYQqwWxdhQ+fL8DavMkClh2yLPft6LShrFZiOxiI2IC+xK9W+vN6DHRYXj3wPQqOiv2RgW0hUPYk2NNI/8JSe1s81JsV7tHPbhRdyLx3fIEo1+77EUph90zDtrIznFwk6iYhd2dWDVzI5Qfoe2Ai9Sr3HeABp8sKCrqaY13w3vLUHA02OloTU/5tKOUC4yiR5IUtKUe0Jok73zhvOago3lBwBpgUG0YCo//KhyWsiW63nf9VffNSsv/fyU6OaicP6F+3NcHCmMrfGLBeXjMITrCQrznTcaZySb4t04CdrrovEY786gPP7LpzcuLLW7s/sl73YbjaQIBLYHo8ZSDh7Ke84dYedtBxcm8OAAQcsVz1QPxDKDUc0IEfrNJve2JpQrylfaFDQLXy33WbjihSvO+WyYJF1e4Alw27Renqc/lgI1MJFFShJM6xj8/uVDi0nrsFjZ0odn/ACQKQwR8doppx7fAQUzo52if3I99afcG0nGDsx/udmahDs4S6OvnlBFk3So+7yT14u1KOiD1Bsc8SmXxYzYuOTn22/wfNwkc5Me5oabcxmgTa+S+W+rFSxW8vJcqPLvsz9qkvFG3KZVtu4xTWFg1xnN2C7B/CY8aMJ33PTBRmIpDquWr2lk7T6qk0T5Kwt4WB2ui/+eOs8ci7OSXYEzETwbf8ctZgtk1juaQDO1xsnehS2gcp2qxzR5gbpdKCGBT0EeesyAzLVp9zTBe1PiJ6NhJ6PD8bwOvVmgiqPYrEZUCBiFZsrotmLWiMkbvKIIbmj5C9bkEWnQxUcBhR4B4eDRE0+RFGCR0hocUx5Fio4gV0m1izAmQRR/iv/X1dx+HoBK2SJT3V5Okuaf1Kuavi4+hsxm9n4OOil0OR2D1ucrD3WQJZwgr4s3oWSVn6WDVyJI4u/1CngqRes4qON7oygAcHqPhW6URfafI7uQzNIoggAjI85no5qxmC2HvuOE5ogfCzBgOGabEVYcvfKdP2W4eBP/MfDfusi4nbtB2EP9kBrzXWgGpsMbkiS/dAKRMOY0p0ySpXJ0oZKccK2kwLWrmYZPJUUHuD5BKi/ppIZbtGXicN7edxuB1/bTprZkPEkE+2dGXvzOXYb8HcZgTHZJvhzwil9UpGqBs+0Jhw1jE87pbchh88pPNT4dIJ1oOoKdQPAn3yxJ1C3YJ6IDCydtbB32H/UeEsQYZuoqRUAVloaPYq+MvCYlYgzj1x1+AVWT1izPzIAPRbkLdiOKooZ3RaKrvBDIN9Yzk+rAHXDsjRPc48pl4bE8/K+w+KB3wLzt9QPoYKym5Tcyhe69rYXwNbm6GY1t4nS/sMPeQPNS2sVtmtbER9K6aPtZfUdkEScgnB5Sy3srAxMStD4t1GjXBGoPGNmTXO4ttJpr07jPTwiy3friTQDo1CW8pKkFeFCxTTXRLwo+30q59e/m2GwzmGm21WQvfzHt/931j2V0dELIcZbavZFMtjs0DZuRfRXvLB5Wl8mQm4ZJZidbB/sU9pZ7VJ1hUmcXyCFBvDM4C3037V0GhxTllCKWptY6h+a77Gmefo++NVmOrLtMQ3MF7qSM/CDgOYhADbbIDdlne8IDpDKirxkSlyccDUTwdsEPZW8zoi56JGanXolUvx/xW717sWl41HvlJJj/6un2xDuUBkfC8e3VUDUEYhvJwHrNVH0iKZ4IpLA/4lq/SswCj8wS5wFJRIW+EKrLL56AjHhvtxXbxgZej9HsK+10YfEXr+t/UNGwHbWrhziGgMVrsCyv2CqNlkDp8eH7NSLUPjlwSwSt0L0D4nbSyQ4ZCnXWI1O+FJV7CYG0qi+27saIfp8UkKF8PixVCRuajteJJKMBFcveqRsmiK5inVTzeV1QjT69LAaU8T8UTwRtfgvWTATto/hIi5tjnbUiJ6aloOTeN45MmOOonmcTan14EkE6eeXik1FZ4vVNxmJTod9Tvuoob0dQsPOD3vtUTJ6KxKf08G9/us5GF+qUBVL5mQZMFPZ36biuRcXgRiUpOSb2DkcpwcuxwJZv+mV99pPr/uZniUFjp2UYlnbwaN/pkKquea3LFhiWdzv0FgbwqtJu0sRq0Uqj/EzRTxXpEvUUmyam9CNxDVSI3ix1cVqdniJFHYpr56MzZ/HB62VJgCFgPZGftST1PYzD4AGbHZc0ez3qHjMZG7HISAZNltQ1MMczlYrdBx5DdGGinvrZniy3F2w0xpsRtV6GM1Z0fKaW50a/9pY9AoicZzLzGrqmlOOjwpVbCb3kf9uzHRjAx63J/vwNalDvVuqRWcmsY8ssn+hY41Ep0MAMWP5hKQ5BqZN6ceAYR5Jck5IjgdLN6TovsSqXxcXxgeXDVwS9Yc3yza5CszgXvn2NpFCmrlZ90c+yMZqUm49C+xECEYRqrTQkR78zvYB/12Q3hKWFlWFDIrc/rqgqM3Rrgwu04hO1VOtUpcICTh0R+A4/8IjmnSV30bbukJdThBuok6a+bgwFIGZtv/uP2Jg3MpnIvIkP+zNhyybIEyvf1zrfESDRl90VggaK9WTSc4ZgSerRjVJUKTwiWzb4NKLp2WcUSdj2Yua4GxLPYTGuNITYU2P4JkX0gXMavNb7EqHNASto9ck+DpVO6jrebjGJora5Ieo5qxobRPAcCqMiOSb8ox1PrCBPWpq1TwwnHD1VNjLtajkH4abLM7li5q0PSdtvFXgC2j7zSP6djMsA7I2R6zrioe2Yo1JvMhXjljXDXxby729qYO9xcBn925JpyC4DudOGZfM/Ad62n6CPVV45msFBCtmKjBZCXmglWtoGeyu1LxDXD12dc63jRq6wR+/JoiNJyxlsLelxI2POnUmvX6Bz2t/j4vaT0aDkGIyRTs5QptvBdEPbx2+4CCYn+fvZDv9aNrLVkN8J1ezFzt/yw2j/BZ0D7adIs8NWluqlIvT/qr6Mqh3lsQtg/jcNpPw+BmV4XmgPjmUIYuQOvANN2BD58LxhfLxXtCOEgplrVGqpHaAQK+P/LqqUJJCPh8OTeFrlGyzrsdQ8/cVxpq9t3QkaHMfzb//tleJmQ5yOw3X2xF4KVqQ6kRVha7e0X/u8urwJTw8UDlATixHYRSz48pjQOXndb5JwYGBv5UFfvi1ZAbtZ0P+Fx6UqcpXW7xsnd4ZHwp9UUSclcYo5XocHVuvT3kSkgLkC9j22+uYcirej5Tym79qtscDRfOim46m1HOxQgpE8ZSRNK2XygwmkHUBVEKHBiu23G0noiboL6DR75PmYFdUvlNRBW5gnFUdcivj9zsd2MrH5tS49LfHWEivNK2JNQuoU71XJKOXszNY0g5dBBgwChy7E32Pebm/u8VqLVsIPRh22hA7xLoyx7m1mS0XmZSsuNyoLm7AGJ5PEVeN5AvjVNERgBoV+07skNr0q29U7I/iutDAcnOvkARZ6sKNBrE5YZUo1iNRTuY24i7d1A55O2pv+FQUCy4WPA/mb/ZCRsxmM4XAa1O4lV1reJBGiZwDSFynDbiEv7vS3vdxwAsN9mx0cMnVCWyYJIpA+TLVd5OG6cuU+A8G60zJl+jJ49JZXBiAcm/p2i19swBSrxSz2bo7osIrHW4oPX0Nc+hY9lgIW7+yCPgHr4r1I16qTY/qSU9iQ1O3hO0gpBvWyJnJogYNK4N+lKyI2ta6Zw/qECJI3g7P2SD15wWnHHNwRfUj0f7EgueFQG2NoLZgMS6IRRXldhxoQDsASbPSYCAop7dbD9yDHAwBKCNv28LK07spLKs2vloUhj0GQFj+/7pgi+C2OfwQ0HxsyLoUCcCAx0yBWklCQNQewbF3rV5XqCpOhRI+sevkV6d5Z13X56BnWjIa507w65Y4IHKhN2gd3M0NRnNUXZDT6vw0uxB2ppSQ3turxMWmLCvzLtDy82+LzqSKQr58XDwW9QzTexeMn+kHZHJ2koS5XobTP1uKwLJhLaNZHyxtsaKcs94F9wdQ1nNXFb9s/oCHHdYz5AHlTludPha1yuMl06ZwgAIPrUjnJYezDGYzPR+2YrnW1I51yqZJ6gi5+TXnnYocz/jC2Gt2usoOnC8NEEji+/id+aBVW9dLba+98IyJzH8aTKNRKaq/eF3Z429PsDgH746m5dHasOWj+/94ZiT1e5zpmZlH7z1ymVWniLAVzT6RQloKu8ML6C2frPaJA2tHlqCLoOsqDClYTP+wBcKE8rC3Nws65FIrLa/em7a0I8a/GsODH0bb372CT4i0I2o3SGe+1irM43OYq+UmCIQ7DVycavYA2NozeuKWzBU5Ql4UUNnkLecySBUa+s7zn7Kr9q0k6mdGA5ILwHNBQk8zi0HkcxHQvzxlZVGdFb2UnDiYDq5NWLXbSx33H1+X7ERl7X5878JnZocoaVzjzZjqYbMJ/TK/KdYvct6uB2yJUCU9gAMbjMAsW2iIQwQ6nq+wHGQi2TuzfZ7adItE1exJrfWieBkm6Q1G3TcaVCig2KYZ0f2VWqMbCmMgQm6LAH+w4xGERTDKmyfZjDDuMop7LlfcRPTZlS5OfURBCfDvF4YUJKQFhwLzc5JMtovvtyz9+ggrlh++KftqNAg4RT1aBg3a/YcuvfDUR820JjLamg/ky14zBFqT9BfZ8ti6YoQVMoHlNbcfyHyTeSh3W7WDBe/JC2nLVKeceqNEStGJ+klar78JDEpHHhkCzp4KgUoNitAmSmBzBi31/ZcgVbcp0/TbJLUeNBH55BhSfezND9iTHPXCMP5BPMqAxaxI/X6JB0MzWlBCkk70KpsrF7tolEgdY/BxEv1JncycJG8DyQf5jYB+GFJSezTa6wxEOWW1VQV/g+Buk4C6wWpFjOOb6NPJPAYYEYG3y9Lo34MKKPHjb44heQRe5skURDpQzMF5qEekJRyvP0HtfMXbofeXyqS7MIpD7ROFLCCEKoh2PedE4I0YhkbVQ0Z2kPeDaQ5gY/h7jthuB9UsibbvEMO45Ig/PS+nJGqiIWoaxnS0QUgRMWyCBV9ySv7B4PE92VPpdjJ91ECZHNygHTlh4auOnv5vhu6tWctIPhXhp4gI6tdaIlWSkLWRtPE/tzBsa0f7prcoDDmruQ2xaNxv+ur8aFgMoFYBvorqKRQmvWQpdU8UGt/2JsBpNKmEh7an4vMUcJlSKEuLRGTOAqXPAEWvJKetVN89arusJ5Ndchwx4CaeW+xTUA7wihSZ8SHi9762C29CP/c4OHNUq+MdBHpLlpl5hNjhIUl/12GDRxYFdZZlPTwY8weWjmXI5OThr8BU+F7NVO7mtRZdV/0jGrEQvfz1qX/yqGsC3WPyFtUW818AppP4Ks8wIdIOth6e+sfAqHrdjP9XDM7XCoPbavv2zBGrjZr028DavPa26sxZ41ces/6yqLIw92ubQ+u6FtYrWNFCH7bGaovYzPzGwVaOC8x3D3xnBZGmwpO0ZuWXg88bJM8W9woVFJPELYtg/LNhcqwWyEqnm/+HfNIwesLGi9FflkPES5ID9PMJGBE4YTZrEmyCfrG8KbwuJVazsdx1AZZCDIWgNh3Rh01EmZXJCUWPdjOzz77Xc2yWAk6gSK23nT3P1etJrrPH4SfsIoPJizNESKhrQBTST3flnLNmkKvVerBPweivpX+wg78k2NmK2zj6ngHfoAxsLtF96yfjOc/ptJqAarNuVUPNBrDz6Mve272RGXHBvMHo90cu6fQM9t75kQW2JuowJj8Fqwcl8ZdmcxMjU49mCjQmNUirGb7+i0qt/JAkkUc/TrGKob6Gk5uLZN23GpGs4H39ngdyOSr+nlJRjeZBDtRbz1ihuxUUhBRPwjanxjIzyaeSFgbKC7C0CnjxRQ4VvK0x7rtx7fLFshSoHwwg9CGLIGGAcNKqTlROgCxivYHBF9YqonKJE8IONxeU1XKfQAlRIwelTJNI7TaQqrKZF2yBuAZX0826En7ISiK8CG89OkB0xH6vr1UwhzCqeEwUAPmvQ1s973RKrtg/EqU+76iIuXjfDyeTJDEsW1M+8z1Hp+WqyTh9X2MWrReeeaxJ7rUWSlhmWK0rhrGKri/8BwYUMel0AoFf+NpRXkmPS4dZEkMuk64nzIfrPsyuh2Es0FOP55PhrmUPqSbAivWQVdNcE2IyAXd3vo8TVxVG5VFi1A+/HGyeeVJVdJdXnvN4skwc0m/JSzbAifNuBkQElEoA1i0VGZEU2ZhHAcASrQGdkHTPUjDwb7a/d0chp1StXeTaM8FZod8NnosPa8HGCZlgPCxnWT5sDxOznfGqs84xi6EvrnXG9srm6O65knOd2HKQ5xDMgBjaAKmZxuFGCxdxAcphbjzUVlJOCRSz2xMAXphYKUqhTJTRq+UOu6/S5S33y2eY0oJzQ2OZiUcCrkaGS9mpAEERi89tTa8s2/SbtPg8Y7gCx+pNuePz4nwRaRKTlLgTSA0EHz2WNO/+ckcMPPl60A7MKtmM5OPLVDfsWw4NpIZVpJshLYBT8mtg9Wj1IfKbL6HvcDZPfHG022uTOLdKqdClctjssoT0BvuZTe3Slw9XXFfp2oKxwGdJ7vkmV8IMwSU63BYveXwLPObVInBA9ZIoY3kdoSBHWe76l5HqL3dHTZJMDhTiBlDgzl++Mj7cmg3WuE9k7/K4skWolvAZrA1LT7J1gOuoBpn9zlxk9Z82+KHDivb+SqpoxiUYwNgH+1jXWBj2TUma+loPvf+J7SguCxPmDRVnNAXCIVqKNCIvVwZlgPx3m2qvZvwxDpjKePWTiXosfgxbhOchUYya4SkFjf6p9i8sKRIasWz2bkIbEhv1oodWVAo4ezY4IGDKnioYC95BAs/Is2zyjozILA4aUfqL7yalPb53wgfoeGMjx1KuCcU3fEe5v7YJix2XbN6+p7YYAxGRLJdTMG6K0aCFrSYdoZ/KTGOrFFbYz1KS2y7PEusFMUKEuYJuHni0ADlba+Jz5+MctZAgdJi+mtJA697E4DMPT8z7fgfBbeuoZODEy4YEhBBNZGpCa+IFosKuD9Ex1X5DrXch4AvDmvKuU2MlOqvwCuSoAhqQ92xaTBOOEf3FgT2BKRXtxdCxXiDyVGXp/olUSB39EyPmX/KTkcc0hESYFWOvr2YSibEHL+oBa7Tnh/J+5R1of/h4A9sMdLNE5/f9bjb4gV3lj0SZ9wh4JMnc5bdNmJZbDib5DI98YUbXIMnTjlfhPntQAM+Zpl669S3BU7L7I3VgVwmaEr99qESRru1sDXJQKHBLqlZRoQevAqtqFU6ScSQhSU1f7hPyAr/EMXwQDnLNBx5iFLzq39UoUavsMzwesGImqdH+3klQKPAtoF2edCDXvDk2zF2bEtdSfJf7r5tRqoi+vTfrX67NAlNCZb2x87Y7hOzvi/ktKRtJxC8Tj9PA5cDg1fIjOyqVV+aaDvurUN0penuMKtJDkODPrGVe5JBm0SSxpG1aI8b0SFtHq2amOh2luPa2dE56FDsLrGIjQVQq67jEaGIJElPr0N48Du1Kl24rRGxh2/rMT3pcc0iREPiXn7KQWJZjn795PSFBppYe54wtoPk8aNH14anpIR3je2hpUmuHWfBMMTBWCBJpL3wHDGHwHLkOHEbkqpjRDO2cv83CpNuvMPVbB7hEm0sUiZ2iv2ThW2SLS1+g+TkUaomDsijQKDnWIECxVrkK+UvpJmz/basadGc4cAKPx/SoMB5KDFwuR9VNuS4HlSNcOQNRtRxJ3wLT4nDUZ2383Aqy1JSEOhRssqE6CgURxjtiUmCfc7AT+XoRtjN6WG1d6a+fnpF1WZFrj+O/cvzlW0nFfXIFSHvYcy5AK1GdVCDzIHXghlMDLiL8Gah19n6wsZg8lxrJi5FpIlEYsla0rBherlhVmsqoBr0+UvBjS9tAL/B0w4UjA417Bs2XloGyiUcuPelA7cqQPC08Dg0vThdQLdETuvEqGlXKjfbtRkgOgufbohm1AHKZVpBqLnu1G5mjHlQm9BjhPFt4g6tsTiC4M5izxgwo2MKb/1ND2RmKU91qEisEp5Ir+XpS7+jaknKI0nET9Z0WvxcJGYToyIQJMfpY/uwXvVKvj2/WOvh6D6ivUHA7aiz6DwfLg8Ap+XaLt7xyouQLwARMpoW83X+pOa53Cr/TRaZ58cwzX2F6wkH+sOIOL/zsMWG+T+de6anrfU8gCJ+NDXVfRPyKd3fF1UDV0uPYJErWz+XCpp2q4XLs6kJjmx0jYxhTSY4bOpVQ2q2PuyLlhXuKgDhDt/e5mTsATA39YDp7yi5oyqtzYsqsfp2sAZogaAXgQ5j3XF9oRkkt6mb7bZTk303aebIpd+2+UtCWToJNxboJeS9xYo8cgoBhd/4JbRQzr1RKaTAzspQCR6P9926rJqKLCsjMs92Upg8ugUNA1CsQe67ZX9ghtj1oIArmYfku9+CeQfEA5jBCqlmJ+KiK16TaS3kc/T632Z36tIHp5jpwO5IhV04tmqCzm5YVWLv2YRApGBPv+8zYqlYWUOu5TepDt1zg3ygdH7TLaWSvMFJGXrqWbAKRq9j3thBbaE0iSFcKZeFvz2BdQ89mgSfvoe5KM9xdFzuIYnvPIZY2yyGKTesVvoM4CQIA9GbQoimxBDpGaJYHFhMm/LipzZwYBYRK4QaGKX6yVv36auIAIduPI60AhTfhohNTFq1mzRTQx2cKtaZ/7kqEZhfygyNc5glxyQczmXBMw6CWaFdcNA22Ke1qhU3IH3mptXzXOmevZ+F4Ipb1fCimMyd0tLgGU2IRpLU+fYyzeN+9BaOHsDRZ6BNNRZSO6c+Pd53iX4priaaoCrTU7q2G5Zmxj1ZR107EGtLXWTDK2TlOaoPT+e4rBIF46y/PIPMuFQXe2/VSKsnsV0pn2oByi2JuwHL9Cq/NV1aZWTQ6716BcRDH4dnHMa/LiF+1df4F2EPHH7HAJ30wXNm3JbdOfDYQjToyowHdmk0vgW1QDVe/o5WUfUIi/oRp2F6mQdqQ3vduueKz0ca//aOz+jgo/i2fQrdyt5zJtCbFgEe995XlP0z7+e9dsPXL/tpewazzNLISza7zzvonY4+kw8XA+bCB3rHQ34XdNcv61hFbWfGW4SgGgoAUh0IXMjGLz3AVJeqnIT9rNQp5anm9z20h+nwrE46tNl1ahscjVInSp7QA+Qb1sprtQsjbs+yQ2JHqrlq/5Tfl3GRjCGIvBBkbU+fHotb3czTM2Em59SBNeSbNwtxLR6kwlnX/lhsEsHQwYr8LAcwOXGkAEcpozFfpJwU40niprOCBETKDPGakVKWdacJeP/zm9kLudGLI9tBdcqn7PQuZ1yoStos3zxCbNFPVFSVYW14Wna3B+2LwibOQ3CJUQOm9iE+O1Fpyh1PEov12yGH8DAnIyjcUtLPQT+o7DPZf4AsTzsXwSc5kzIw62UFpk8M+JCq9lTUNvC0xJeyKM2T/sZUGcEdHiVisyYnsbIls2UINRvieWQVI1+yZpvGViqLQOYPDp/ddGIiIaTa66yLe8IliJmm1hGUVi583VjSZ78rbGzR3NpTzMiDXWhoqY3RciuYye8KuUO3Ox3ksyFvWSLaTc4F3sIdIsatenGmw00TbijD2GPdkrxr8TIF+eLnMYMl/0Yio8dWCUMHmBsuehTsNy6JWKnbEV96pwyF2/1FEyVFFoiNWwxESGlKEHOVoYcgDR3iMYESz2RHd2n2qOHmvDaZUykJiAf3vc9ko8VdBsTkQ9bvqSGOLMLzua6ri8zS1Jp4SAce5XG/C747wrxHJTmO0LzAznIkk0O7yUY79lY+Kb7MwwjNqptTgYXdTBQsMVLfJOk1jVzxy69UujhUYsNX25DOa9Mb0ZTL2O4majV4YPKV38JKRphBcL6uT/AtwzqQSkGfA7ANe+muZHSMgqQNCV+wdscoUTsLnr07tRQRAa7QcRcfNXDckOelJxujEP6FfwOKUBcU03sOZ004sQO16wYUq+ObksWz7rlgrvWYHs+2MUFXFg4xXzqArGZjSvu9if9hmKNlpWso9/CexCUVBrWKaTfgxm6T7LhNgIslJjC83pqKjW37w7dgs57UH3iKCZGtTosfg2M6mo5ml06PBKIq8HToXRUdMtw9G9Txn79SpKZGodFK44DKVPxRFUb9QIFYaj2QdqGQoSl8Ka8ZBL5hRQa2NKCfh/NZEyEdBCzfNLWP0F2IT1Gbd6YS/K0QHFWNKwMEvHbZVre7dd4IJSuczrmR5KH46m8EZDKnYVHxEGgLP6O8jMm8Bw9Jwlw/jyMOGWeXabS/wBQ5dTKXDYxRcfEsnEeyG3etfXmshIvbk1sf/p8hS9duSOj8eo2UJC8BKE9LxP6AjGushjEd28As8ymCYROKf3btcPPeOR8Rp7PEwyfLF9yvw+4ku14uKn0aX52X8F5LyEJw1GgoJf21lvzBjXV3N8qzA5S4bQeTWHbBa25gC/a3ZOmK5UPRoFxqAzbk5E3LLCi7aZ2e7ZmkRHfq/5g8bciatWedRprnICCrEzdCkO25E9MEOcTw/5YAlB73QkKclzMdXWvYsm96rLG9DMzT0S1+K2WyLcYScQ+rJXpgD3kXSqa71UUxXZ+Dcv4WaojBKeFSJVGYcMpOAfMOOr2sS38FTGv8JRTSatN77a0zRA9vi8iY8SFHMvgax52VkO6/h5//Kznqxuphvr9t2HWi65JM5WAefEpMu3fhuLvynQchPhgKMfa/5VXF55rphdZjnYFrZmEYSLODvZ22QwA9Y6dQPnmHW3ltKw+JwIznK/NJMYdURc/lyKBUwXUlupaYMwgvRuXsqozKU1vACsn92T8+qSwJdS+AniZAGOAJlmlvK/u+eY2hkx+fTuQVz2ecT5pc3fSIbuVjGEYS0G0v7Bp2PCzP0XR0VC8dHxVr4CLAtnEJ77DMeJ5Elb1434sq+LkZ1+6WgZ3ip7FeDV4gtL6/AfYTiPRhp23UPuRuCjk6y6sRTLI8zDHIY7Krq/rqXM/uWiHOn//5JhX+tISp1g+cwLyEYjK3Uv9yZpnzHTw4pMcMXAlrXwkZS8tYinjp/C52Crmq1VmI4bhipw9WBh4Wow0NSZNtQgDwEJjh6Uur3xr9HbEaqg0G3M6ZWdmcsTcj2ryetJcAHMbBp7ezKr7JbRJ4vTlopwBVCK1JLRFfxWS0j/2S/usfqUSJ0gP0+gbl+Vn+t7unPpxCWmRLg5CUBYgg15WATEAAEFlHoIA9ym7Bum9KfBhOhXlv4Bwifau6yshpIAkNjLOs7k/6UL3D7/zkNpU6QBDjS1c8aDO5sudQrPVFD8++5GqmQ2EyLG6RIi8yUBF47H83dYK9Zx7fr9rgYuWWw/vvWjhBmycu6YRWrTSZJrYCYG3c/jGpI6AAM90mkYJ2ddWe5Ti+9m8YGnmim+J4R8GD4tnBMEgu6Mvh526gyZzoZh8uGrLAgBXrDDwSxX3MKEdF0r4oNuS1bFApHOnJStrbsyTpNyQxoxyVUy9KpmKPhHe7GA1BkeD8dMIliIHIay8AlJPgvdc0zR4LCI5cYO7iilpxGBKvxHAx0qJ+DRFHgAYYKP9l2dnizUj0ajusmsLsmw5xHCkLTopPripQXKMJUjGsfsQSjqOobeBEU+jVy6gbvX8jmeDRaijMy9ajvHaroKRJccVG/b3nG5gMqu8WHs/R1ngJB7HnhZmT+MKxmL9eHfPjAFdquWhLqokaJkHijkD2Xg3SmtYNFgBfiA6l9NBYs2O/ggf+mZ6C8H1svTorc549dmkAdHNSV2k2Q/d3zpZzPJeYsCLiNscdKPPDQrQm1Gesa9GnglKIvU1S3rKPLjLYQ+Uov5GYFtO+ggYrwJvQWUJeguktEabTckIu1XzswSVp326NFR3D29Jekr9fQDKnLeMdxVZZ2WuvR4ZHd0QohQFfS7+CaCXBOLjldUY6K3/HfoYUVLGFLYW5SQWThjz2Og5Grsv9hs5bi8FuYuuve5LUh6mRZXEEoUvi4sdNKeWRzgn0Lo5tN6rgljL79Uxosr170lxUbUIMl/SPk0st9FvkqziHLNV96TENyiZOaD0mqgnRnNpFfCSx3efbHFyGhY7xITojlfXVbAmAnYKDikqT/VPincP7mFmrd2qV6io+lGI/3dliRjDj/cQ4zRAhyUvJUIgRd/1wUQe0+RhbWBB7LA20r6AYPw/U/wcG3KvS5jEFtlVgyZe76gfOpZVZlT6Ath3UAjXJqiP+uW7pRlbHUqbKXYSoo+Gp4QbvqrUS47ADZVnOE6slZl3hlp1l4YAL6IysNevozB2am0WDNSuVYro+dVZVix5l/5A7rxqHuR5YuQ31eYgj5hVBRn/m20K1ARpT7lGVO8WTicOdDEp5MU4Iku/jMI8pT4tlLzY9OoL0t4ulqJ2fovNhJFs7StCtXy9Mj5wbgGvGFVLhOUo+Iv32QwM8MuE+Htvg7A6kqnP3ZhNj+s51xSGZefrArQO0Rx/NonVyY0mY1yt4Zjkd/gxPOIn3z4Ljhs5/L46a60NVaFv/C9aOjI25tgL1pzxw8rI63QIKteY0NdpliwqPV5ZgGT8UuR1aNg4EHbX4HGPdfTbGf7VFDMc82qPcgsWkKVkPrK6hmtmyQAcR6edOkqVGpdZMeDRN4MvLTKfrHNpjmqd3XzDVHGHzaWdAs4ZEQNKhBr2he4LCDdOfsg5TAj5SCMdF41eZakHpO3uOFGI3mLQJaWbaNLvrz0Ms5n5K9BqvX3s0pJOWo1YBhZ/VJ6Pjjrc4VyCgPMuFXROCI9tpeYGVjaDZ88V4lNxySbK1ZpaaxgP2/qCObAgAo9VJQ4N58HFCzxIZ/1BBRpl2m7Nte2ey9ULBqL44ldnXPbGXss7ccPNLeYEGUR2dx9IEAIQNrepbbP+ePL2gEHNAQ3gF3muhrGXU5ayxa77pAHMhpkfJo8srlmsOoiDbDrAnF92+XDG725p+gAvTFDvy8I3rS/VUh2CsYd3nAIsXRfllFcj2I3sO2VW7nkl0SUbybMnoxUIBOl12PyPcTTId1xSh4cdOlklpcjP19Qf6TipX6cJFkzGlQIzlxAteRGHLIrITIQ9CYGUTk7HNe7BXglNoX/MZifZ3DFFaoFtbF0kFku9Uuc1qQRojjUIIg6iuTxGvmumvve714DTU/oMvVNrPzSM7xOGY6cOn8xOFR2zMAcVRbXETkYX6n8hUmEeLWCDvbjV7BYCuX4p51C0y06CnRm6jKX/6aogRcV1VFz+o579xlNzo7fQ4GWFdem2RBhzyjYIAp5cV934VlyKDT0iP5MoQ2/iX14FauXUTrPxje/52ao4LCN3qnfzU4t2VHNK1F+xhoZOGt8rNAFxBRe1f4UPIDf3lz5lGwb8SOJGV5mkoHb7+PdtlFQwqJczPz9u86HUOOYdiCo9ziNhE6GWbpP1aoAXvMNMCe79WwRYKT+QuTFx6WPQi/DeId/s24K9iaucaYnq8Lic8+tbjBzqOPlWqAE9HSmpeQ3vJlq1En9gi38wthL7DX1WUPQaCSfV//DK5fcwjzkULH2tkeOo4fI9mk8R+drfQukQ8FsdCJ5zrAy66OZO31qO10EMt5lipdYw5IBNvn7hJlPDmQ2PIpw7sJldqzD/s/QX3MK4IyEqUvfJyrDHNGnlbr+WxpgBX+N8xZg+wXyvtFSR4Oq/tvrWFlQPjTYBLgHyXcxVd4vbz0hxBSpe/CDcMmeyP2QmBYOCvgvzSBujb4gFt6hjN0q9BkHQcoG2Czf1cuyOGUQHvpHzZ6GULlnJB2N6shoxBudwLFENipxjkwqB89zl1wyhHjk+8EPFGPrQt3YpEU9qUMsY1g42XrYeUfAwat0isZxmD/Dgnwkt8n1WtDloZBq9/vSOZw+8FcKfXONwC+S329KsfbYEZ9YNSuovZVteWBcqQfSBBkdLdttAjh+7WcoVzSbiaRLXkKiPgLrlP48bOtretYeH6XbCFGjdJJz9tW5brueuAicqNkEQUKJ7AP8TvzohgPR3dI6bZ9X20RoeRHF71oCZDuaiNvvj/slRaO2q8TDaqXjpDH4BU5H2pk9FC1uC5zFsMvyWsZ1DsvkvK2BF9MC8V+IU+l5ZmSn0rwmlxRA9COtRGqImtXIgFvF6jFO3vDAF6MNfFLG2rweOl1MwmcDk2YkgoX7DCu3PWTwp1hSupMzwfm3J//NFgC/3YU5yzhTZmxCuWOgPLmf/xrLuO2X2ZzM+w7Hz5fNm2R9SeuzAy1SIC1bBzxRoPUeQlA/0yhJgf5bbVdha9nPMGKt8cgPpC/HNr4oah4f6EGMKcDRFRYTa8/Gv4h6vF1CGEl4nM9AzQuMdX2JHRXrUekhIzLGvEkOE+4oiXnlQHTbghGFA7RJdqPJrbEGzSqekpGRBUT8QpR6BtUVfHvJgmc0FJeOUU+9Lp8G7qAvHFBr8qdo0bu7/GRR5qCCgPAwP0KKXLDcBUoTbItR6YIGINl3wFC2RUBG8tASO5gQ2omtv29gg40EaXI+3JCvlUyoki78Wj84E+k4gfEEvctc3GPtD8qkVi5AahOx4dJqdVa4QSc8apjkkP/6mbVB0OjyyjZMwjjL2Sdvh6g3jL82TXVIVlRF4QmPpNQG1Gh0DCe1fhCV/ctc8vpBF1la3vkC0+CXn+LFZrkLunBSIRKyl7ufz3w/qEpIjBylvgWnFATzym+f39dwgiewEmd7SMmZLg9IxN1s22vxa4iIwcGuwEjySu0fbQH+UH+TB8e5L1Gasq+iTuNkHSotFRrOZEQgaKr+BE+FUv9eSb+kZWSlWTIeVNQUy7jI5yNBYv9UNv1jlslEuUV5E1RcomisvC4L4/ku63O1NitbnBtr+/z4zQ5Bg0lQbT1ZUlnXbN1fNS8OVx7UH3hXzyVlxlYaBUW38kOJF2ZGgW3gXsfmOFYzMHzi5Lqz444R92dgMPXVsL7ZXszsvunDdH32Ge6eyuBmGS3HAcIqhXzlNb8ChuDMmRIII77dEZUoD8grHP2J4QrLVaOe2qqQIqBQIhH6gCK3rH9Ysm4nwvjupoRAMR5eQ1BPABNfXx4dm9ojrcdR4yu201ZKQmPI1BJv/nAfjDjKGzzJqy03hdKuuc17BeffeFiQi61hA+vcr1ULweCc/+V0ss64Ik9W5vh4FsRDC2g1p36iA6ZtNfe2arGzKbZZJ/fzOSTTchEnJ+eZmsBli78PlXsmOHxJ91zzGPr6fFMqqzoO7LcaG9cyyWCDt5hECraj5EdRgaH/HQBj+RFLJwJvW3DP0eLt2hd4Rf450zQuTCuBEKXgfyPjBx5+gCE8Fpf9ruMl4I9/z7DcxHzeGLeKr/rWXX1BxVV9lqOtPAB2jIYYHUbsQNU3LwfYQXbHtDEADsoIsbkE9BitjgKXnVavc/vZFkYA1719EleKgfMqo57wIMCS/tprZDajlv3Zh7WrBPRkSVbmACV3Gj/Fx3nz88VAy7Na0f6ekbHbZJ+CvFoAkty2sqZk0M8uEYBdgCQdt4OW3YO2/Nn2K3+xeNb3RSkQ0yHsEgO7xdC2ENDU9xMwxRmNPtKLms63eoba0kppXOM/ThfgGZKRGLIlwPNAXPfX4i2WSJ6JUwJKS1Z9mG43ZMC6HTSyyfvAG6Tt/922VDb1E0kGmwPVCykkKiLQteTf1trb/SQsUpdh7ZgVTHxxUlCxb+QYqIhdtCGYNj8ogyZEFPPPWL2WKF+1QWvOryK2Af/X3/aavZvHnSl6ZUfH75mOpBgRrq7I52U7viXbYQAoCGjNxzxVnEXEciZ3ipWwmWJMgrD1BMxRbpAOrKMwLhqbroYdzjjQM5oPU25yQkAIj6tgA2sQ4eBjX1rXrphkb6UfkE7HpAEuNCFqK6s0HafmBNaMC72P1IDA6b2Bk4vzz8243qluZex+h57H59448G9m5beX5wBVWUCTig78lzfRD6rTSXTwPstGuov9VTgrCykyH2UJlFDzbzlexF+B4gzazBYNrViwehGs4dODHDa3PkUNHulvC+F01LigijW+9hVytwwCpQB8qAyMyVdAT4JgM56S60F0dlVjmUBqxu90uoljFrQAB/hVw1qd1WvuLWEJR+KowRUd2VAIY0z2/Vh0A638nHKPLOVM+l2HIOjcKziAlBfimtEWRWQ34Uz1EIfnFC9MseozR0+H1QuiivE/Z/35RtjSjkzzi9e1jKTrmurPlvjjsAj8C3DdVUly6PhgIjwqeqefw9ciNwLi+OPVSKjrYHd4/c5y9JoRVvB7SimNeA8tKekujl3MTveX9uc7ul+efnfOdAPXt0TxlsbomRjBunIc3T+ZZRIcZnysb1Ro0NizR3LAYUx7jzsNZ7ra/+Qxf/EcfWP+CI6tAYiibhf94numzxkELFjECqp3rHHvVJ4QGVnP01Nqf7a3Yf+4AQGgFMgr5O3KWu1HFoTOVZMQ4I8kFtnZ851l77up+3cADWjZpGJlbWlMMQNq4RHyG7Aeare1n9sOmJ7b/re0s0OqeysSPtE70iheQaDLL3VF8gSQEWYr1NVk64fran+0ENJ9aHu6NPW2MZW/4OUt0Hww=="/>
  <p:tag name="MEKKOXMLTAGS" val="1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9</TotalTime>
  <Words>1473</Words>
  <Application>Microsoft Office PowerPoint</Application>
  <PresentationFormat>Widescreen</PresentationFormat>
  <Paragraphs>217</Paragraphs>
  <Slides>18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24" baseType="lpstr">
      <vt:lpstr>Arial</vt:lpstr>
      <vt:lpstr>Calibri</vt:lpstr>
      <vt:lpstr>Calibri Light</vt:lpstr>
      <vt:lpstr>Segoe UI</vt:lpstr>
      <vt:lpstr>Segoe UI Black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ernandes Junior</dc:creator>
  <cp:lastModifiedBy>Hernandes Junior</cp:lastModifiedBy>
  <cp:revision>2</cp:revision>
  <dcterms:created xsi:type="dcterms:W3CDTF">2022-04-14T12:28:07Z</dcterms:created>
  <dcterms:modified xsi:type="dcterms:W3CDTF">2022-04-16T20:46:10Z</dcterms:modified>
</cp:coreProperties>
</file>